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slide+xml" PartName="/ppt/slides/slide65.xml"/>
  <Override ContentType="application/vnd.openxmlformats-officedocument.presentationml.slide+xml" PartName="/ppt/slides/slide66.xml"/>
  <Override ContentType="application/vnd.openxmlformats-officedocument.presentationml.slide+xml" PartName="/ppt/slides/slide67.xml"/>
  <Override ContentType="application/vnd.openxmlformats-officedocument.presentationml.slide+xml" PartName="/ppt/slides/slide6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4"/>
  </p:sldMasterIdLst>
  <p:notesMasterIdLst>
    <p:notesMasterId r:id="rId73"/>
  </p:notesMasterIdLst>
  <p:sldIdLst>
    <p:sldId id="2146847413" r:id="rId5"/>
    <p:sldId id="2147483290" r:id="rId6"/>
    <p:sldId id="2147483291" r:id="rId7"/>
    <p:sldId id="2147483289" r:id="rId8"/>
    <p:sldId id="2147378680" r:id="rId9"/>
    <p:sldId id="2147378682" r:id="rId10"/>
    <p:sldId id="2147378681" r:id="rId11"/>
    <p:sldId id="2147378746" r:id="rId12"/>
    <p:sldId id="2147378748" r:id="rId13"/>
    <p:sldId id="2147378683" r:id="rId14"/>
    <p:sldId id="2147378713" r:id="rId15"/>
    <p:sldId id="2147483288" r:id="rId16"/>
    <p:sldId id="2147378727" r:id="rId17"/>
    <p:sldId id="2147378709" r:id="rId18"/>
    <p:sldId id="2147378728" r:id="rId19"/>
    <p:sldId id="2147378729" r:id="rId20"/>
    <p:sldId id="2147378710" r:id="rId21"/>
    <p:sldId id="2147378731" r:id="rId22"/>
    <p:sldId id="2147378732" r:id="rId23"/>
    <p:sldId id="2147378711" r:id="rId24"/>
    <p:sldId id="2147378733" r:id="rId25"/>
    <p:sldId id="2147378734" r:id="rId26"/>
    <p:sldId id="2147378632" r:id="rId27"/>
    <p:sldId id="2147378730" r:id="rId28"/>
    <p:sldId id="2147378771" r:id="rId29"/>
    <p:sldId id="2147378772" r:id="rId30"/>
    <p:sldId id="2147378688" r:id="rId31"/>
    <p:sldId id="2147378739" r:id="rId32"/>
    <p:sldId id="2147483314" r:id="rId33"/>
    <p:sldId id="2147378741" r:id="rId34"/>
    <p:sldId id="2147378756" r:id="rId35"/>
    <p:sldId id="2147378757" r:id="rId36"/>
    <p:sldId id="2147378692" r:id="rId37"/>
    <p:sldId id="2147483287" r:id="rId38"/>
    <p:sldId id="2147378742" r:id="rId39"/>
    <p:sldId id="2147378743" r:id="rId40"/>
    <p:sldId id="2147378744" r:id="rId41"/>
    <p:sldId id="2147378745" r:id="rId42"/>
    <p:sldId id="2147378770" r:id="rId43"/>
    <p:sldId id="2147378747" r:id="rId44"/>
    <p:sldId id="2147378749" r:id="rId45"/>
    <p:sldId id="2147378751" r:id="rId46"/>
    <p:sldId id="2147483277" r:id="rId47"/>
    <p:sldId id="2147378754" r:id="rId48"/>
    <p:sldId id="2147378755" r:id="rId49"/>
    <p:sldId id="2147483276" r:id="rId50"/>
    <p:sldId id="2147378703" r:id="rId51"/>
    <p:sldId id="2147378717" r:id="rId52"/>
    <p:sldId id="2147378750" r:id="rId53"/>
    <p:sldId id="2147483286" r:id="rId54"/>
    <p:sldId id="2147378759" r:id="rId55"/>
    <p:sldId id="2147378769" r:id="rId56"/>
    <p:sldId id="2147378767" r:id="rId57"/>
    <p:sldId id="2147378768" r:id="rId58"/>
    <p:sldId id="2147378716" r:id="rId59"/>
    <p:sldId id="2147483285" r:id="rId60"/>
    <p:sldId id="2147378694" r:id="rId61"/>
    <p:sldId id="2147378693" r:id="rId62"/>
    <p:sldId id="2147483282" r:id="rId63"/>
    <p:sldId id="2147378704" r:id="rId64"/>
    <p:sldId id="2147378718" r:id="rId65"/>
    <p:sldId id="2147378705" r:id="rId66"/>
    <p:sldId id="2147378706" r:id="rId67"/>
    <p:sldId id="2147378707" r:id="rId68"/>
    <p:sldId id="2147378708" r:id="rId69"/>
    <p:sldId id="2147378721" r:id="rId70"/>
    <p:sldId id="2147378719" r:id="rId71"/>
    <p:sldId id="2147483275" r:id="rId72"/>
  </p:sldIdLst>
  <p:sldSz cx="12192000" cy="6858000"/>
  <p:notesSz cx="6735763" cy="9866313"/>
  <p:custDataLst>
    <p:tags r:id="rId7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業務計画書" id="{78621E46-1D76-4132-BD88-3FFF98A21A96}">
          <p14:sldIdLst>
            <p14:sldId id="2146847413"/>
            <p14:sldId id="2147483290"/>
            <p14:sldId id="2147483291"/>
          </p14:sldIdLst>
        </p14:section>
        <p14:section name="1.プロジェクトのビジョン" id="{71089CC9-A339-49B3-A81A-3999AFA51E87}">
          <p14:sldIdLst>
            <p14:sldId id="2147483289"/>
            <p14:sldId id="2147378680"/>
            <p14:sldId id="2147378682"/>
            <p14:sldId id="2147378681"/>
            <p14:sldId id="2147378746"/>
            <p14:sldId id="2147378748"/>
            <p14:sldId id="2147378683"/>
            <p14:sldId id="2147378713"/>
          </p14:sldIdLst>
        </p14:section>
        <p14:section name="交通サービスの高度化" id="{D0EF0475-21FA-4032-9BFD-F02F08739130}">
          <p14:sldIdLst>
            <p14:sldId id="2147483288"/>
            <p14:sldId id="2147378727"/>
            <p14:sldId id="2147378709"/>
            <p14:sldId id="2147378728"/>
            <p14:sldId id="2147378729"/>
            <p14:sldId id="2147378710"/>
            <p14:sldId id="2147378731"/>
            <p14:sldId id="2147378732"/>
            <p14:sldId id="2147378711"/>
            <p14:sldId id="2147378733"/>
            <p14:sldId id="2147378734"/>
            <p14:sldId id="2147378632"/>
            <p14:sldId id="2147378730"/>
            <p14:sldId id="2147378771"/>
            <p14:sldId id="2147378772"/>
            <p14:sldId id="2147378688"/>
            <p14:sldId id="2147378739"/>
            <p14:sldId id="2147483314"/>
            <p14:sldId id="2147378741"/>
            <p14:sldId id="2147378756"/>
            <p14:sldId id="2147378757"/>
            <p14:sldId id="2147378692"/>
          </p14:sldIdLst>
        </p14:section>
        <p14:section name="モビリティデータの取得と活用" id="{AC89D64D-E869-4FDF-BC54-73B9C6C88B32}">
          <p14:sldIdLst>
            <p14:sldId id="2147483287"/>
            <p14:sldId id="2147378742"/>
            <p14:sldId id="2147378743"/>
            <p14:sldId id="2147378744"/>
            <p14:sldId id="2147378745"/>
            <p14:sldId id="2147378770"/>
            <p14:sldId id="2147378747"/>
            <p14:sldId id="2147378749"/>
            <p14:sldId id="2147378751"/>
            <p14:sldId id="2147483277"/>
            <p14:sldId id="2147378754"/>
            <p14:sldId id="2147378755"/>
            <p14:sldId id="2147483276"/>
            <p14:sldId id="2147378703"/>
            <p14:sldId id="2147378717"/>
            <p14:sldId id="2147378750"/>
          </p14:sldIdLst>
        </p14:section>
        <p14:section name="Ⅳ. 政策連携" id="{47EA838A-3E1A-493B-9646-B1DBF5CAC58C}">
          <p14:sldIdLst>
            <p14:sldId id="2147483286"/>
            <p14:sldId id="2147378759"/>
            <p14:sldId id="2147378769"/>
            <p14:sldId id="2147378767"/>
            <p14:sldId id="2147378768"/>
            <p14:sldId id="2147378716"/>
          </p14:sldIdLst>
        </p14:section>
        <p14:section name="Ⅴ. スケジュール" id="{8BA1191A-3529-4549-824C-27FEBF4972ED}">
          <p14:sldIdLst>
            <p14:sldId id="2147483285"/>
            <p14:sldId id="2147378694"/>
            <p14:sldId id="2147378693"/>
          </p14:sldIdLst>
        </p14:section>
        <p14:section name="Ⅵ. マネジメント計画" id="{B5E44641-B6F3-4DEE-B972-3F69BCB59202}">
          <p14:sldIdLst>
            <p14:sldId id="2147483282"/>
            <p14:sldId id="2147378704"/>
            <p14:sldId id="2147378718"/>
            <p14:sldId id="2147378705"/>
            <p14:sldId id="2147378706"/>
            <p14:sldId id="2147378707"/>
            <p14:sldId id="2147378708"/>
            <p14:sldId id="2147378721"/>
            <p14:sldId id="2147378719"/>
            <p14:sldId id="2147483275"/>
          </p14:sldIdLst>
        </p14:section>
      </p14:sectionLst>
    </p:ext>
    <p:ext uri="{EFAFB233-063F-42B5-8137-9DF3F51BA10A}">
      <p15:sldGuideLst xmlns:p15="http://schemas.microsoft.com/office/powerpoint/2012/main">
        <p15:guide id="1" orient="horz" pos="1253" userDrawn="1">
          <p15:clr>
            <a:srgbClr val="A4A3A4"/>
          </p15:clr>
        </p15:guide>
        <p15:guide id="2" orient="horz" pos="4088" userDrawn="1">
          <p15:clr>
            <a:srgbClr val="A4A3A4"/>
          </p15:clr>
        </p15:guide>
        <p15:guide id="3" pos="190" userDrawn="1">
          <p15:clr>
            <a:srgbClr val="A4A3A4"/>
          </p15:clr>
        </p15:guide>
        <p15:guide id="4" pos="7469" userDrawn="1">
          <p15:clr>
            <a:srgbClr val="A4A3A4"/>
          </p15:clr>
        </p15:guide>
        <p15:guide id="5" pos="1527" userDrawn="1">
          <p15:clr>
            <a:srgbClr val="A4A3A4"/>
          </p15:clr>
        </p15:guide>
        <p15:guide id="6" orient="horz" pos="1502" userDrawn="1">
          <p15:clr>
            <a:srgbClr val="A4A3A4"/>
          </p15:clr>
        </p15:guide>
        <p15:guide id="7" pos="3840" userDrawn="1">
          <p15:clr>
            <a:srgbClr val="A4A3A4"/>
          </p15:clr>
        </p15:guide>
        <p15:guide id="8" orient="horz" pos="2228" userDrawn="1">
          <p15:clr>
            <a:srgbClr val="A4A3A4"/>
          </p15:clr>
        </p15:guide>
        <p15:guide id="9" orient="horz" pos="2387" userDrawn="1">
          <p15:clr>
            <a:srgbClr val="A4A3A4"/>
          </p15:clr>
        </p15:guide>
        <p15:guide id="10" orient="horz" pos="2999" userDrawn="1">
          <p15:clr>
            <a:srgbClr val="A4A3A4"/>
          </p15:clr>
        </p15:guide>
        <p15:guide id="11" orient="horz" pos="188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892A53-A79B-9856-4E74-B2BF191E53E3}" name="内山 裕弥" initials="裕内" userId="S::uchiyama-y2vw@mlit.go.jp::8d34b9d0-ec49-418d-b1de-019cf6b56da5" providerId="AD"/>
  <p188:author id="{06B1FB5A-B15D-A860-8BE8-61B54813D39C}" name="丁野 光理" initials="光丁" userId="S::chohno-h2ge@mlit.go.jp::53361c9a-10d0-4268-b39c-a1f4044b33f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4E4"/>
    <a:srgbClr val="E9F300"/>
    <a:srgbClr val="00C2C0"/>
    <a:srgbClr val="94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3D04DB-3FD7-4B60-80D7-C2186C7388F3}" v="130" dt="2025-02-10T05:43:24.121"/>
    <p1510:client id="{86642F27-0B00-45EF-9B0A-501880149814}" v="17" dt="2025-02-10T02:54:53.180"/>
    <p1510:client id="{C253846A-EB65-4F7F-B487-3A87FE78829D}" v="28" dt="2025-02-10T05:58:23.387"/>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1253"/>
        <p:guide orient="horz" pos="4088"/>
        <p:guide pos="190"/>
        <p:guide pos="7469"/>
        <p:guide pos="1527"/>
        <p:guide orient="horz" pos="1502"/>
        <p:guide pos="3840"/>
        <p:guide orient="horz" pos="2228"/>
        <p:guide orient="horz" pos="2387"/>
        <p:guide orient="horz" pos="2999"/>
        <p:guide orient="horz" pos="1888"/>
      </p:guideLst>
    </p:cSldViewPr>
  </p:slide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slides/slide9.xml" Type="http://schemas.openxmlformats.org/officeDocument/2006/relationships/slide"/><Relationship Id="rId14" Target="slides/slide10.xml" Type="http://schemas.openxmlformats.org/officeDocument/2006/relationships/slide"/><Relationship Id="rId15" Target="slides/slide11.xml" Type="http://schemas.openxmlformats.org/officeDocument/2006/relationships/slide"/><Relationship Id="rId16" Target="slides/slide12.xml" Type="http://schemas.openxmlformats.org/officeDocument/2006/relationships/slide"/><Relationship Id="rId17" Target="slides/slide13.xml" Type="http://schemas.openxmlformats.org/officeDocument/2006/relationships/slide"/><Relationship Id="rId18" Target="slides/slide14.xml" Type="http://schemas.openxmlformats.org/officeDocument/2006/relationships/slide"/><Relationship Id="rId19" Target="slides/slide15.xml" Type="http://schemas.openxmlformats.org/officeDocument/2006/relationships/slide"/><Relationship Id="rId2" Target="../customXml/item2.xml" Type="http://schemas.openxmlformats.org/officeDocument/2006/relationships/customXml"/><Relationship Id="rId20" Target="slides/slide16.xml" Type="http://schemas.openxmlformats.org/officeDocument/2006/relationships/slide"/><Relationship Id="rId21" Target="slides/slide17.xml" Type="http://schemas.openxmlformats.org/officeDocument/2006/relationships/slide"/><Relationship Id="rId22" Target="slides/slide18.xml" Type="http://schemas.openxmlformats.org/officeDocument/2006/relationships/slide"/><Relationship Id="rId23" Target="slides/slide19.xml" Type="http://schemas.openxmlformats.org/officeDocument/2006/relationships/slide"/><Relationship Id="rId24" Target="slides/slide20.xml" Type="http://schemas.openxmlformats.org/officeDocument/2006/relationships/slide"/><Relationship Id="rId25" Target="slides/slide21.xml" Type="http://schemas.openxmlformats.org/officeDocument/2006/relationships/slide"/><Relationship Id="rId26" Target="slides/slide22.xml" Type="http://schemas.openxmlformats.org/officeDocument/2006/relationships/slide"/><Relationship Id="rId27" Target="slides/slide23.xml" Type="http://schemas.openxmlformats.org/officeDocument/2006/relationships/slide"/><Relationship Id="rId28" Target="slides/slide24.xml" Type="http://schemas.openxmlformats.org/officeDocument/2006/relationships/slide"/><Relationship Id="rId29" Target="slides/slide25.xml" Type="http://schemas.openxmlformats.org/officeDocument/2006/relationships/slide"/><Relationship Id="rId3" Target="../customXml/item3.xml" Type="http://schemas.openxmlformats.org/officeDocument/2006/relationships/customXml"/><Relationship Id="rId30" Target="slides/slide26.xml" Type="http://schemas.openxmlformats.org/officeDocument/2006/relationships/slide"/><Relationship Id="rId31" Target="slides/slide27.xml" Type="http://schemas.openxmlformats.org/officeDocument/2006/relationships/slide"/><Relationship Id="rId32" Target="slides/slide28.xml" Type="http://schemas.openxmlformats.org/officeDocument/2006/relationships/slide"/><Relationship Id="rId33" Target="slides/slide29.xml" Type="http://schemas.openxmlformats.org/officeDocument/2006/relationships/slide"/><Relationship Id="rId34" Target="slides/slide30.xml" Type="http://schemas.openxmlformats.org/officeDocument/2006/relationships/slide"/><Relationship Id="rId35" Target="slides/slide31.xml" Type="http://schemas.openxmlformats.org/officeDocument/2006/relationships/slide"/><Relationship Id="rId36" Target="slides/slide32.xml" Type="http://schemas.openxmlformats.org/officeDocument/2006/relationships/slide"/><Relationship Id="rId37" Target="slides/slide33.xml" Type="http://schemas.openxmlformats.org/officeDocument/2006/relationships/slide"/><Relationship Id="rId38" Target="slides/slide34.xml" Type="http://schemas.openxmlformats.org/officeDocument/2006/relationships/slide"/><Relationship Id="rId39" Target="slides/slide35.xml" Type="http://schemas.openxmlformats.org/officeDocument/2006/relationships/slide"/><Relationship Id="rId4" Target="slideMasters/slideMaster1.xml" Type="http://schemas.openxmlformats.org/officeDocument/2006/relationships/slideMaster"/><Relationship Id="rId40" Target="slides/slide36.xml" Type="http://schemas.openxmlformats.org/officeDocument/2006/relationships/slide"/><Relationship Id="rId41" Target="slides/slide37.xml" Type="http://schemas.openxmlformats.org/officeDocument/2006/relationships/slide"/><Relationship Id="rId42" Target="slides/slide38.xml" Type="http://schemas.openxmlformats.org/officeDocument/2006/relationships/slide"/><Relationship Id="rId43" Target="slides/slide39.xml" Type="http://schemas.openxmlformats.org/officeDocument/2006/relationships/slide"/><Relationship Id="rId44" Target="slides/slide40.xml" Type="http://schemas.openxmlformats.org/officeDocument/2006/relationships/slide"/><Relationship Id="rId45" Target="slides/slide41.xml" Type="http://schemas.openxmlformats.org/officeDocument/2006/relationships/slide"/><Relationship Id="rId46" Target="slides/slide42.xml" Type="http://schemas.openxmlformats.org/officeDocument/2006/relationships/slide"/><Relationship Id="rId47" Target="slides/slide43.xml" Type="http://schemas.openxmlformats.org/officeDocument/2006/relationships/slide"/><Relationship Id="rId48" Target="slides/slide44.xml" Type="http://schemas.openxmlformats.org/officeDocument/2006/relationships/slide"/><Relationship Id="rId49" Target="slides/slide45.xml" Type="http://schemas.openxmlformats.org/officeDocument/2006/relationships/slide"/><Relationship Id="rId5" Target="slides/slide1.xml" Type="http://schemas.openxmlformats.org/officeDocument/2006/relationships/slide"/><Relationship Id="rId50" Target="slides/slide46.xml" Type="http://schemas.openxmlformats.org/officeDocument/2006/relationships/slide"/><Relationship Id="rId51" Target="slides/slide47.xml" Type="http://schemas.openxmlformats.org/officeDocument/2006/relationships/slide"/><Relationship Id="rId52" Target="slides/slide48.xml" Type="http://schemas.openxmlformats.org/officeDocument/2006/relationships/slide"/><Relationship Id="rId53" Target="slides/slide49.xml" Type="http://schemas.openxmlformats.org/officeDocument/2006/relationships/slide"/><Relationship Id="rId54" Target="slides/slide50.xml" Type="http://schemas.openxmlformats.org/officeDocument/2006/relationships/slide"/><Relationship Id="rId55" Target="slides/slide51.xml" Type="http://schemas.openxmlformats.org/officeDocument/2006/relationships/slide"/><Relationship Id="rId56" Target="slides/slide52.xml" Type="http://schemas.openxmlformats.org/officeDocument/2006/relationships/slide"/><Relationship Id="rId57" Target="slides/slide53.xml" Type="http://schemas.openxmlformats.org/officeDocument/2006/relationships/slide"/><Relationship Id="rId58" Target="slides/slide54.xml" Type="http://schemas.openxmlformats.org/officeDocument/2006/relationships/slide"/><Relationship Id="rId59" Target="slides/slide55.xml" Type="http://schemas.openxmlformats.org/officeDocument/2006/relationships/slide"/><Relationship Id="rId6" Target="slides/slide2.xml" Type="http://schemas.openxmlformats.org/officeDocument/2006/relationships/slide"/><Relationship Id="rId60" Target="slides/slide56.xml" Type="http://schemas.openxmlformats.org/officeDocument/2006/relationships/slide"/><Relationship Id="rId61" Target="slides/slide57.xml" Type="http://schemas.openxmlformats.org/officeDocument/2006/relationships/slide"/><Relationship Id="rId62" Target="slides/slide58.xml" Type="http://schemas.openxmlformats.org/officeDocument/2006/relationships/slide"/><Relationship Id="rId63" Target="slides/slide59.xml" Type="http://schemas.openxmlformats.org/officeDocument/2006/relationships/slide"/><Relationship Id="rId64" Target="slides/slide60.xml" Type="http://schemas.openxmlformats.org/officeDocument/2006/relationships/slide"/><Relationship Id="rId65" Target="slides/slide61.xml" Type="http://schemas.openxmlformats.org/officeDocument/2006/relationships/slide"/><Relationship Id="rId66" Target="slides/slide62.xml" Type="http://schemas.openxmlformats.org/officeDocument/2006/relationships/slide"/><Relationship Id="rId67" Target="slides/slide63.xml" Type="http://schemas.openxmlformats.org/officeDocument/2006/relationships/slide"/><Relationship Id="rId68" Target="slides/slide64.xml" Type="http://schemas.openxmlformats.org/officeDocument/2006/relationships/slide"/><Relationship Id="rId69" Target="slides/slide65.xml" Type="http://schemas.openxmlformats.org/officeDocument/2006/relationships/slide"/><Relationship Id="rId7" Target="slides/slide3.xml" Type="http://schemas.openxmlformats.org/officeDocument/2006/relationships/slide"/><Relationship Id="rId70" Target="slides/slide66.xml" Type="http://schemas.openxmlformats.org/officeDocument/2006/relationships/slide"/><Relationship Id="rId71" Target="slides/slide67.xml" Type="http://schemas.openxmlformats.org/officeDocument/2006/relationships/slide"/><Relationship Id="rId72" Target="slides/slide68.xml" Type="http://schemas.openxmlformats.org/officeDocument/2006/relationships/slide"/><Relationship Id="rId73" Target="notesMasters/notesMaster1.xml" Type="http://schemas.openxmlformats.org/officeDocument/2006/relationships/notesMaster"/><Relationship Id="rId74" Target="tags/tag1.xml" Type="http://schemas.openxmlformats.org/officeDocument/2006/relationships/tags"/><Relationship Id="rId75" Target="presProps.xml" Type="http://schemas.openxmlformats.org/officeDocument/2006/relationships/presProps"/><Relationship Id="rId76" Target="viewProps.xml" Type="http://schemas.openxmlformats.org/officeDocument/2006/relationships/viewProps"/><Relationship Id="rId77" Target="theme/theme1.xml" Type="http://schemas.openxmlformats.org/officeDocument/2006/relationships/theme"/><Relationship Id="rId78" Target="tableStyles.xml" Type="http://schemas.openxmlformats.org/officeDocument/2006/relationships/tableStyles"/><Relationship Id="rId79" Target="changesInfos/changesInfo1.xml" Type="http://schemas.microsoft.com/office/2016/11/relationships/changesInfo"/><Relationship Id="rId8" Target="slides/slide4.xml" Type="http://schemas.openxmlformats.org/officeDocument/2006/relationships/slide"/><Relationship Id="rId80" Target="revisionInfo.xml" Type="http://schemas.microsoft.com/office/2015/10/relationships/revisionInfo"/><Relationship Id="rId81" Target="authors.xml" Type="http://schemas.microsoft.com/office/2018/10/relationships/authors"/><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丁野 光理" userId="53361c9a-10d0-4268-b39c-a1f4044b33f4" providerId="ADAL" clId="{813D04DB-3FD7-4B60-80D7-C2186C7388F3}"/>
    <pc:docChg chg="undo custSel delSld modSld delSection modSection">
      <pc:chgData name="丁野 光理" userId="53361c9a-10d0-4268-b39c-a1f4044b33f4" providerId="ADAL" clId="{813D04DB-3FD7-4B60-80D7-C2186C7388F3}" dt="2025-02-10T05:43:24.121" v="129" actId="1035"/>
      <pc:docMkLst>
        <pc:docMk/>
      </pc:docMkLst>
      <pc:sldChg chg="modSp mod delCm">
        <pc:chgData name="丁野 光理" userId="53361c9a-10d0-4268-b39c-a1f4044b33f4" providerId="ADAL" clId="{813D04DB-3FD7-4B60-80D7-C2186C7388F3}" dt="2025-02-10T04:14:33.810" v="28"/>
        <pc:sldMkLst>
          <pc:docMk/>
          <pc:sldMk cId="64176771" sldId="2147378692"/>
        </pc:sldMkLst>
        <pc:spChg chg="mod">
          <ac:chgData name="丁野 光理" userId="53361c9a-10d0-4268-b39c-a1f4044b33f4" providerId="ADAL" clId="{813D04DB-3FD7-4B60-80D7-C2186C7388F3}" dt="2025-02-10T04:14:28.231" v="26"/>
          <ac:spMkLst>
            <pc:docMk/>
            <pc:sldMk cId="64176771" sldId="2147378692"/>
            <ac:spMk id="4" creationId="{2C3BBDD6-C18E-A8D5-D35C-ABB97297C5DD}"/>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4:33.810" v="28"/>
              <pc2:cmMkLst xmlns:pc2="http://schemas.microsoft.com/office/powerpoint/2019/9/main/command">
                <pc:docMk/>
                <pc:sldMk cId="64176771" sldId="2147378692"/>
                <pc2:cmMk id="{D6796762-19EB-467C-B000-55FD87F97E8D}"/>
              </pc2:cmMkLst>
            </pc226:cmChg>
          </p:ext>
        </pc:extLst>
      </pc:sldChg>
      <pc:sldChg chg="delCm modCm">
        <pc:chgData name="丁野 光理" userId="53361c9a-10d0-4268-b39c-a1f4044b33f4" providerId="ADAL" clId="{813D04DB-3FD7-4B60-80D7-C2186C7388F3}" dt="2025-02-10T04:21:07.661" v="49"/>
        <pc:sldMkLst>
          <pc:docMk/>
          <pc:sldMk cId="2807815468" sldId="2147378693"/>
        </pc:sldMkLst>
        <pc:extLst>
          <p:ext xmlns:p="http://schemas.openxmlformats.org/presentationml/2006/main" uri="{D6D511B9-2390-475A-947B-AFAB55BFBCF1}">
            <pc226:cmChg xmlns:pc226="http://schemas.microsoft.com/office/powerpoint/2022/06/main/command" chg="del mod">
              <pc226:chgData name="丁野 光理" userId="53361c9a-10d0-4268-b39c-a1f4044b33f4" providerId="ADAL" clId="{813D04DB-3FD7-4B60-80D7-C2186C7388F3}" dt="2025-02-10T04:21:07.661" v="49"/>
              <pc2:cmMkLst xmlns:pc2="http://schemas.microsoft.com/office/powerpoint/2019/9/main/command">
                <pc:docMk/>
                <pc:sldMk cId="2807815468" sldId="2147378693"/>
                <pc2:cmMk id="{43C4AD9C-A39F-4AB5-8E6D-BD89DBD01093}"/>
              </pc2:cmMkLst>
            </pc226:cmChg>
          </p:ext>
        </pc:extLst>
      </pc:sldChg>
      <pc:sldChg chg="modSp mod addCm delCm modCm">
        <pc:chgData name="丁野 光理" userId="53361c9a-10d0-4268-b39c-a1f4044b33f4" providerId="ADAL" clId="{813D04DB-3FD7-4B60-80D7-C2186C7388F3}" dt="2025-02-10T04:22:37.327" v="70"/>
        <pc:sldMkLst>
          <pc:docMk/>
          <pc:sldMk cId="1575785639" sldId="2147378716"/>
        </pc:sldMkLst>
        <pc:spChg chg="mod">
          <ac:chgData name="丁野 光理" userId="53361c9a-10d0-4268-b39c-a1f4044b33f4" providerId="ADAL" clId="{813D04DB-3FD7-4B60-80D7-C2186C7388F3}" dt="2025-02-10T04:22:35.047" v="69"/>
          <ac:spMkLst>
            <pc:docMk/>
            <pc:sldMk cId="1575785639" sldId="2147378716"/>
            <ac:spMk id="9" creationId="{F7DA7227-3724-60C8-1F06-5A8A2F4AF1F8}"/>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21:16.766" v="50"/>
              <pc2:cmMkLst xmlns:pc2="http://schemas.microsoft.com/office/powerpoint/2019/9/main/command">
                <pc:docMk/>
                <pc:sldMk cId="1575785639" sldId="2147378716"/>
                <pc2:cmMk id="{18AF660C-E2CB-42B4-9158-55D9ED8208B7}"/>
              </pc2:cmMkLst>
            </pc226:cmChg>
            <pc226:cmChg xmlns:pc226="http://schemas.microsoft.com/office/powerpoint/2022/06/main/command" chg="add del mod">
              <pc226:chgData name="丁野 光理" userId="53361c9a-10d0-4268-b39c-a1f4044b33f4" providerId="ADAL" clId="{813D04DB-3FD7-4B60-80D7-C2186C7388F3}" dt="2025-02-10T04:22:37.327" v="70"/>
              <pc2:cmMkLst xmlns:pc2="http://schemas.microsoft.com/office/powerpoint/2019/9/main/command">
                <pc:docMk/>
                <pc:sldMk cId="1575785639" sldId="2147378716"/>
                <pc2:cmMk id="{4D4DBC99-6F60-405E-92F9-981301E74403}"/>
              </pc2:cmMkLst>
            </pc226:cmChg>
          </p:ext>
        </pc:extLst>
      </pc:sldChg>
      <pc:sldChg chg="del delCm">
        <pc:chgData name="丁野 光理" userId="53361c9a-10d0-4268-b39c-a1f4044b33f4" providerId="ADAL" clId="{813D04DB-3FD7-4B60-80D7-C2186C7388F3}" dt="2025-02-10T04:14:15.728" v="6" actId="47"/>
        <pc:sldMkLst>
          <pc:docMk/>
          <pc:sldMk cId="165971776" sldId="2147378740"/>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4:12.127" v="4"/>
              <pc2:cmMkLst xmlns:pc2="http://schemas.microsoft.com/office/powerpoint/2019/9/main/command">
                <pc:docMk/>
                <pc:sldMk cId="165971776" sldId="2147378740"/>
                <pc2:cmMk id="{26267A6C-3EDE-4890-84B7-42FE5DC3BD08}"/>
              </pc2:cmMkLst>
            </pc226:cmChg>
            <pc226:cmChg xmlns:pc226="http://schemas.microsoft.com/office/powerpoint/2022/06/main/command" chg="del">
              <pc226:chgData name="丁野 光理" userId="53361c9a-10d0-4268-b39c-a1f4044b33f4" providerId="ADAL" clId="{813D04DB-3FD7-4B60-80D7-C2186C7388F3}" dt="2025-02-10T04:14:13.975" v="5"/>
              <pc2:cmMkLst xmlns:pc2="http://schemas.microsoft.com/office/powerpoint/2019/9/main/command">
                <pc:docMk/>
                <pc:sldMk cId="165971776" sldId="2147378740"/>
                <pc2:cmMk id="{667FB5B2-3EE3-4293-B702-747DDF633691}"/>
              </pc2:cmMkLst>
            </pc226:cmChg>
          </p:ext>
        </pc:extLst>
      </pc:sldChg>
      <pc:sldChg chg="modSp mod delCm">
        <pc:chgData name="丁野 光理" userId="53361c9a-10d0-4268-b39c-a1f4044b33f4" providerId="ADAL" clId="{813D04DB-3FD7-4B60-80D7-C2186C7388F3}" dt="2025-02-10T04:14:31.214" v="27"/>
        <pc:sldMkLst>
          <pc:docMk/>
          <pc:sldMk cId="3556400781" sldId="2147378741"/>
        </pc:sldMkLst>
        <pc:spChg chg="mod">
          <ac:chgData name="丁野 光理" userId="53361c9a-10d0-4268-b39c-a1f4044b33f4" providerId="ADAL" clId="{813D04DB-3FD7-4B60-80D7-C2186C7388F3}" dt="2025-02-10T04:14:18.790" v="11"/>
          <ac:spMkLst>
            <pc:docMk/>
            <pc:sldMk cId="3556400781" sldId="2147378741"/>
            <ac:spMk id="9" creationId="{D22A0A06-D5A8-4A1A-B66F-2A8EDBD644F1}"/>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4:31.214" v="27"/>
              <pc2:cmMkLst xmlns:pc2="http://schemas.microsoft.com/office/powerpoint/2019/9/main/command">
                <pc:docMk/>
                <pc:sldMk cId="3556400781" sldId="2147378741"/>
                <pc2:cmMk id="{399B2814-BE3D-4650-98B5-90921052AAC8}"/>
              </pc2:cmMkLst>
            </pc226:cmChg>
          </p:ext>
        </pc:extLst>
      </pc:sldChg>
      <pc:sldChg chg="delCm">
        <pc:chgData name="丁野 光理" userId="53361c9a-10d0-4268-b39c-a1f4044b33f4" providerId="ADAL" clId="{813D04DB-3FD7-4B60-80D7-C2186C7388F3}" dt="2025-02-10T04:23:47.702" v="94"/>
        <pc:sldMkLst>
          <pc:docMk/>
          <pc:sldMk cId="4237138605" sldId="2147378742"/>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23:45.603" v="93"/>
              <pc2:cmMkLst xmlns:pc2="http://schemas.microsoft.com/office/powerpoint/2019/9/main/command">
                <pc:docMk/>
                <pc:sldMk cId="4237138605" sldId="2147378742"/>
                <pc2:cmMk id="{A009D21C-C179-4BF7-9895-B69F6E0AED87}"/>
              </pc2:cmMkLst>
            </pc226:cmChg>
            <pc226:cmChg xmlns:pc226="http://schemas.microsoft.com/office/powerpoint/2022/06/main/command" chg="del">
              <pc226:chgData name="丁野 光理" userId="53361c9a-10d0-4268-b39c-a1f4044b33f4" providerId="ADAL" clId="{813D04DB-3FD7-4B60-80D7-C2186C7388F3}" dt="2025-02-10T04:23:47.702" v="94"/>
              <pc2:cmMkLst xmlns:pc2="http://schemas.microsoft.com/office/powerpoint/2019/9/main/command">
                <pc:docMk/>
                <pc:sldMk cId="4237138605" sldId="2147378742"/>
                <pc2:cmMk id="{77004874-076B-4049-A0E0-7BA24B50A2A9}"/>
              </pc2:cmMkLst>
            </pc226:cmChg>
          </p:ext>
        </pc:extLst>
      </pc:sldChg>
      <pc:sldChg chg="delCm">
        <pc:chgData name="丁野 光理" userId="53361c9a-10d0-4268-b39c-a1f4044b33f4" providerId="ADAL" clId="{813D04DB-3FD7-4B60-80D7-C2186C7388F3}" dt="2025-02-10T04:13:56.095" v="2"/>
        <pc:sldMkLst>
          <pc:docMk/>
          <pc:sldMk cId="478136210" sldId="2147378746"/>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3:56.095" v="2"/>
              <pc2:cmMkLst xmlns:pc2="http://schemas.microsoft.com/office/powerpoint/2019/9/main/command">
                <pc:docMk/>
                <pc:sldMk cId="478136210" sldId="2147378746"/>
                <pc2:cmMk id="{BE5279C2-6FB9-4789-8A4B-9B7D06857022}"/>
              </pc2:cmMkLst>
            </pc226:cmChg>
          </p:ext>
        </pc:extLst>
      </pc:sldChg>
      <pc:sldChg chg="delCm">
        <pc:chgData name="丁野 光理" userId="53361c9a-10d0-4268-b39c-a1f4044b33f4" providerId="ADAL" clId="{813D04DB-3FD7-4B60-80D7-C2186C7388F3}" dt="2025-02-10T04:13:59.224" v="3"/>
        <pc:sldMkLst>
          <pc:docMk/>
          <pc:sldMk cId="177420526" sldId="2147378748"/>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3:59.224" v="3"/>
              <pc2:cmMkLst xmlns:pc2="http://schemas.microsoft.com/office/powerpoint/2019/9/main/command">
                <pc:docMk/>
                <pc:sldMk cId="177420526" sldId="2147378748"/>
                <pc2:cmMk id="{B6A99A4A-1FF6-4BA3-9442-C5A0CBC5DA44}"/>
              </pc2:cmMkLst>
            </pc226:cmChg>
          </p:ext>
        </pc:extLst>
      </pc:sldChg>
      <pc:sldChg chg="delCm">
        <pc:chgData name="丁野 光理" userId="53361c9a-10d0-4268-b39c-a1f4044b33f4" providerId="ADAL" clId="{813D04DB-3FD7-4B60-80D7-C2186C7388F3}" dt="2025-02-10T04:23:39.020" v="92"/>
        <pc:sldMkLst>
          <pc:docMk/>
          <pc:sldMk cId="2929259541" sldId="2147378749"/>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23:39.020" v="92"/>
              <pc2:cmMkLst xmlns:pc2="http://schemas.microsoft.com/office/powerpoint/2019/9/main/command">
                <pc:docMk/>
                <pc:sldMk cId="2929259541" sldId="2147378749"/>
                <pc2:cmMk id="{C05411B0-08AD-4B5D-94B3-4EC875BC15B8}"/>
              </pc2:cmMkLst>
            </pc226:cmChg>
          </p:ext>
        </pc:extLst>
      </pc:sldChg>
      <pc:sldChg chg="modSp del mod">
        <pc:chgData name="丁野 光理" userId="53361c9a-10d0-4268-b39c-a1f4044b33f4" providerId="ADAL" clId="{813D04DB-3FD7-4B60-80D7-C2186C7388F3}" dt="2025-02-10T04:23:14.722" v="84" actId="47"/>
        <pc:sldMkLst>
          <pc:docMk/>
          <pc:sldMk cId="7942078" sldId="2147378752"/>
        </pc:sldMkLst>
        <pc:spChg chg="mod">
          <ac:chgData name="丁野 光理" userId="53361c9a-10d0-4268-b39c-a1f4044b33f4" providerId="ADAL" clId="{813D04DB-3FD7-4B60-80D7-C2186C7388F3}" dt="2025-02-10T04:23:08.774" v="82"/>
          <ac:spMkLst>
            <pc:docMk/>
            <pc:sldMk cId="7942078" sldId="2147378752"/>
            <ac:spMk id="9" creationId="{D22A0A06-D5A8-4A1A-B66F-2A8EDBD644F1}"/>
          </ac:spMkLst>
        </pc:spChg>
      </pc:sldChg>
      <pc:sldChg chg="modSp mod">
        <pc:chgData name="丁野 光理" userId="53361c9a-10d0-4268-b39c-a1f4044b33f4" providerId="ADAL" clId="{813D04DB-3FD7-4B60-80D7-C2186C7388F3}" dt="2025-02-10T04:23:18.714" v="88"/>
        <pc:sldMkLst>
          <pc:docMk/>
          <pc:sldMk cId="3142788195" sldId="2147378754"/>
        </pc:sldMkLst>
        <pc:spChg chg="mod">
          <ac:chgData name="丁野 光理" userId="53361c9a-10d0-4268-b39c-a1f4044b33f4" providerId="ADAL" clId="{813D04DB-3FD7-4B60-80D7-C2186C7388F3}" dt="2025-02-10T04:23:18.714" v="88"/>
          <ac:spMkLst>
            <pc:docMk/>
            <pc:sldMk cId="3142788195" sldId="2147378754"/>
            <ac:spMk id="9" creationId="{D22A0A06-D5A8-4A1A-B66F-2A8EDBD644F1}"/>
          </ac:spMkLst>
        </pc:spChg>
      </pc:sldChg>
      <pc:sldChg chg="delCm">
        <pc:chgData name="丁野 光理" userId="53361c9a-10d0-4268-b39c-a1f4044b33f4" providerId="ADAL" clId="{813D04DB-3FD7-4B60-80D7-C2186C7388F3}" dt="2025-02-10T04:23:31.441" v="90"/>
        <pc:sldMkLst>
          <pc:docMk/>
          <pc:sldMk cId="3278106509" sldId="2147378755"/>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23:31.441" v="90"/>
              <pc2:cmMkLst xmlns:pc2="http://schemas.microsoft.com/office/powerpoint/2019/9/main/command">
                <pc:docMk/>
                <pc:sldMk cId="3278106509" sldId="2147378755"/>
                <pc2:cmMk id="{FCCEA4C0-ACE5-42D5-86FE-18AC499EE7B6}"/>
              </pc2:cmMkLst>
            </pc226:cmChg>
          </p:ext>
        </pc:extLst>
      </pc:sldChg>
      <pc:sldChg chg="modSp mod">
        <pc:chgData name="丁野 光理" userId="53361c9a-10d0-4268-b39c-a1f4044b33f4" providerId="ADAL" clId="{813D04DB-3FD7-4B60-80D7-C2186C7388F3}" dt="2025-02-10T04:14:22.010" v="16"/>
        <pc:sldMkLst>
          <pc:docMk/>
          <pc:sldMk cId="1359778448" sldId="2147378756"/>
        </pc:sldMkLst>
        <pc:spChg chg="mod">
          <ac:chgData name="丁野 光理" userId="53361c9a-10d0-4268-b39c-a1f4044b33f4" providerId="ADAL" clId="{813D04DB-3FD7-4B60-80D7-C2186C7388F3}" dt="2025-02-10T04:14:22.010" v="16"/>
          <ac:spMkLst>
            <pc:docMk/>
            <pc:sldMk cId="1359778448" sldId="2147378756"/>
            <ac:spMk id="4" creationId="{4F1B8C31-A2AA-E8B5-6842-B8CA68666E37}"/>
          </ac:spMkLst>
        </pc:spChg>
      </pc:sldChg>
      <pc:sldChg chg="modSp mod">
        <pc:chgData name="丁野 光理" userId="53361c9a-10d0-4268-b39c-a1f4044b33f4" providerId="ADAL" clId="{813D04DB-3FD7-4B60-80D7-C2186C7388F3}" dt="2025-02-10T04:14:25.123" v="21"/>
        <pc:sldMkLst>
          <pc:docMk/>
          <pc:sldMk cId="1460307593" sldId="2147378757"/>
        </pc:sldMkLst>
        <pc:spChg chg="mod">
          <ac:chgData name="丁野 光理" userId="53361c9a-10d0-4268-b39c-a1f4044b33f4" providerId="ADAL" clId="{813D04DB-3FD7-4B60-80D7-C2186C7388F3}" dt="2025-02-10T04:14:25.123" v="21"/>
          <ac:spMkLst>
            <pc:docMk/>
            <pc:sldMk cId="1460307593" sldId="2147378757"/>
            <ac:spMk id="4" creationId="{4F1B8C31-A2AA-E8B5-6842-B8CA68666E37}"/>
          </ac:spMkLst>
        </pc:spChg>
      </pc:sldChg>
      <pc:sldChg chg="delCm">
        <pc:chgData name="丁野 光理" userId="53361c9a-10d0-4268-b39c-a1f4044b33f4" providerId="ADAL" clId="{813D04DB-3FD7-4B60-80D7-C2186C7388F3}" dt="2025-02-10T04:23:28.540" v="89"/>
        <pc:sldMkLst>
          <pc:docMk/>
          <pc:sldMk cId="2192251413" sldId="2147483276"/>
        </pc:sldMkLst>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23:28.540" v="89"/>
              <pc2:cmMkLst xmlns:pc2="http://schemas.microsoft.com/office/powerpoint/2019/9/main/command">
                <pc:docMk/>
                <pc:sldMk cId="2192251413" sldId="2147483276"/>
                <pc2:cmMk id="{284BFB41-0210-4B88-A047-2D8C351C36A9}"/>
              </pc2:cmMkLst>
            </pc226:cmChg>
          </p:ext>
        </pc:extLst>
      </pc:sldChg>
      <pc:sldChg chg="modSp mod delCm">
        <pc:chgData name="丁野 光理" userId="53361c9a-10d0-4268-b39c-a1f4044b33f4" providerId="ADAL" clId="{813D04DB-3FD7-4B60-80D7-C2186C7388F3}" dt="2025-02-10T04:23:35.866" v="91"/>
        <pc:sldMkLst>
          <pc:docMk/>
          <pc:sldMk cId="3516192024" sldId="2147483277"/>
        </pc:sldMkLst>
        <pc:spChg chg="mod">
          <ac:chgData name="丁野 光理" userId="53361c9a-10d0-4268-b39c-a1f4044b33f4" providerId="ADAL" clId="{813D04DB-3FD7-4B60-80D7-C2186C7388F3}" dt="2025-02-10T04:23:04.229" v="77"/>
          <ac:spMkLst>
            <pc:docMk/>
            <pc:sldMk cId="3516192024" sldId="2147483277"/>
            <ac:spMk id="9" creationId="{F7DA7227-3724-60C8-1F06-5A8A2F4AF1F8}"/>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23:35.866" v="91"/>
              <pc2:cmMkLst xmlns:pc2="http://schemas.microsoft.com/office/powerpoint/2019/9/main/command">
                <pc:docMk/>
                <pc:sldMk cId="3516192024" sldId="2147483277"/>
                <pc2:cmMk id="{426A4EFF-F30E-4A23-8C5F-F935F78456BA}"/>
              </pc2:cmMkLst>
            </pc226:cmChg>
          </p:ext>
        </pc:extLst>
      </pc:sldChg>
      <pc:sldChg chg="modSp mod">
        <pc:chgData name="丁野 光理" userId="53361c9a-10d0-4268-b39c-a1f4044b33f4" providerId="ADAL" clId="{813D04DB-3FD7-4B60-80D7-C2186C7388F3}" dt="2025-02-10T05:10:09.904" v="100"/>
        <pc:sldMkLst>
          <pc:docMk/>
          <pc:sldMk cId="1777383321" sldId="2147483289"/>
        </pc:sldMkLst>
        <pc:spChg chg="mod">
          <ac:chgData name="丁野 光理" userId="53361c9a-10d0-4268-b39c-a1f4044b33f4" providerId="ADAL" clId="{813D04DB-3FD7-4B60-80D7-C2186C7388F3}" dt="2025-02-10T05:10:09.904" v="100"/>
          <ac:spMkLst>
            <pc:docMk/>
            <pc:sldMk cId="1777383321" sldId="2147483289"/>
            <ac:spMk id="10" creationId="{80E6EF29-A9F8-46B2-8DDE-5092A65E485F}"/>
          </ac:spMkLst>
        </pc:spChg>
      </pc:sldChg>
      <pc:sldChg chg="modSp mod delCm">
        <pc:chgData name="丁野 光理" userId="53361c9a-10d0-4268-b39c-a1f4044b33f4" providerId="ADAL" clId="{813D04DB-3FD7-4B60-80D7-C2186C7388F3}" dt="2025-02-10T05:43:24.121" v="129" actId="1035"/>
        <pc:sldMkLst>
          <pc:docMk/>
          <pc:sldMk cId="779576324" sldId="2147483290"/>
        </pc:sldMkLst>
        <pc:spChg chg="mod">
          <ac:chgData name="丁野 光理" userId="53361c9a-10d0-4268-b39c-a1f4044b33f4" providerId="ADAL" clId="{813D04DB-3FD7-4B60-80D7-C2186C7388F3}" dt="2025-02-10T05:43:20.853" v="124" actId="1035"/>
          <ac:spMkLst>
            <pc:docMk/>
            <pc:sldMk cId="779576324" sldId="2147483290"/>
            <ac:spMk id="9" creationId="{813AD4D0-F7E6-497C-BF37-FF66806078EB}"/>
          </ac:spMkLst>
        </pc:spChg>
        <pc:graphicFrameChg chg="mod modGraphic">
          <ac:chgData name="丁野 光理" userId="53361c9a-10d0-4268-b39c-a1f4044b33f4" providerId="ADAL" clId="{813D04DB-3FD7-4B60-80D7-C2186C7388F3}" dt="2025-02-10T05:43:24.121" v="129" actId="1035"/>
          <ac:graphicFrameMkLst>
            <pc:docMk/>
            <pc:sldMk cId="779576324" sldId="2147483290"/>
            <ac:graphicFrameMk id="2" creationId="{C3C93744-0DC7-5B60-8914-C41066C93FEF}"/>
          </ac:graphicFrameMkLst>
        </pc:graphicFrameChg>
        <pc:graphicFrameChg chg="mod modGraphic">
          <ac:chgData name="丁野 光理" userId="53361c9a-10d0-4268-b39c-a1f4044b33f4" providerId="ADAL" clId="{813D04DB-3FD7-4B60-80D7-C2186C7388F3}" dt="2025-02-10T04:14:55.063" v="46"/>
          <ac:graphicFrameMkLst>
            <pc:docMk/>
            <pc:sldMk cId="779576324" sldId="2147483290"/>
            <ac:graphicFrameMk id="13" creationId="{6B84DF48-8B2E-7483-E19E-A4C36C91AA03}"/>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3:47.042" v="0"/>
              <pc2:cmMkLst xmlns:pc2="http://schemas.microsoft.com/office/powerpoint/2019/9/main/command">
                <pc:docMk/>
                <pc:sldMk cId="779576324" sldId="2147483290"/>
                <pc2:cmMk id="{784A88AF-9BAF-4767-B88A-839F62EDAA8C}"/>
              </pc2:cmMkLst>
            </pc226:cmChg>
          </p:ext>
        </pc:extLst>
      </pc:sldChg>
      <pc:sldChg chg="modSp mod delCm">
        <pc:chgData name="丁野 光理" userId="53361c9a-10d0-4268-b39c-a1f4044b33f4" providerId="ADAL" clId="{813D04DB-3FD7-4B60-80D7-C2186C7388F3}" dt="2025-02-10T05:43:16.077" v="120" actId="1035"/>
        <pc:sldMkLst>
          <pc:docMk/>
          <pc:sldMk cId="4261027216" sldId="2147483291"/>
        </pc:sldMkLst>
        <pc:spChg chg="mod">
          <ac:chgData name="丁野 光理" userId="53361c9a-10d0-4268-b39c-a1f4044b33f4" providerId="ADAL" clId="{813D04DB-3FD7-4B60-80D7-C2186C7388F3}" dt="2025-02-10T05:43:09.524" v="115" actId="1035"/>
          <ac:spMkLst>
            <pc:docMk/>
            <pc:sldMk cId="4261027216" sldId="2147483291"/>
            <ac:spMk id="2" creationId="{A89627E6-1381-E3A4-FE8B-A4EB0C783D38}"/>
          </ac:spMkLst>
        </pc:spChg>
        <pc:graphicFrameChg chg="mod modGraphic">
          <ac:chgData name="丁野 光理" userId="53361c9a-10d0-4268-b39c-a1f4044b33f4" providerId="ADAL" clId="{813D04DB-3FD7-4B60-80D7-C2186C7388F3}" dt="2025-02-10T05:43:16.077" v="120" actId="1035"/>
          <ac:graphicFrameMkLst>
            <pc:docMk/>
            <pc:sldMk cId="4261027216" sldId="2147483291"/>
            <ac:graphicFrameMk id="13" creationId="{6B84DF48-8B2E-7483-E19E-A4C36C91AA03}"/>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813D04DB-3FD7-4B60-80D7-C2186C7388F3}" dt="2025-02-10T04:13:50.956" v="1"/>
              <pc2:cmMkLst xmlns:pc2="http://schemas.microsoft.com/office/powerpoint/2019/9/main/command">
                <pc:docMk/>
                <pc:sldMk cId="4261027216" sldId="2147483291"/>
                <pc2:cmMk id="{B92C7B80-99AC-4AE7-ABBF-6E21FF0FC272}"/>
              </pc2:cmMkLst>
            </pc226:cmChg>
          </p:ext>
        </pc:extLst>
      </pc:sldChg>
    </pc:docChg>
  </pc:docChgLst>
  <pc:docChgLst>
    <pc:chgData name="Tsuchida, Shinpei" userId="4375a60a-0653-49e2-ae45-00a92666541c" providerId="ADAL" clId="{D1725743-558E-4D9B-893B-DB62665A1A57}"/>
    <pc:docChg chg="undo custSel addSld delSld modSld sldOrd modSection replTag">
      <pc:chgData name="Tsuchida, Shinpei" userId="4375a60a-0653-49e2-ae45-00a92666541c" providerId="ADAL" clId="{D1725743-558E-4D9B-893B-DB62665A1A57}" dt="2024-03-26T09:15:31.810" v="6234"/>
      <pc:docMkLst>
        <pc:docMk/>
      </pc:docMkLst>
      <pc:sldChg chg="modSp mod">
        <pc:chgData name="Tsuchida, Shinpei" userId="4375a60a-0653-49e2-ae45-00a92666541c" providerId="ADAL" clId="{D1725743-558E-4D9B-893B-DB62665A1A57}" dt="2024-03-24T11:18:40.768" v="5972" actId="20577"/>
        <pc:sldMkLst>
          <pc:docMk/>
          <pc:sldMk cId="2355786622" sldId="2146847413"/>
        </pc:sldMkLst>
        <pc:spChg chg="mod">
          <ac:chgData name="Tsuchida, Shinpei" userId="4375a60a-0653-49e2-ae45-00a92666541c" providerId="ADAL" clId="{D1725743-558E-4D9B-893B-DB62665A1A57}" dt="2024-03-24T11:18:40.768" v="5972" actId="20577"/>
          <ac:spMkLst>
            <pc:docMk/>
            <pc:sldMk cId="2355786622" sldId="2146847413"/>
            <ac:spMk id="2" creationId="{1F2F2840-6B61-4DF2-B42A-EAA99F678FEE}"/>
          </ac:spMkLst>
        </pc:spChg>
      </pc:sldChg>
      <pc:sldChg chg="modSp mod">
        <pc:chgData name="Tsuchida, Shinpei" userId="4375a60a-0653-49e2-ae45-00a92666541c" providerId="ADAL" clId="{D1725743-558E-4D9B-893B-DB62665A1A57}" dt="2024-03-23T13:17:15.758" v="712" actId="14100"/>
        <pc:sldMkLst>
          <pc:docMk/>
          <pc:sldMk cId="1025266864" sldId="2146847545"/>
        </pc:sldMkLst>
        <pc:spChg chg="mod">
          <ac:chgData name="Tsuchida, Shinpei" userId="4375a60a-0653-49e2-ae45-00a92666541c" providerId="ADAL" clId="{D1725743-558E-4D9B-893B-DB62665A1A57}" dt="2024-03-23T13:17:15.758" v="712" actId="14100"/>
          <ac:spMkLst>
            <pc:docMk/>
            <pc:sldMk cId="1025266864" sldId="2146847545"/>
            <ac:spMk id="2" creationId="{98E8395D-EE85-D4E5-8D93-6C38D33D103A}"/>
          </ac:spMkLst>
        </pc:spChg>
      </pc:sldChg>
      <pc:sldChg chg="addSp modSp mod ord">
        <pc:chgData name="Tsuchida, Shinpei" userId="4375a60a-0653-49e2-ae45-00a92666541c" providerId="ADAL" clId="{D1725743-558E-4D9B-893B-DB62665A1A57}" dt="2024-03-24T01:44:59.645" v="1749" actId="1076"/>
        <pc:sldMkLst>
          <pc:docMk/>
          <pc:sldMk cId="429254024" sldId="2146847554"/>
        </pc:sldMkLst>
        <pc:spChg chg="add mod">
          <ac:chgData name="Tsuchida, Shinpei" userId="4375a60a-0653-49e2-ae45-00a92666541c" providerId="ADAL" clId="{D1725743-558E-4D9B-893B-DB62665A1A57}" dt="2024-03-24T01:44:59.645" v="1749" actId="1076"/>
          <ac:spMkLst>
            <pc:docMk/>
            <pc:sldMk cId="429254024" sldId="2146847554"/>
            <ac:spMk id="2" creationId="{6E9B2F69-8E24-7E7E-864A-F20B59DDE6FE}"/>
          </ac:spMkLst>
        </pc:spChg>
        <pc:spChg chg="mod">
          <ac:chgData name="Tsuchida, Shinpei" userId="4375a60a-0653-49e2-ae45-00a92666541c" providerId="ADAL" clId="{D1725743-558E-4D9B-893B-DB62665A1A57}" dt="2024-03-23T13:36:53.192" v="1038" actId="948"/>
          <ac:spMkLst>
            <pc:docMk/>
            <pc:sldMk cId="429254024" sldId="2146847554"/>
            <ac:spMk id="4" creationId="{AD8944B4-3C5B-C988-2185-AC2F7BEC7369}"/>
          </ac:spMkLst>
        </pc:spChg>
        <pc:graphicFrameChg chg="mod">
          <ac:chgData name="Tsuchida, Shinpei" userId="4375a60a-0653-49e2-ae45-00a92666541c" providerId="ADAL" clId="{D1725743-558E-4D9B-893B-DB62665A1A57}" dt="2024-03-23T13:36:53.206" v="1042"/>
          <ac:graphicFrameMkLst>
            <pc:docMk/>
            <pc:sldMk cId="429254024" sldId="2146847554"/>
            <ac:graphicFrameMk id="7" creationId="{DAEF77AD-2CE0-DFBE-F3EE-27BF4407FF6A}"/>
          </ac:graphicFrameMkLst>
        </pc:graphicFrameChg>
      </pc:sldChg>
      <pc:sldChg chg="addSp modSp mod">
        <pc:chgData name="Tsuchida, Shinpei" userId="4375a60a-0653-49e2-ae45-00a92666541c" providerId="ADAL" clId="{D1725743-558E-4D9B-893B-DB62665A1A57}" dt="2024-03-24T01:48:45.477" v="2456" actId="1076"/>
        <pc:sldMkLst>
          <pc:docMk/>
          <pc:sldMk cId="2559321920" sldId="2146847560"/>
        </pc:sldMkLst>
        <pc:spChg chg="add mod">
          <ac:chgData name="Tsuchida, Shinpei" userId="4375a60a-0653-49e2-ae45-00a92666541c" providerId="ADAL" clId="{D1725743-558E-4D9B-893B-DB62665A1A57}" dt="2024-03-24T01:48:43.648" v="2455" actId="1076"/>
          <ac:spMkLst>
            <pc:docMk/>
            <pc:sldMk cId="2559321920" sldId="2146847560"/>
            <ac:spMk id="2" creationId="{F6F33E3D-87C7-489C-D50F-B378A6B34C12}"/>
          </ac:spMkLst>
        </pc:spChg>
        <pc:spChg chg="mod">
          <ac:chgData name="Tsuchida, Shinpei" userId="4375a60a-0653-49e2-ae45-00a92666541c" providerId="ADAL" clId="{D1725743-558E-4D9B-893B-DB62665A1A57}" dt="2024-03-24T01:48:45.477" v="2456" actId="1076"/>
          <ac:spMkLst>
            <pc:docMk/>
            <pc:sldMk cId="2559321920" sldId="2146847560"/>
            <ac:spMk id="7" creationId="{F9ADCEC0-9C74-0C0E-8BCB-03B64B0E9536}"/>
          </ac:spMkLst>
        </pc:spChg>
      </pc:sldChg>
      <pc:sldChg chg="modSp mod">
        <pc:chgData name="Tsuchida, Shinpei" userId="4375a60a-0653-49e2-ae45-00a92666541c" providerId="ADAL" clId="{D1725743-558E-4D9B-893B-DB62665A1A57}" dt="2024-03-24T10:02:11.098" v="5304" actId="20577"/>
        <pc:sldMkLst>
          <pc:docMk/>
          <pc:sldMk cId="693426858" sldId="2146847590"/>
        </pc:sldMkLst>
        <pc:spChg chg="mod">
          <ac:chgData name="Tsuchida, Shinpei" userId="4375a60a-0653-49e2-ae45-00a92666541c" providerId="ADAL" clId="{D1725743-558E-4D9B-893B-DB62665A1A57}" dt="2024-03-24T10:02:11.098" v="5304" actId="20577"/>
          <ac:spMkLst>
            <pc:docMk/>
            <pc:sldMk cId="693426858" sldId="2146847590"/>
            <ac:spMk id="7" creationId="{F0D8E545-A466-48F4-9272-B878EF0DC16B}"/>
          </ac:spMkLst>
        </pc:spChg>
      </pc:sldChg>
      <pc:sldChg chg="addSp modSp mod">
        <pc:chgData name="Tsuchida, Shinpei" userId="4375a60a-0653-49e2-ae45-00a92666541c" providerId="ADAL" clId="{D1725743-558E-4D9B-893B-DB62665A1A57}" dt="2024-03-24T01:45:28.807" v="1807" actId="20577"/>
        <pc:sldMkLst>
          <pc:docMk/>
          <pc:sldMk cId="2766274149" sldId="2146847591"/>
        </pc:sldMkLst>
        <pc:spChg chg="add mod">
          <ac:chgData name="Tsuchida, Shinpei" userId="4375a60a-0653-49e2-ae45-00a92666541c" providerId="ADAL" clId="{D1725743-558E-4D9B-893B-DB62665A1A57}" dt="2024-03-24T01:45:28.807" v="1807" actId="20577"/>
          <ac:spMkLst>
            <pc:docMk/>
            <pc:sldMk cId="2766274149" sldId="2146847591"/>
            <ac:spMk id="3" creationId="{CC34A2F9-677E-A2BD-1DE8-CCC28E4A8300}"/>
          </ac:spMkLst>
        </pc:spChg>
        <pc:spChg chg="add mod">
          <ac:chgData name="Tsuchida, Shinpei" userId="4375a60a-0653-49e2-ae45-00a92666541c" providerId="ADAL" clId="{D1725743-558E-4D9B-893B-DB62665A1A57}" dt="2024-03-24T01:45:21.674" v="1786" actId="20577"/>
          <ac:spMkLst>
            <pc:docMk/>
            <pc:sldMk cId="2766274149" sldId="2146847591"/>
            <ac:spMk id="4" creationId="{9007537D-F927-3642-51DE-8BEF07CF47FF}"/>
          </ac:spMkLst>
        </pc:spChg>
        <pc:spChg chg="mod">
          <ac:chgData name="Tsuchida, Shinpei" userId="4375a60a-0653-49e2-ae45-00a92666541c" providerId="ADAL" clId="{D1725743-558E-4D9B-893B-DB62665A1A57}" dt="2024-03-24T01:45:17.518" v="1777" actId="1076"/>
          <ac:spMkLst>
            <pc:docMk/>
            <pc:sldMk cId="2766274149" sldId="2146847591"/>
            <ac:spMk id="7" creationId="{F0D8E545-A466-48F4-9272-B878EF0DC16B}"/>
          </ac:spMkLst>
        </pc:spChg>
      </pc:sldChg>
      <pc:sldChg chg="addSp modSp mod">
        <pc:chgData name="Tsuchida, Shinpei" userId="4375a60a-0653-49e2-ae45-00a92666541c" providerId="ADAL" clId="{D1725743-558E-4D9B-893B-DB62665A1A57}" dt="2024-03-24T10:04:31.046" v="5515" actId="13926"/>
        <pc:sldMkLst>
          <pc:docMk/>
          <pc:sldMk cId="2962430587" sldId="2146847592"/>
        </pc:sldMkLst>
        <pc:spChg chg="add mod">
          <ac:chgData name="Tsuchida, Shinpei" userId="4375a60a-0653-49e2-ae45-00a92666541c" providerId="ADAL" clId="{D1725743-558E-4D9B-893B-DB62665A1A57}" dt="2024-03-24T10:04:06.787" v="5421" actId="207"/>
          <ac:spMkLst>
            <pc:docMk/>
            <pc:sldMk cId="2962430587" sldId="2146847592"/>
            <ac:spMk id="4" creationId="{AEC73508-2B12-E643-78E1-23E45E2F251F}"/>
          </ac:spMkLst>
        </pc:spChg>
        <pc:spChg chg="mod">
          <ac:chgData name="Tsuchida, Shinpei" userId="4375a60a-0653-49e2-ae45-00a92666541c" providerId="ADAL" clId="{D1725743-558E-4D9B-893B-DB62665A1A57}" dt="2024-03-24T10:04:31.046" v="5515" actId="13926"/>
          <ac:spMkLst>
            <pc:docMk/>
            <pc:sldMk cId="2962430587" sldId="2146847592"/>
            <ac:spMk id="7" creationId="{F0D8E545-A466-48F4-9272-B878EF0DC16B}"/>
          </ac:spMkLst>
        </pc:spChg>
        <pc:spChg chg="mod">
          <ac:chgData name="Tsuchida, Shinpei" userId="4375a60a-0653-49e2-ae45-00a92666541c" providerId="ADAL" clId="{D1725743-558E-4D9B-893B-DB62665A1A57}" dt="2024-03-24T10:02:50.168" v="5307" actId="1076"/>
          <ac:spMkLst>
            <pc:docMk/>
            <pc:sldMk cId="2962430587" sldId="2146847592"/>
            <ac:spMk id="8" creationId="{4322232A-E033-4886-4B85-91FECA59CDF5}"/>
          </ac:spMkLst>
        </pc:spChg>
        <pc:spChg chg="add mod">
          <ac:chgData name="Tsuchida, Shinpei" userId="4375a60a-0653-49e2-ae45-00a92666541c" providerId="ADAL" clId="{D1725743-558E-4D9B-893B-DB62665A1A57}" dt="2024-03-24T10:03:52.391" v="5411" actId="207"/>
          <ac:spMkLst>
            <pc:docMk/>
            <pc:sldMk cId="2962430587" sldId="2146847592"/>
            <ac:spMk id="10" creationId="{E00673A8-ED3D-1992-B93D-3235C05A99F8}"/>
          </ac:spMkLst>
        </pc:spChg>
      </pc:sldChg>
      <pc:sldChg chg="addSp modSp mod">
        <pc:chgData name="Tsuchida, Shinpei" userId="4375a60a-0653-49e2-ae45-00a92666541c" providerId="ADAL" clId="{D1725743-558E-4D9B-893B-DB62665A1A57}" dt="2024-03-24T01:45:44.518" v="1826" actId="20577"/>
        <pc:sldMkLst>
          <pc:docMk/>
          <pc:sldMk cId="454459423" sldId="2146847596"/>
        </pc:sldMkLst>
        <pc:spChg chg="add mod">
          <ac:chgData name="Tsuchida, Shinpei" userId="4375a60a-0653-49e2-ae45-00a92666541c" providerId="ADAL" clId="{D1725743-558E-4D9B-893B-DB62665A1A57}" dt="2024-03-24T01:45:44.518" v="1826" actId="20577"/>
          <ac:spMkLst>
            <pc:docMk/>
            <pc:sldMk cId="454459423" sldId="2146847596"/>
            <ac:spMk id="3" creationId="{1718E0E3-0ED7-F510-E4B5-0069CBC2DB9C}"/>
          </ac:spMkLst>
        </pc:spChg>
      </pc:sldChg>
      <pc:sldChg chg="modSp mod">
        <pc:chgData name="Tsuchida, Shinpei" userId="4375a60a-0653-49e2-ae45-00a92666541c" providerId="ADAL" clId="{D1725743-558E-4D9B-893B-DB62665A1A57}" dt="2024-03-24T09:19:40.478" v="5255" actId="1076"/>
        <pc:sldMkLst>
          <pc:docMk/>
          <pc:sldMk cId="2073688605" sldId="2146847608"/>
        </pc:sldMkLst>
        <pc:spChg chg="mod">
          <ac:chgData name="Tsuchida, Shinpei" userId="4375a60a-0653-49e2-ae45-00a92666541c" providerId="ADAL" clId="{D1725743-558E-4D9B-893B-DB62665A1A57}" dt="2024-03-24T09:19:40.478" v="5255" actId="1076"/>
          <ac:spMkLst>
            <pc:docMk/>
            <pc:sldMk cId="2073688605" sldId="2146847608"/>
            <ac:spMk id="8" creationId="{46402638-2B83-461D-A5AF-34487FA532E1}"/>
          </ac:spMkLst>
        </pc:spChg>
      </pc:sldChg>
      <pc:sldChg chg="mod modShow">
        <pc:chgData name="Tsuchida, Shinpei" userId="4375a60a-0653-49e2-ae45-00a92666541c" providerId="ADAL" clId="{D1725743-558E-4D9B-893B-DB62665A1A57}" dt="2024-03-23T13:39:07.029" v="1071" actId="729"/>
        <pc:sldMkLst>
          <pc:docMk/>
          <pc:sldMk cId="1401715061" sldId="2146847621"/>
        </pc:sldMkLst>
      </pc:sldChg>
      <pc:sldChg chg="mod modShow">
        <pc:chgData name="Tsuchida, Shinpei" userId="4375a60a-0653-49e2-ae45-00a92666541c" providerId="ADAL" clId="{D1725743-558E-4D9B-893B-DB62665A1A57}" dt="2024-03-23T13:37:41.444" v="1070" actId="729"/>
        <pc:sldMkLst>
          <pc:docMk/>
          <pc:sldMk cId="2391146792" sldId="2146847622"/>
        </pc:sldMkLst>
      </pc:sldChg>
      <pc:sldChg chg="mod modShow">
        <pc:chgData name="Tsuchida, Shinpei" userId="4375a60a-0653-49e2-ae45-00a92666541c" providerId="ADAL" clId="{D1725743-558E-4D9B-893B-DB62665A1A57}" dt="2024-03-23T13:37:41.444" v="1070" actId="729"/>
        <pc:sldMkLst>
          <pc:docMk/>
          <pc:sldMk cId="3393070087" sldId="2146847623"/>
        </pc:sldMkLst>
      </pc:sldChg>
      <pc:sldChg chg="mod modShow">
        <pc:chgData name="Tsuchida, Shinpei" userId="4375a60a-0653-49e2-ae45-00a92666541c" providerId="ADAL" clId="{D1725743-558E-4D9B-893B-DB62665A1A57}" dt="2024-03-23T13:37:41.444" v="1070" actId="729"/>
        <pc:sldMkLst>
          <pc:docMk/>
          <pc:sldMk cId="2424482231" sldId="2146847624"/>
        </pc:sldMkLst>
      </pc:sldChg>
      <pc:sldChg chg="addSp modSp mod">
        <pc:chgData name="Tsuchida, Shinpei" userId="4375a60a-0653-49e2-ae45-00a92666541c" providerId="ADAL" clId="{D1725743-558E-4D9B-893B-DB62665A1A57}" dt="2024-03-24T01:43:02.655" v="1515" actId="20577"/>
        <pc:sldMkLst>
          <pc:docMk/>
          <pc:sldMk cId="445871252" sldId="2146847625"/>
        </pc:sldMkLst>
        <pc:spChg chg="add mod">
          <ac:chgData name="Tsuchida, Shinpei" userId="4375a60a-0653-49e2-ae45-00a92666541c" providerId="ADAL" clId="{D1725743-558E-4D9B-893B-DB62665A1A57}" dt="2024-03-24T01:42:58.129" v="1506" actId="20577"/>
          <ac:spMkLst>
            <pc:docMk/>
            <pc:sldMk cId="445871252" sldId="2146847625"/>
            <ac:spMk id="4" creationId="{AE506D56-80F0-47F2-0DE5-4219BE85B18E}"/>
          </ac:spMkLst>
        </pc:spChg>
        <pc:spChg chg="mod">
          <ac:chgData name="Tsuchida, Shinpei" userId="4375a60a-0653-49e2-ae45-00a92666541c" providerId="ADAL" clId="{D1725743-558E-4D9B-893B-DB62665A1A57}" dt="2024-03-23T13:39:43.738" v="1073" actId="1076"/>
          <ac:spMkLst>
            <pc:docMk/>
            <pc:sldMk cId="445871252" sldId="2146847625"/>
            <ac:spMk id="6" creationId="{D0B0D116-FBCC-4FD9-948F-36682F868471}"/>
          </ac:spMkLst>
        </pc:spChg>
        <pc:spChg chg="add mod">
          <ac:chgData name="Tsuchida, Shinpei" userId="4375a60a-0653-49e2-ae45-00a92666541c" providerId="ADAL" clId="{D1725743-558E-4D9B-893B-DB62665A1A57}" dt="2024-03-24T01:43:02.655" v="1515" actId="20577"/>
          <ac:spMkLst>
            <pc:docMk/>
            <pc:sldMk cId="445871252" sldId="2146847625"/>
            <ac:spMk id="9" creationId="{991227FB-4C9A-E248-14FF-66A1DF102BFA}"/>
          </ac:spMkLst>
        </pc:spChg>
      </pc:sldChg>
      <pc:sldChg chg="modSp add mod">
        <pc:chgData name="Tsuchida, Shinpei" userId="4375a60a-0653-49e2-ae45-00a92666541c" providerId="ADAL" clId="{D1725743-558E-4D9B-893B-DB62665A1A57}" dt="2024-03-26T09:15:25.853" v="6232"/>
        <pc:sldMkLst>
          <pc:docMk/>
          <pc:sldMk cId="953263529" sldId="2147377939"/>
        </pc:sldMkLst>
        <pc:spChg chg="mod">
          <ac:chgData name="Tsuchida, Shinpei" userId="4375a60a-0653-49e2-ae45-00a92666541c" providerId="ADAL" clId="{D1725743-558E-4D9B-893B-DB62665A1A57}" dt="2024-03-26T09:15:25.853" v="6232"/>
          <ac:spMkLst>
            <pc:docMk/>
            <pc:sldMk cId="953263529" sldId="2147377939"/>
            <ac:spMk id="2" creationId="{21D2411B-7FA8-59E7-5F38-B0990CCD4A6C}"/>
          </ac:spMkLst>
        </pc:spChg>
      </pc:sldChg>
      <pc:sldChg chg="addSp modSp add del mod">
        <pc:chgData name="Tsuchida, Shinpei" userId="4375a60a-0653-49e2-ae45-00a92666541c" providerId="ADAL" clId="{D1725743-558E-4D9B-893B-DB62665A1A57}" dt="2024-03-26T09:15:14.297" v="6230" actId="2696"/>
        <pc:sldMkLst>
          <pc:docMk/>
          <pc:sldMk cId="2682721128" sldId="2147377939"/>
        </pc:sldMkLst>
        <pc:spChg chg="mod">
          <ac:chgData name="Tsuchida, Shinpei" userId="4375a60a-0653-49e2-ae45-00a92666541c" providerId="ADAL" clId="{D1725743-558E-4D9B-893B-DB62665A1A57}" dt="2024-03-26T09:13:01.723" v="6180" actId="20577"/>
          <ac:spMkLst>
            <pc:docMk/>
            <pc:sldMk cId="2682721128" sldId="2147377939"/>
            <ac:spMk id="2" creationId="{F75318E8-E1FD-F6AB-F9A9-9696D6F22120}"/>
          </ac:spMkLst>
        </pc:spChg>
        <pc:spChg chg="mod">
          <ac:chgData name="Tsuchida, Shinpei" userId="4375a60a-0653-49e2-ae45-00a92666541c" providerId="ADAL" clId="{D1725743-558E-4D9B-893B-DB62665A1A57}" dt="2024-03-26T09:12:50.026" v="6177" actId="108"/>
          <ac:spMkLst>
            <pc:docMk/>
            <pc:sldMk cId="2682721128" sldId="2147377939"/>
            <ac:spMk id="3" creationId="{A92C1985-7CFB-919D-1230-32BBA066364A}"/>
          </ac:spMkLst>
        </pc:spChg>
        <pc:spChg chg="mod">
          <ac:chgData name="Tsuchida, Shinpei" userId="4375a60a-0653-49e2-ae45-00a92666541c" providerId="ADAL" clId="{D1725743-558E-4D9B-893B-DB62665A1A57}" dt="2024-03-26T09:12:50.602" v="6178" actId="108"/>
          <ac:spMkLst>
            <pc:docMk/>
            <pc:sldMk cId="2682721128" sldId="2147377939"/>
            <ac:spMk id="6" creationId="{EA967C1E-A10C-D9A5-E2E9-9C7FBD546D6C}"/>
          </ac:spMkLst>
        </pc:spChg>
        <pc:spChg chg="add mod">
          <ac:chgData name="Tsuchida, Shinpei" userId="4375a60a-0653-49e2-ae45-00a92666541c" providerId="ADAL" clId="{D1725743-558E-4D9B-893B-DB62665A1A57}" dt="2024-03-26T09:13:58.047" v="6227" actId="20577"/>
          <ac:spMkLst>
            <pc:docMk/>
            <pc:sldMk cId="2682721128" sldId="2147377939"/>
            <ac:spMk id="13" creationId="{2361FFD7-38E1-95AB-CB8A-53268DE27EDA}"/>
          </ac:spMkLst>
        </pc:spChg>
      </pc:sldChg>
      <pc:sldChg chg="addSp modSp add del mod">
        <pc:chgData name="Tsuchida, Shinpei" userId="4375a60a-0653-49e2-ae45-00a92666541c" providerId="ADAL" clId="{D1725743-558E-4D9B-893B-DB62665A1A57}" dt="2024-03-26T09:15:14.297" v="6230" actId="2696"/>
        <pc:sldMkLst>
          <pc:docMk/>
          <pc:sldMk cId="403144223" sldId="2147377940"/>
        </pc:sldMkLst>
        <pc:spChg chg="add mod">
          <ac:chgData name="Tsuchida, Shinpei" userId="4375a60a-0653-49e2-ae45-00a92666541c" providerId="ADAL" clId="{D1725743-558E-4D9B-893B-DB62665A1A57}" dt="2024-03-26T09:14:04.370" v="6229"/>
          <ac:spMkLst>
            <pc:docMk/>
            <pc:sldMk cId="403144223" sldId="2147377940"/>
            <ac:spMk id="2" creationId="{5B4BC4ED-505E-AC22-7B68-729A5DBCCA38}"/>
          </ac:spMkLst>
        </pc:spChg>
        <pc:spChg chg="mod">
          <ac:chgData name="Tsuchida, Shinpei" userId="4375a60a-0653-49e2-ae45-00a92666541c" providerId="ADAL" clId="{D1725743-558E-4D9B-893B-DB62665A1A57}" dt="2024-03-26T09:13:07.731" v="6184" actId="20577"/>
          <ac:spMkLst>
            <pc:docMk/>
            <pc:sldMk cId="403144223" sldId="2147377940"/>
            <ac:spMk id="3" creationId="{EFE31B6F-5801-413F-7AC4-AD0D8703F9B8}"/>
          </ac:spMkLst>
        </pc:spChg>
        <pc:spChg chg="mod">
          <ac:chgData name="Tsuchida, Shinpei" userId="4375a60a-0653-49e2-ae45-00a92666541c" providerId="ADAL" clId="{D1725743-558E-4D9B-893B-DB62665A1A57}" dt="2024-03-26T09:12:44.981" v="6174" actId="108"/>
          <ac:spMkLst>
            <pc:docMk/>
            <pc:sldMk cId="403144223" sldId="2147377940"/>
            <ac:spMk id="7" creationId="{7CA5D45C-32ED-DFED-1CEE-E0135FFFCA35}"/>
          </ac:spMkLst>
        </pc:spChg>
      </pc:sldChg>
      <pc:sldChg chg="modSp add mod">
        <pc:chgData name="Tsuchida, Shinpei" userId="4375a60a-0653-49e2-ae45-00a92666541c" providerId="ADAL" clId="{D1725743-558E-4D9B-893B-DB62665A1A57}" dt="2024-03-26T09:15:31.810" v="6234"/>
        <pc:sldMkLst>
          <pc:docMk/>
          <pc:sldMk cId="548282329" sldId="2147377940"/>
        </pc:sldMkLst>
        <pc:spChg chg="mod">
          <ac:chgData name="Tsuchida, Shinpei" userId="4375a60a-0653-49e2-ae45-00a92666541c" providerId="ADAL" clId="{D1725743-558E-4D9B-893B-DB62665A1A57}" dt="2024-03-26T09:15:31.810" v="6234"/>
          <ac:spMkLst>
            <pc:docMk/>
            <pc:sldMk cId="548282329" sldId="2147377940"/>
            <ac:spMk id="3" creationId="{AFFCED03-E06C-0065-9D06-F9E633A2EDE3}"/>
          </ac:spMkLst>
        </pc:spChg>
      </pc:sldChg>
      <pc:sldChg chg="modSp add mod">
        <pc:chgData name="Tsuchida, Shinpei" userId="4375a60a-0653-49e2-ae45-00a92666541c" providerId="ADAL" clId="{D1725743-558E-4D9B-893B-DB62665A1A57}" dt="2024-03-26T09:15:28.966" v="6233"/>
        <pc:sldMkLst>
          <pc:docMk/>
          <pc:sldMk cId="2917258169" sldId="2147377941"/>
        </pc:sldMkLst>
        <pc:spChg chg="mod">
          <ac:chgData name="Tsuchida, Shinpei" userId="4375a60a-0653-49e2-ae45-00a92666541c" providerId="ADAL" clId="{D1725743-558E-4D9B-893B-DB62665A1A57}" dt="2024-03-26T09:15:28.966" v="6233"/>
          <ac:spMkLst>
            <pc:docMk/>
            <pc:sldMk cId="2917258169" sldId="2147377941"/>
            <ac:spMk id="2" creationId="{2CFA4358-C955-E846-F703-BE1184B43345}"/>
          </ac:spMkLst>
        </pc:spChg>
      </pc:sldChg>
      <pc:sldChg chg="addSp modSp add del mod">
        <pc:chgData name="Tsuchida, Shinpei" userId="4375a60a-0653-49e2-ae45-00a92666541c" providerId="ADAL" clId="{D1725743-558E-4D9B-893B-DB62665A1A57}" dt="2024-03-26T09:15:14.297" v="6230" actId="2696"/>
        <pc:sldMkLst>
          <pc:docMk/>
          <pc:sldMk cId="3763088974" sldId="2147377941"/>
        </pc:sldMkLst>
        <pc:spChg chg="mod">
          <ac:chgData name="Tsuchida, Shinpei" userId="4375a60a-0653-49e2-ae45-00a92666541c" providerId="ADAL" clId="{D1725743-558E-4D9B-893B-DB62665A1A57}" dt="2024-03-26T09:13:04.786" v="6182" actId="20577"/>
          <ac:spMkLst>
            <pc:docMk/>
            <pc:sldMk cId="3763088974" sldId="2147377941"/>
            <ac:spMk id="2" creationId="{F75318E8-E1FD-F6AB-F9A9-9696D6F22120}"/>
          </ac:spMkLst>
        </pc:spChg>
        <pc:spChg chg="mod">
          <ac:chgData name="Tsuchida, Shinpei" userId="4375a60a-0653-49e2-ae45-00a92666541c" providerId="ADAL" clId="{D1725743-558E-4D9B-893B-DB62665A1A57}" dt="2024-03-26T09:12:47.307" v="6175" actId="108"/>
          <ac:spMkLst>
            <pc:docMk/>
            <pc:sldMk cId="3763088974" sldId="2147377941"/>
            <ac:spMk id="6" creationId="{35F92740-AA93-35EE-D990-B9F0E8804267}"/>
          </ac:spMkLst>
        </pc:spChg>
        <pc:spChg chg="mod">
          <ac:chgData name="Tsuchida, Shinpei" userId="4375a60a-0653-49e2-ae45-00a92666541c" providerId="ADAL" clId="{D1725743-558E-4D9B-893B-DB62665A1A57}" dt="2024-03-26T09:12:48.153" v="6176" actId="108"/>
          <ac:spMkLst>
            <pc:docMk/>
            <pc:sldMk cId="3763088974" sldId="2147377941"/>
            <ac:spMk id="13" creationId="{CD4E1C80-B68E-A485-89B5-1275253BEA41}"/>
          </ac:spMkLst>
        </pc:spChg>
        <pc:spChg chg="add mod">
          <ac:chgData name="Tsuchida, Shinpei" userId="4375a60a-0653-49e2-ae45-00a92666541c" providerId="ADAL" clId="{D1725743-558E-4D9B-893B-DB62665A1A57}" dt="2024-03-26T09:14:03.875" v="6228"/>
          <ac:spMkLst>
            <pc:docMk/>
            <pc:sldMk cId="3763088974" sldId="2147377941"/>
            <ac:spMk id="14" creationId="{FC36EAB9-58FA-3A80-49BE-F0D0A3259334}"/>
          </ac:spMkLst>
        </pc:spChg>
      </pc:sldChg>
      <pc:sldChg chg="addSp modSp mod">
        <pc:chgData name="Tsuchida, Shinpei" userId="4375a60a-0653-49e2-ae45-00a92666541c" providerId="ADAL" clId="{D1725743-558E-4D9B-893B-DB62665A1A57}" dt="2024-03-24T01:47:01.588" v="2053" actId="14100"/>
        <pc:sldMkLst>
          <pc:docMk/>
          <pc:sldMk cId="2852443830" sldId="2147378632"/>
        </pc:sldMkLst>
        <pc:spChg chg="add mod">
          <ac:chgData name="Tsuchida, Shinpei" userId="4375a60a-0653-49e2-ae45-00a92666541c" providerId="ADAL" clId="{D1725743-558E-4D9B-893B-DB62665A1A57}" dt="2024-03-24T01:47:01.588" v="2053" actId="14100"/>
          <ac:spMkLst>
            <pc:docMk/>
            <pc:sldMk cId="2852443830" sldId="2147378632"/>
            <ac:spMk id="3" creationId="{4B3CE172-D199-01B5-37C0-A7F49A5FC9A9}"/>
          </ac:spMkLst>
        </pc:spChg>
      </pc:sldChg>
      <pc:sldChg chg="mod modShow">
        <pc:chgData name="Tsuchida, Shinpei" userId="4375a60a-0653-49e2-ae45-00a92666541c" providerId="ADAL" clId="{D1725743-558E-4D9B-893B-DB62665A1A57}" dt="2024-03-23T13:33:51.955" v="881" actId="729"/>
        <pc:sldMkLst>
          <pc:docMk/>
          <pc:sldMk cId="1188370737" sldId="2147378642"/>
        </pc:sldMkLst>
      </pc:sldChg>
      <pc:sldChg chg="addSp delSp modSp add mod">
        <pc:chgData name="Tsuchida, Shinpei" userId="4375a60a-0653-49e2-ae45-00a92666541c" providerId="ADAL" clId="{D1725743-558E-4D9B-893B-DB62665A1A57}" dt="2024-03-24T10:11:14.622" v="5944" actId="1076"/>
        <pc:sldMkLst>
          <pc:docMk/>
          <pc:sldMk cId="1805811011" sldId="2147378643"/>
        </pc:sldMkLst>
        <pc:spChg chg="add mod">
          <ac:chgData name="Tsuchida, Shinpei" userId="4375a60a-0653-49e2-ae45-00a92666541c" providerId="ADAL" clId="{D1725743-558E-4D9B-893B-DB62665A1A57}" dt="2024-03-24T01:44:48.993" v="1748" actId="20577"/>
          <ac:spMkLst>
            <pc:docMk/>
            <pc:sldMk cId="1805811011" sldId="2147378643"/>
            <ac:spMk id="3" creationId="{2B47DAB3-CE80-8ABF-3197-237049204C09}"/>
          </ac:spMkLst>
        </pc:spChg>
        <pc:spChg chg="mod">
          <ac:chgData name="Tsuchida, Shinpei" userId="4375a60a-0653-49e2-ae45-00a92666541c" providerId="ADAL" clId="{D1725743-558E-4D9B-893B-DB62665A1A57}" dt="2024-03-24T10:11:14.622" v="5944" actId="1076"/>
          <ac:spMkLst>
            <pc:docMk/>
            <pc:sldMk cId="1805811011" sldId="2147378643"/>
            <ac:spMk id="4" creationId="{78A6158B-C9C8-BC24-B780-F2E8C3167CB7}"/>
          </ac:spMkLst>
        </pc:spChg>
        <pc:spChg chg="del mod">
          <ac:chgData name="Tsuchida, Shinpei" userId="4375a60a-0653-49e2-ae45-00a92666541c" providerId="ADAL" clId="{D1725743-558E-4D9B-893B-DB62665A1A57}" dt="2024-03-23T13:02:21.268" v="48" actId="21"/>
          <ac:spMkLst>
            <pc:docMk/>
            <pc:sldMk cId="1805811011" sldId="2147378643"/>
            <ac:spMk id="7" creationId="{222C1F65-A6E5-C874-BDE7-97EE38DA79D2}"/>
          </ac:spMkLst>
        </pc:spChg>
        <pc:spChg chg="mod">
          <ac:chgData name="Tsuchida, Shinpei" userId="4375a60a-0653-49e2-ae45-00a92666541c" providerId="ADAL" clId="{D1725743-558E-4D9B-893B-DB62665A1A57}" dt="2024-03-23T13:01:03.613" v="19" actId="948"/>
          <ac:spMkLst>
            <pc:docMk/>
            <pc:sldMk cId="1805811011" sldId="2147378643"/>
            <ac:spMk id="9" creationId="{AE399A2B-7760-B687-0FFA-C43A562B0500}"/>
          </ac:spMkLst>
        </pc:spChg>
        <pc:graphicFrameChg chg="mod">
          <ac:chgData name="Tsuchida, Shinpei" userId="4375a60a-0653-49e2-ae45-00a92666541c" providerId="ADAL" clId="{D1725743-558E-4D9B-893B-DB62665A1A57}" dt="2024-03-23T13:01:03.621" v="23"/>
          <ac:graphicFrameMkLst>
            <pc:docMk/>
            <pc:sldMk cId="1805811011" sldId="2147378643"/>
            <ac:graphicFrameMk id="5" creationId="{C2B6F089-FB91-CDC8-7303-932DF8BCCE89}"/>
          </ac:graphicFrameMkLst>
        </pc:graphicFrameChg>
        <pc:graphicFrameChg chg="modGraphic">
          <ac:chgData name="Tsuchida, Shinpei" userId="4375a60a-0653-49e2-ae45-00a92666541c" providerId="ADAL" clId="{D1725743-558E-4D9B-893B-DB62665A1A57}" dt="2024-03-24T10:11:10.969" v="5943" actId="20577"/>
          <ac:graphicFrameMkLst>
            <pc:docMk/>
            <pc:sldMk cId="1805811011" sldId="2147378643"/>
            <ac:graphicFrameMk id="13" creationId="{50E9E96A-FD26-603D-DD3F-FD8D762A7EBB}"/>
          </ac:graphicFrameMkLst>
        </pc:graphicFrameChg>
      </pc:sldChg>
      <pc:sldChg chg="addSp modSp new mod">
        <pc:chgData name="Tsuchida, Shinpei" userId="4375a60a-0653-49e2-ae45-00a92666541c" providerId="ADAL" clId="{D1725743-558E-4D9B-893B-DB62665A1A57}" dt="2024-03-24T04:59:47.019" v="3723"/>
        <pc:sldMkLst>
          <pc:docMk/>
          <pc:sldMk cId="4186158384" sldId="2147378644"/>
        </pc:sldMkLst>
        <pc:spChg chg="mod">
          <ac:chgData name="Tsuchida, Shinpei" userId="4375a60a-0653-49e2-ae45-00a92666541c" providerId="ADAL" clId="{D1725743-558E-4D9B-893B-DB62665A1A57}" dt="2024-03-24T04:57:41.150" v="3534" actId="14100"/>
          <ac:spMkLst>
            <pc:docMk/>
            <pc:sldMk cId="4186158384" sldId="2147378644"/>
            <ac:spMk id="5" creationId="{5929DA61-9492-16C6-77EC-2F6154CAB4D5}"/>
          </ac:spMkLst>
        </pc:spChg>
        <pc:spChg chg="add mod">
          <ac:chgData name="Tsuchida, Shinpei" userId="4375a60a-0653-49e2-ae45-00a92666541c" providerId="ADAL" clId="{D1725743-558E-4D9B-893B-DB62665A1A57}" dt="2024-03-24T04:58:53.602" v="3716" actId="1076"/>
          <ac:spMkLst>
            <pc:docMk/>
            <pc:sldMk cId="4186158384" sldId="2147378644"/>
            <ac:spMk id="7" creationId="{222C1F65-A6E5-C874-BDE7-97EE38DA79D2}"/>
          </ac:spMkLst>
        </pc:spChg>
        <pc:spChg chg="mod">
          <ac:chgData name="Tsuchida, Shinpei" userId="4375a60a-0653-49e2-ae45-00a92666541c" providerId="ADAL" clId="{D1725743-558E-4D9B-893B-DB62665A1A57}" dt="2024-03-24T04:57:41.150" v="3534" actId="14100"/>
          <ac:spMkLst>
            <pc:docMk/>
            <pc:sldMk cId="4186158384" sldId="2147378644"/>
            <ac:spMk id="16" creationId="{D82731B7-5750-703C-4B7E-BF51E0DCA3F7}"/>
          </ac:spMkLst>
        </pc:spChg>
        <pc:spChg chg="mod">
          <ac:chgData name="Tsuchida, Shinpei" userId="4375a60a-0653-49e2-ae45-00a92666541c" providerId="ADAL" clId="{D1725743-558E-4D9B-893B-DB62665A1A57}" dt="2024-03-24T04:59:27.239" v="3721" actId="1076"/>
          <ac:spMkLst>
            <pc:docMk/>
            <pc:sldMk cId="4186158384" sldId="2147378644"/>
            <ac:spMk id="17" creationId="{86F0F3BA-31D5-CB5F-DAA4-6F832E98B5D6}"/>
          </ac:spMkLst>
        </pc:spChg>
        <pc:spChg chg="add mod">
          <ac:chgData name="Tsuchida, Shinpei" userId="4375a60a-0653-49e2-ae45-00a92666541c" providerId="ADAL" clId="{D1725743-558E-4D9B-893B-DB62665A1A57}" dt="2024-03-24T04:58:19.229" v="3660" actId="20577"/>
          <ac:spMkLst>
            <pc:docMk/>
            <pc:sldMk cId="4186158384" sldId="2147378644"/>
            <ac:spMk id="23" creationId="{3B4E9364-AA14-FAB0-8D8D-7AB72E4B3A4A}"/>
          </ac:spMkLst>
        </pc:spChg>
        <pc:spChg chg="add mod">
          <ac:chgData name="Tsuchida, Shinpei" userId="4375a60a-0653-49e2-ae45-00a92666541c" providerId="ADAL" clId="{D1725743-558E-4D9B-893B-DB62665A1A57}" dt="2024-03-24T04:58:51.353" v="3715" actId="1076"/>
          <ac:spMkLst>
            <pc:docMk/>
            <pc:sldMk cId="4186158384" sldId="2147378644"/>
            <ac:spMk id="24" creationId="{6812ECF5-219C-F96E-DC34-885D07A885CB}"/>
          </ac:spMkLst>
        </pc:spChg>
        <pc:spChg chg="add mod">
          <ac:chgData name="Tsuchida, Shinpei" userId="4375a60a-0653-49e2-ae45-00a92666541c" providerId="ADAL" clId="{D1725743-558E-4D9B-893B-DB62665A1A57}" dt="2024-03-24T04:58:39.872" v="3714" actId="20577"/>
          <ac:spMkLst>
            <pc:docMk/>
            <pc:sldMk cId="4186158384" sldId="2147378644"/>
            <ac:spMk id="25" creationId="{2C4F13DB-EF49-E9D8-5C50-FFD25408D991}"/>
          </ac:spMkLst>
        </pc:spChg>
        <pc:graphicFrameChg chg="mod">
          <ac:chgData name="Tsuchida, Shinpei" userId="4375a60a-0653-49e2-ae45-00a92666541c" providerId="ADAL" clId="{D1725743-558E-4D9B-893B-DB62665A1A57}" dt="2024-03-24T04:59:47.019" v="3723"/>
          <ac:graphicFrameMkLst>
            <pc:docMk/>
            <pc:sldMk cId="4186158384" sldId="2147378644"/>
            <ac:graphicFrameMk id="15" creationId="{2D8B9F62-5640-DA60-72EA-D3AA0A3EC839}"/>
          </ac:graphicFrameMkLst>
        </pc:graphicFrameChg>
      </pc:sldChg>
      <pc:sldChg chg="modSp add mod">
        <pc:chgData name="Tsuchida, Shinpei" userId="4375a60a-0653-49e2-ae45-00a92666541c" providerId="ADAL" clId="{D1725743-558E-4D9B-893B-DB62665A1A57}" dt="2024-03-24T02:05:53.768" v="2785" actId="20577"/>
        <pc:sldMkLst>
          <pc:docMk/>
          <pc:sldMk cId="2061620207" sldId="2147378645"/>
        </pc:sldMkLst>
        <pc:spChg chg="mod">
          <ac:chgData name="Tsuchida, Shinpei" userId="4375a60a-0653-49e2-ae45-00a92666541c" providerId="ADAL" clId="{D1725743-558E-4D9B-893B-DB62665A1A57}" dt="2024-03-24T02:05:53.768" v="2785" actId="20577"/>
          <ac:spMkLst>
            <pc:docMk/>
            <pc:sldMk cId="2061620207" sldId="2147378645"/>
            <ac:spMk id="7" creationId="{8BB312B7-7ECB-4407-2E77-9D084C0D0C8D}"/>
          </ac:spMkLst>
        </pc:spChg>
      </pc:sldChg>
      <pc:sldChg chg="addSp delSp modSp add mod ord modShow">
        <pc:chgData name="Tsuchida, Shinpei" userId="4375a60a-0653-49e2-ae45-00a92666541c" providerId="ADAL" clId="{D1725743-558E-4D9B-893B-DB62665A1A57}" dt="2024-03-24T04:29:56.434" v="3293" actId="729"/>
        <pc:sldMkLst>
          <pc:docMk/>
          <pc:sldMk cId="3796097863" sldId="2147378646"/>
        </pc:sldMkLst>
        <pc:spChg chg="mod">
          <ac:chgData name="Tsuchida, Shinpei" userId="4375a60a-0653-49e2-ae45-00a92666541c" providerId="ADAL" clId="{D1725743-558E-4D9B-893B-DB62665A1A57}" dt="2024-03-23T13:15:20.486" v="669" actId="6549"/>
          <ac:spMkLst>
            <pc:docMk/>
            <pc:sldMk cId="3796097863" sldId="2147378646"/>
            <ac:spMk id="2" creationId="{1B788690-C2BF-F8FD-3BBE-0F6B8C149C1A}"/>
          </ac:spMkLst>
        </pc:spChg>
        <pc:spChg chg="add mod">
          <ac:chgData name="Tsuchida, Shinpei" userId="4375a60a-0653-49e2-ae45-00a92666541c" providerId="ADAL" clId="{D1725743-558E-4D9B-893B-DB62665A1A57}" dt="2024-03-24T01:49:03.004" v="2491" actId="20577"/>
          <ac:spMkLst>
            <pc:docMk/>
            <pc:sldMk cId="3796097863" sldId="2147378646"/>
            <ac:spMk id="3" creationId="{ECBB1B18-6E48-A741-52DD-AE2FF2CF5F79}"/>
          </ac:spMkLst>
        </pc:spChg>
        <pc:spChg chg="del mod">
          <ac:chgData name="Tsuchida, Shinpei" userId="4375a60a-0653-49e2-ae45-00a92666541c" providerId="ADAL" clId="{D1725743-558E-4D9B-893B-DB62665A1A57}" dt="2024-03-23T13:15:27.225" v="672" actId="478"/>
          <ac:spMkLst>
            <pc:docMk/>
            <pc:sldMk cId="3796097863" sldId="2147378646"/>
            <ac:spMk id="8" creationId="{F73BFDA0-44F9-477D-EE50-13BBEB0FD3C3}"/>
          </ac:spMkLst>
        </pc:spChg>
        <pc:spChg chg="mod">
          <ac:chgData name="Tsuchida, Shinpei" userId="4375a60a-0653-49e2-ae45-00a92666541c" providerId="ADAL" clId="{D1725743-558E-4D9B-893B-DB62665A1A57}" dt="2024-03-23T13:15:17.579" v="664" actId="948"/>
          <ac:spMkLst>
            <pc:docMk/>
            <pc:sldMk cId="3796097863" sldId="2147378646"/>
            <ac:spMk id="9" creationId="{1207C47B-0ADD-C172-B831-B0397BB0922C}"/>
          </ac:spMkLst>
        </pc:spChg>
        <pc:graphicFrameChg chg="mod">
          <ac:chgData name="Tsuchida, Shinpei" userId="4375a60a-0653-49e2-ae45-00a92666541c" providerId="ADAL" clId="{D1725743-558E-4D9B-893B-DB62665A1A57}" dt="2024-03-23T13:15:17.590" v="668"/>
          <ac:graphicFrameMkLst>
            <pc:docMk/>
            <pc:sldMk cId="3796097863" sldId="2147378646"/>
            <ac:graphicFrameMk id="5" creationId="{ECB48993-7F99-46F0-531C-022782C08D20}"/>
          </ac:graphicFrameMkLst>
        </pc:graphicFrameChg>
      </pc:sldChg>
      <pc:sldChg chg="new del">
        <pc:chgData name="Tsuchida, Shinpei" userId="4375a60a-0653-49e2-ae45-00a92666541c" providerId="ADAL" clId="{D1725743-558E-4D9B-893B-DB62665A1A57}" dt="2024-03-23T13:15:08.368" v="626" actId="47"/>
        <pc:sldMkLst>
          <pc:docMk/>
          <pc:sldMk cId="3855407929" sldId="2147378646"/>
        </pc:sldMkLst>
      </pc:sldChg>
      <pc:sldChg chg="addSp modSp add mod">
        <pc:chgData name="Tsuchida, Shinpei" userId="4375a60a-0653-49e2-ae45-00a92666541c" providerId="ADAL" clId="{D1725743-558E-4D9B-893B-DB62665A1A57}" dt="2024-03-24T01:43:21.563" v="1563" actId="20577"/>
        <pc:sldMkLst>
          <pc:docMk/>
          <pc:sldMk cId="873808501" sldId="2147378647"/>
        </pc:sldMkLst>
        <pc:spChg chg="add mod">
          <ac:chgData name="Tsuchida, Shinpei" userId="4375a60a-0653-49e2-ae45-00a92666541c" providerId="ADAL" clId="{D1725743-558E-4D9B-893B-DB62665A1A57}" dt="2024-03-24T01:43:21.563" v="1563" actId="20577"/>
          <ac:spMkLst>
            <pc:docMk/>
            <pc:sldMk cId="873808501" sldId="2147378647"/>
            <ac:spMk id="2" creationId="{3D216995-FBE2-CDF8-2529-C6EB21D71159}"/>
          </ac:spMkLst>
        </pc:spChg>
      </pc:sldChg>
      <pc:sldChg chg="addSp delSp modSp new mod">
        <pc:chgData name="Tsuchida, Shinpei" userId="4375a60a-0653-49e2-ae45-00a92666541c" providerId="ADAL" clId="{D1725743-558E-4D9B-893B-DB62665A1A57}" dt="2024-03-24T15:49:05.872" v="6172" actId="1076"/>
        <pc:sldMkLst>
          <pc:docMk/>
          <pc:sldMk cId="2998465411" sldId="2147378648"/>
        </pc:sldMkLst>
        <pc:spChg chg="add mod">
          <ac:chgData name="Tsuchida, Shinpei" userId="4375a60a-0653-49e2-ae45-00a92666541c" providerId="ADAL" clId="{D1725743-558E-4D9B-893B-DB62665A1A57}" dt="2024-03-24T15:49:05.872" v="6172" actId="1076"/>
          <ac:spMkLst>
            <pc:docMk/>
            <pc:sldMk cId="2998465411" sldId="2147378648"/>
            <ac:spMk id="5" creationId="{2D5EA78A-6461-7E3B-1B64-172FF89181D2}"/>
          </ac:spMkLst>
        </pc:spChg>
        <pc:spChg chg="add del mod">
          <ac:chgData name="Tsuchida, Shinpei" userId="4375a60a-0653-49e2-ae45-00a92666541c" providerId="ADAL" clId="{D1725743-558E-4D9B-893B-DB62665A1A57}" dt="2024-03-24T15:48:57.481" v="6168" actId="478"/>
          <ac:spMkLst>
            <pc:docMk/>
            <pc:sldMk cId="2998465411" sldId="2147378648"/>
            <ac:spMk id="7" creationId="{F3D32066-A6D2-6921-AA7E-455488126595}"/>
          </ac:spMkLst>
        </pc:spChg>
        <pc:graphicFrameChg chg="mod modGraphic">
          <ac:chgData name="Tsuchida, Shinpei" userId="4375a60a-0653-49e2-ae45-00a92666541c" providerId="ADAL" clId="{D1725743-558E-4D9B-893B-DB62665A1A57}" dt="2024-03-24T15:47:43.119" v="6008" actId="20577"/>
          <ac:graphicFrameMkLst>
            <pc:docMk/>
            <pc:sldMk cId="2998465411" sldId="2147378648"/>
            <ac:graphicFrameMk id="8" creationId="{6BB7A498-4C84-2FEA-ED42-9455CEFC31A6}"/>
          </ac:graphicFrameMkLst>
        </pc:graphicFrameChg>
      </pc:sldChg>
      <pc:sldChg chg="addSp modSp new mod">
        <pc:chgData name="Tsuchida, Shinpei" userId="4375a60a-0653-49e2-ae45-00a92666541c" providerId="ADAL" clId="{D1725743-558E-4D9B-893B-DB62665A1A57}" dt="2024-03-24T04:05:27.894" v="2927" actId="14100"/>
        <pc:sldMkLst>
          <pc:docMk/>
          <pc:sldMk cId="128044781" sldId="2147378649"/>
        </pc:sldMkLst>
        <pc:spChg chg="add mod">
          <ac:chgData name="Tsuchida, Shinpei" userId="4375a60a-0653-49e2-ae45-00a92666541c" providerId="ADAL" clId="{D1725743-558E-4D9B-893B-DB62665A1A57}" dt="2024-03-24T04:05:27.894" v="2927" actId="14100"/>
          <ac:spMkLst>
            <pc:docMk/>
            <pc:sldMk cId="128044781" sldId="2147378649"/>
            <ac:spMk id="5" creationId="{64D9EFCF-5556-C67C-43C3-1B21791BAA3B}"/>
          </ac:spMkLst>
        </pc:spChg>
      </pc:sldChg>
      <pc:sldChg chg="del">
        <pc:chgData name="Tsuchida, Shinpei" userId="4375a60a-0653-49e2-ae45-00a92666541c" providerId="ADAL" clId="{D1725743-558E-4D9B-893B-DB62665A1A57}" dt="2024-03-24T04:05:36.329" v="2928" actId="47"/>
        <pc:sldMkLst>
          <pc:docMk/>
          <pc:sldMk cId="1802116569" sldId="2147378649"/>
        </pc:sldMkLst>
      </pc:sldChg>
      <pc:sldChg chg="addSp modSp mod">
        <pc:chgData name="Tsuchida, Shinpei" userId="4375a60a-0653-49e2-ae45-00a92666541c" providerId="ADAL" clId="{D1725743-558E-4D9B-893B-DB62665A1A57}" dt="2024-03-24T04:31:08.697" v="3530" actId="14100"/>
        <pc:sldMkLst>
          <pc:docMk/>
          <pc:sldMk cId="128044781" sldId="2147378650"/>
        </pc:sldMkLst>
        <pc:spChg chg="mod">
          <ac:chgData name="Tsuchida, Shinpei" userId="4375a60a-0653-49e2-ae45-00a92666541c" providerId="ADAL" clId="{D1725743-558E-4D9B-893B-DB62665A1A57}" dt="2024-03-24T04:05:48.287" v="2991" actId="948"/>
          <ac:spMkLst>
            <pc:docMk/>
            <pc:sldMk cId="128044781" sldId="2147378650"/>
            <ac:spMk id="4" creationId="{EE939D36-9C1A-E1D5-9C69-61295C1D2A20}"/>
          </ac:spMkLst>
        </pc:spChg>
        <pc:spChg chg="mod">
          <ac:chgData name="Tsuchida, Shinpei" userId="4375a60a-0653-49e2-ae45-00a92666541c" providerId="ADAL" clId="{D1725743-558E-4D9B-893B-DB62665A1A57}" dt="2024-03-24T04:28:12.192" v="3289" actId="14100"/>
          <ac:spMkLst>
            <pc:docMk/>
            <pc:sldMk cId="128044781" sldId="2147378650"/>
            <ac:spMk id="5" creationId="{64D9EFCF-5556-C67C-43C3-1B21791BAA3B}"/>
          </ac:spMkLst>
        </pc:spChg>
        <pc:spChg chg="add mod">
          <ac:chgData name="Tsuchida, Shinpei" userId="4375a60a-0653-49e2-ae45-00a92666541c" providerId="ADAL" clId="{D1725743-558E-4D9B-893B-DB62665A1A57}" dt="2024-03-24T04:09:43.641" v="3038" actId="1076"/>
          <ac:spMkLst>
            <pc:docMk/>
            <pc:sldMk cId="128044781" sldId="2147378650"/>
            <ac:spMk id="7" creationId="{5F2F6995-ED34-BC12-C7D1-423BB0605684}"/>
          </ac:spMkLst>
        </pc:spChg>
        <pc:spChg chg="add mod">
          <ac:chgData name="Tsuchida, Shinpei" userId="4375a60a-0653-49e2-ae45-00a92666541c" providerId="ADAL" clId="{D1725743-558E-4D9B-893B-DB62665A1A57}" dt="2024-03-24T04:09:43.641" v="3038" actId="1076"/>
          <ac:spMkLst>
            <pc:docMk/>
            <pc:sldMk cId="128044781" sldId="2147378650"/>
            <ac:spMk id="8" creationId="{68F72CB9-8E09-254A-6143-095430315A93}"/>
          </ac:spMkLst>
        </pc:spChg>
        <pc:spChg chg="add mod">
          <ac:chgData name="Tsuchida, Shinpei" userId="4375a60a-0653-49e2-ae45-00a92666541c" providerId="ADAL" clId="{D1725743-558E-4D9B-893B-DB62665A1A57}" dt="2024-03-24T04:09:43.641" v="3038" actId="1076"/>
          <ac:spMkLst>
            <pc:docMk/>
            <pc:sldMk cId="128044781" sldId="2147378650"/>
            <ac:spMk id="9" creationId="{DCF1BF44-1C79-A7D2-D4EC-DF06E66AEB8B}"/>
          </ac:spMkLst>
        </pc:spChg>
        <pc:spChg chg="add mod">
          <ac:chgData name="Tsuchida, Shinpei" userId="4375a60a-0653-49e2-ae45-00a92666541c" providerId="ADAL" clId="{D1725743-558E-4D9B-893B-DB62665A1A57}" dt="2024-03-24T04:09:43.641" v="3038" actId="1076"/>
          <ac:spMkLst>
            <pc:docMk/>
            <pc:sldMk cId="128044781" sldId="2147378650"/>
            <ac:spMk id="10" creationId="{371A09B2-09AE-FD92-D602-1123981A28C2}"/>
          </ac:spMkLst>
        </pc:spChg>
        <pc:spChg chg="add mod">
          <ac:chgData name="Tsuchida, Shinpei" userId="4375a60a-0653-49e2-ae45-00a92666541c" providerId="ADAL" clId="{D1725743-558E-4D9B-893B-DB62665A1A57}" dt="2024-03-24T04:09:43.641" v="3038" actId="1076"/>
          <ac:spMkLst>
            <pc:docMk/>
            <pc:sldMk cId="128044781" sldId="2147378650"/>
            <ac:spMk id="11" creationId="{139F3379-CD7B-574E-98ED-EE839BC6FA6F}"/>
          </ac:spMkLst>
        </pc:spChg>
        <pc:spChg chg="add mod">
          <ac:chgData name="Tsuchida, Shinpei" userId="4375a60a-0653-49e2-ae45-00a92666541c" providerId="ADAL" clId="{D1725743-558E-4D9B-893B-DB62665A1A57}" dt="2024-03-24T04:09:40.727" v="3037" actId="571"/>
          <ac:spMkLst>
            <pc:docMk/>
            <pc:sldMk cId="128044781" sldId="2147378650"/>
            <ac:spMk id="12" creationId="{2D43A44B-D0ED-1E3F-BA14-CA59A22CC6E2}"/>
          </ac:spMkLst>
        </pc:spChg>
        <pc:spChg chg="add mod">
          <ac:chgData name="Tsuchida, Shinpei" userId="4375a60a-0653-49e2-ae45-00a92666541c" providerId="ADAL" clId="{D1725743-558E-4D9B-893B-DB62665A1A57}" dt="2024-03-24T04:09:40.727" v="3037" actId="571"/>
          <ac:spMkLst>
            <pc:docMk/>
            <pc:sldMk cId="128044781" sldId="2147378650"/>
            <ac:spMk id="13" creationId="{4713BDEA-09AC-995E-E32C-7418CDE84F2A}"/>
          </ac:spMkLst>
        </pc:spChg>
        <pc:spChg chg="add mod">
          <ac:chgData name="Tsuchida, Shinpei" userId="4375a60a-0653-49e2-ae45-00a92666541c" providerId="ADAL" clId="{D1725743-558E-4D9B-893B-DB62665A1A57}" dt="2024-03-24T04:09:40.727" v="3037" actId="571"/>
          <ac:spMkLst>
            <pc:docMk/>
            <pc:sldMk cId="128044781" sldId="2147378650"/>
            <ac:spMk id="14" creationId="{E5D5FED5-B2CD-6AAE-26BF-0966571480FE}"/>
          </ac:spMkLst>
        </pc:spChg>
        <pc:spChg chg="add mod">
          <ac:chgData name="Tsuchida, Shinpei" userId="4375a60a-0653-49e2-ae45-00a92666541c" providerId="ADAL" clId="{D1725743-558E-4D9B-893B-DB62665A1A57}" dt="2024-03-24T04:09:40.727" v="3037" actId="571"/>
          <ac:spMkLst>
            <pc:docMk/>
            <pc:sldMk cId="128044781" sldId="2147378650"/>
            <ac:spMk id="15" creationId="{EDB2F35A-B918-073E-0C6E-A77194E8C6F2}"/>
          </ac:spMkLst>
        </pc:spChg>
        <pc:spChg chg="add mod">
          <ac:chgData name="Tsuchida, Shinpei" userId="4375a60a-0653-49e2-ae45-00a92666541c" providerId="ADAL" clId="{D1725743-558E-4D9B-893B-DB62665A1A57}" dt="2024-03-24T04:09:40.727" v="3037" actId="571"/>
          <ac:spMkLst>
            <pc:docMk/>
            <pc:sldMk cId="128044781" sldId="2147378650"/>
            <ac:spMk id="16" creationId="{31EC28A6-1435-A013-8EA4-6D7164494F11}"/>
          </ac:spMkLst>
        </pc:spChg>
        <pc:spChg chg="add mod">
          <ac:chgData name="Tsuchida, Shinpei" userId="4375a60a-0653-49e2-ae45-00a92666541c" providerId="ADAL" clId="{D1725743-558E-4D9B-893B-DB62665A1A57}" dt="2024-03-24T04:20:18.478" v="3276" actId="14100"/>
          <ac:spMkLst>
            <pc:docMk/>
            <pc:sldMk cId="128044781" sldId="2147378650"/>
            <ac:spMk id="17" creationId="{0C3DF9A1-8E2F-3C85-0802-186D8B052020}"/>
          </ac:spMkLst>
        </pc:spChg>
        <pc:spChg chg="add mod">
          <ac:chgData name="Tsuchida, Shinpei" userId="4375a60a-0653-49e2-ae45-00a92666541c" providerId="ADAL" clId="{D1725743-558E-4D9B-893B-DB62665A1A57}" dt="2024-03-24T04:20:18.478" v="3276" actId="14100"/>
          <ac:spMkLst>
            <pc:docMk/>
            <pc:sldMk cId="128044781" sldId="2147378650"/>
            <ac:spMk id="18" creationId="{DB143C2D-15F5-1A5C-50BC-2891DE912276}"/>
          </ac:spMkLst>
        </pc:spChg>
        <pc:spChg chg="add mod">
          <ac:chgData name="Tsuchida, Shinpei" userId="4375a60a-0653-49e2-ae45-00a92666541c" providerId="ADAL" clId="{D1725743-558E-4D9B-893B-DB62665A1A57}" dt="2024-03-24T04:20:18.478" v="3276" actId="14100"/>
          <ac:spMkLst>
            <pc:docMk/>
            <pc:sldMk cId="128044781" sldId="2147378650"/>
            <ac:spMk id="19" creationId="{D00447BF-13FE-CEB3-D3F0-DB50E0D922A3}"/>
          </ac:spMkLst>
        </pc:spChg>
        <pc:spChg chg="add mod">
          <ac:chgData name="Tsuchida, Shinpei" userId="4375a60a-0653-49e2-ae45-00a92666541c" providerId="ADAL" clId="{D1725743-558E-4D9B-893B-DB62665A1A57}" dt="2024-03-24T04:20:18.478" v="3276" actId="14100"/>
          <ac:spMkLst>
            <pc:docMk/>
            <pc:sldMk cId="128044781" sldId="2147378650"/>
            <ac:spMk id="20" creationId="{066D0BB7-1B6F-5F3F-506D-F8A459454E34}"/>
          </ac:spMkLst>
        </pc:spChg>
        <pc:spChg chg="add mod">
          <ac:chgData name="Tsuchida, Shinpei" userId="4375a60a-0653-49e2-ae45-00a92666541c" providerId="ADAL" clId="{D1725743-558E-4D9B-893B-DB62665A1A57}" dt="2024-03-24T04:20:18.478" v="3276" actId="14100"/>
          <ac:spMkLst>
            <pc:docMk/>
            <pc:sldMk cId="128044781" sldId="2147378650"/>
            <ac:spMk id="21" creationId="{7663E85C-3D68-7CBD-BB6B-9C9C62DFA17A}"/>
          </ac:spMkLst>
        </pc:spChg>
        <pc:spChg chg="add mod">
          <ac:chgData name="Tsuchida, Shinpei" userId="4375a60a-0653-49e2-ae45-00a92666541c" providerId="ADAL" clId="{D1725743-558E-4D9B-893B-DB62665A1A57}" dt="2024-03-24T04:28:21.347" v="3292" actId="20577"/>
          <ac:spMkLst>
            <pc:docMk/>
            <pc:sldMk cId="128044781" sldId="2147378650"/>
            <ac:spMk id="22" creationId="{263B637B-7094-4C9D-CB8F-5CE7473F80BF}"/>
          </ac:spMkLst>
        </pc:spChg>
        <pc:spChg chg="add mod">
          <ac:chgData name="Tsuchida, Shinpei" userId="4375a60a-0653-49e2-ae45-00a92666541c" providerId="ADAL" clId="{D1725743-558E-4D9B-893B-DB62665A1A57}" dt="2024-03-24T04:20:26.231" v="3278" actId="14100"/>
          <ac:spMkLst>
            <pc:docMk/>
            <pc:sldMk cId="128044781" sldId="2147378650"/>
            <ac:spMk id="23" creationId="{5F75D7CE-5F5C-5360-407E-8F1C92A39668}"/>
          </ac:spMkLst>
        </pc:spChg>
        <pc:spChg chg="add mod">
          <ac:chgData name="Tsuchida, Shinpei" userId="4375a60a-0653-49e2-ae45-00a92666541c" providerId="ADAL" clId="{D1725743-558E-4D9B-893B-DB62665A1A57}" dt="2024-03-24T04:20:26.231" v="3278" actId="14100"/>
          <ac:spMkLst>
            <pc:docMk/>
            <pc:sldMk cId="128044781" sldId="2147378650"/>
            <ac:spMk id="24" creationId="{1BD360EA-7E67-0F0F-FEF5-1105A4FC4957}"/>
          </ac:spMkLst>
        </pc:spChg>
        <pc:spChg chg="add mod">
          <ac:chgData name="Tsuchida, Shinpei" userId="4375a60a-0653-49e2-ae45-00a92666541c" providerId="ADAL" clId="{D1725743-558E-4D9B-893B-DB62665A1A57}" dt="2024-03-24T04:20:26.231" v="3278" actId="14100"/>
          <ac:spMkLst>
            <pc:docMk/>
            <pc:sldMk cId="128044781" sldId="2147378650"/>
            <ac:spMk id="25" creationId="{C025AC64-B653-8DF7-5567-2CCD7F5A4842}"/>
          </ac:spMkLst>
        </pc:spChg>
        <pc:spChg chg="add mod">
          <ac:chgData name="Tsuchida, Shinpei" userId="4375a60a-0653-49e2-ae45-00a92666541c" providerId="ADAL" clId="{D1725743-558E-4D9B-893B-DB62665A1A57}" dt="2024-03-24T04:20:26.231" v="3278" actId="14100"/>
          <ac:spMkLst>
            <pc:docMk/>
            <pc:sldMk cId="128044781" sldId="2147378650"/>
            <ac:spMk id="26" creationId="{F3DE1FF1-EAA5-1BF3-604D-270ED24F1227}"/>
          </ac:spMkLst>
        </pc:spChg>
        <pc:spChg chg="add mod">
          <ac:chgData name="Tsuchida, Shinpei" userId="4375a60a-0653-49e2-ae45-00a92666541c" providerId="ADAL" clId="{D1725743-558E-4D9B-893B-DB62665A1A57}" dt="2024-03-24T04:20:36.408" v="3288" actId="14100"/>
          <ac:spMkLst>
            <pc:docMk/>
            <pc:sldMk cId="128044781" sldId="2147378650"/>
            <ac:spMk id="27" creationId="{DEF20B9B-DCAB-9BD9-9E37-8531337B3E1D}"/>
          </ac:spMkLst>
        </pc:spChg>
        <pc:spChg chg="add mod">
          <ac:chgData name="Tsuchida, Shinpei" userId="4375a60a-0653-49e2-ae45-00a92666541c" providerId="ADAL" clId="{D1725743-558E-4D9B-893B-DB62665A1A57}" dt="2024-03-24T04:20:36.408" v="3288" actId="14100"/>
          <ac:spMkLst>
            <pc:docMk/>
            <pc:sldMk cId="128044781" sldId="2147378650"/>
            <ac:spMk id="28" creationId="{C5AB2DEF-58E9-FFDA-B948-85B871F01584}"/>
          </ac:spMkLst>
        </pc:spChg>
        <pc:spChg chg="add mod">
          <ac:chgData name="Tsuchida, Shinpei" userId="4375a60a-0653-49e2-ae45-00a92666541c" providerId="ADAL" clId="{D1725743-558E-4D9B-893B-DB62665A1A57}" dt="2024-03-24T04:20:36.408" v="3288" actId="14100"/>
          <ac:spMkLst>
            <pc:docMk/>
            <pc:sldMk cId="128044781" sldId="2147378650"/>
            <ac:spMk id="29" creationId="{93695E8A-6507-1A61-5830-059FFE28E338}"/>
          </ac:spMkLst>
        </pc:spChg>
        <pc:spChg chg="add mod">
          <ac:chgData name="Tsuchida, Shinpei" userId="4375a60a-0653-49e2-ae45-00a92666541c" providerId="ADAL" clId="{D1725743-558E-4D9B-893B-DB62665A1A57}" dt="2024-03-24T04:20:36.408" v="3288" actId="14100"/>
          <ac:spMkLst>
            <pc:docMk/>
            <pc:sldMk cId="128044781" sldId="2147378650"/>
            <ac:spMk id="30" creationId="{5CA9EF39-A382-637E-E690-F6E6C3E38550}"/>
          </ac:spMkLst>
        </pc:spChg>
        <pc:spChg chg="add mod">
          <ac:chgData name="Tsuchida, Shinpei" userId="4375a60a-0653-49e2-ae45-00a92666541c" providerId="ADAL" clId="{D1725743-558E-4D9B-893B-DB62665A1A57}" dt="2024-03-24T04:20:36.408" v="3288" actId="14100"/>
          <ac:spMkLst>
            <pc:docMk/>
            <pc:sldMk cId="128044781" sldId="2147378650"/>
            <ac:spMk id="31" creationId="{EC318247-48E6-6824-ECE3-A467E2DCC7A6}"/>
          </ac:spMkLst>
        </pc:spChg>
        <pc:spChg chg="add mod">
          <ac:chgData name="Tsuchida, Shinpei" userId="4375a60a-0653-49e2-ae45-00a92666541c" providerId="ADAL" clId="{D1725743-558E-4D9B-893B-DB62665A1A57}" dt="2024-03-24T04:11:48.933" v="3200" actId="20577"/>
          <ac:spMkLst>
            <pc:docMk/>
            <pc:sldMk cId="128044781" sldId="2147378650"/>
            <ac:spMk id="32" creationId="{FF0B8435-D959-54D8-1DF9-23C00B906D30}"/>
          </ac:spMkLst>
        </pc:spChg>
        <pc:spChg chg="add mod">
          <ac:chgData name="Tsuchida, Shinpei" userId="4375a60a-0653-49e2-ae45-00a92666541c" providerId="ADAL" clId="{D1725743-558E-4D9B-893B-DB62665A1A57}" dt="2024-03-24T04:31:08.697" v="3530" actId="14100"/>
          <ac:spMkLst>
            <pc:docMk/>
            <pc:sldMk cId="128044781" sldId="2147378650"/>
            <ac:spMk id="35" creationId="{C49DEDD9-3A61-A50F-999D-0B06234EBD4E}"/>
          </ac:spMkLst>
        </pc:spChg>
        <pc:grpChg chg="add mod">
          <ac:chgData name="Tsuchida, Shinpei" userId="4375a60a-0653-49e2-ae45-00a92666541c" providerId="ADAL" clId="{D1725743-558E-4D9B-893B-DB62665A1A57}" dt="2024-03-24T04:11:41.918" v="3194" actId="14100"/>
          <ac:grpSpMkLst>
            <pc:docMk/>
            <pc:sldMk cId="128044781" sldId="2147378650"/>
            <ac:grpSpMk id="34" creationId="{0FA49C46-EA98-8D09-B5F8-C36CD9242961}"/>
          </ac:grpSpMkLst>
        </pc:grpChg>
        <pc:graphicFrameChg chg="add mod ord modVis replST">
          <ac:chgData name="Tsuchida, Shinpei" userId="4375a60a-0653-49e2-ae45-00a92666541c" providerId="ADAL" clId="{D1725743-558E-4D9B-893B-DB62665A1A57}" dt="2024-03-24T04:05:48.525" v="3008"/>
          <ac:graphicFrameMkLst>
            <pc:docMk/>
            <pc:sldMk cId="128044781" sldId="2147378650"/>
            <ac:graphicFrameMk id="6" creationId="{5D252BC9-62AE-D737-64B4-909F97A853A3}"/>
          </ac:graphicFrameMkLst>
        </pc:graphicFrameChg>
        <pc:cxnChg chg="add mod">
          <ac:chgData name="Tsuchida, Shinpei" userId="4375a60a-0653-49e2-ae45-00a92666541c" providerId="ADAL" clId="{D1725743-558E-4D9B-893B-DB62665A1A57}" dt="2024-03-24T04:11:41.918" v="3194" actId="14100"/>
          <ac:cxnSpMkLst>
            <pc:docMk/>
            <pc:sldMk cId="128044781" sldId="2147378650"/>
            <ac:cxnSpMk id="33" creationId="{D4D1B8DD-3F53-BB74-D7A7-EABC342A9291}"/>
          </ac:cxnSpMkLst>
        </pc:cxnChg>
      </pc:sldChg>
      <pc:sldChg chg="del mod ord modShow">
        <pc:chgData name="Tsuchida, Shinpei" userId="4375a60a-0653-49e2-ae45-00a92666541c" providerId="ADAL" clId="{D1725743-558E-4D9B-893B-DB62665A1A57}" dt="2024-03-24T11:18:32.159" v="5969" actId="47"/>
        <pc:sldMkLst>
          <pc:docMk/>
          <pc:sldMk cId="3657893772" sldId="2147378650"/>
        </pc:sldMkLst>
      </pc:sldChg>
      <pc:sldChg chg="addSp delSp modSp add mod">
        <pc:chgData name="Tsuchida, Shinpei" userId="4375a60a-0653-49e2-ae45-00a92666541c" providerId="ADAL" clId="{D1725743-558E-4D9B-893B-DB62665A1A57}" dt="2024-03-24T09:27:08.890" v="5257" actId="20577"/>
        <pc:sldMkLst>
          <pc:docMk/>
          <pc:sldMk cId="1132711422" sldId="2147378657"/>
        </pc:sldMkLst>
        <pc:spChg chg="mod">
          <ac:chgData name="Tsuchida, Shinpei" userId="4375a60a-0653-49e2-ae45-00a92666541c" providerId="ADAL" clId="{D1725743-558E-4D9B-893B-DB62665A1A57}" dt="2024-03-24T09:12:43.053" v="5096" actId="20577"/>
          <ac:spMkLst>
            <pc:docMk/>
            <pc:sldMk cId="1132711422" sldId="2147378657"/>
            <ac:spMk id="2" creationId="{A89627E6-1381-E3A4-FE8B-A4EB0C783D38}"/>
          </ac:spMkLst>
        </pc:spChg>
        <pc:spChg chg="mod">
          <ac:chgData name="Tsuchida, Shinpei" userId="4375a60a-0653-49e2-ae45-00a92666541c" providerId="ADAL" clId="{D1725743-558E-4D9B-893B-DB62665A1A57}" dt="2024-03-24T09:19:04.096" v="5204" actId="948"/>
          <ac:spMkLst>
            <pc:docMk/>
            <pc:sldMk cId="1132711422" sldId="2147378657"/>
            <ac:spMk id="4" creationId="{DD1CA6AB-0B11-22AF-99A0-D4CD074A0CDA}"/>
          </ac:spMkLst>
        </pc:spChg>
        <pc:spChg chg="add mod">
          <ac:chgData name="Tsuchida, Shinpei" userId="4375a60a-0653-49e2-ae45-00a92666541c" providerId="ADAL" clId="{D1725743-558E-4D9B-893B-DB62665A1A57}" dt="2024-03-24T09:17:54.555" v="5181" actId="1076"/>
          <ac:spMkLst>
            <pc:docMk/>
            <pc:sldMk cId="1132711422" sldId="2147378657"/>
            <ac:spMk id="7" creationId="{A3DE1F2F-7DEA-175E-70F3-5E51A2EA182C}"/>
          </ac:spMkLst>
        </pc:spChg>
        <pc:spChg chg="add mod">
          <ac:chgData name="Tsuchida, Shinpei" userId="4375a60a-0653-49e2-ae45-00a92666541c" providerId="ADAL" clId="{D1725743-558E-4D9B-893B-DB62665A1A57}" dt="2024-03-24T09:27:08.890" v="5257" actId="20577"/>
          <ac:spMkLst>
            <pc:docMk/>
            <pc:sldMk cId="1132711422" sldId="2147378657"/>
            <ac:spMk id="8" creationId="{E7704DA5-DF2F-7F4D-34A1-F765535560C4}"/>
          </ac:spMkLst>
        </pc:spChg>
        <pc:spChg chg="add mod">
          <ac:chgData name="Tsuchida, Shinpei" userId="4375a60a-0653-49e2-ae45-00a92666541c" providerId="ADAL" clId="{D1725743-558E-4D9B-893B-DB62665A1A57}" dt="2024-03-24T09:17:28.908" v="5174" actId="208"/>
          <ac:spMkLst>
            <pc:docMk/>
            <pc:sldMk cId="1132711422" sldId="2147378657"/>
            <ac:spMk id="9" creationId="{53D2D85B-0EE7-5015-B34D-3FBFB6DD64C3}"/>
          </ac:spMkLst>
        </pc:spChg>
        <pc:spChg chg="add mod">
          <ac:chgData name="Tsuchida, Shinpei" userId="4375a60a-0653-49e2-ae45-00a92666541c" providerId="ADAL" clId="{D1725743-558E-4D9B-893B-DB62665A1A57}" dt="2024-03-24T09:18:24.699" v="5198" actId="1076"/>
          <ac:spMkLst>
            <pc:docMk/>
            <pc:sldMk cId="1132711422" sldId="2147378657"/>
            <ac:spMk id="10" creationId="{D5D8E8B6-FE6E-86B7-D441-2EA1FA53EF98}"/>
          </ac:spMkLst>
        </pc:spChg>
        <pc:grpChg chg="del">
          <ac:chgData name="Tsuchida, Shinpei" userId="4375a60a-0653-49e2-ae45-00a92666541c" providerId="ADAL" clId="{D1725743-558E-4D9B-893B-DB62665A1A57}" dt="2024-03-24T07:51:31.020" v="3725" actId="478"/>
          <ac:grpSpMkLst>
            <pc:docMk/>
            <pc:sldMk cId="1132711422" sldId="2147378657"/>
            <ac:grpSpMk id="15" creationId="{C7B0CAE0-5827-4A53-B2D3-56DF70E7239C}"/>
          </ac:grpSpMkLst>
        </pc:grpChg>
        <pc:graphicFrameChg chg="mod">
          <ac:chgData name="Tsuchida, Shinpei" userId="4375a60a-0653-49e2-ae45-00a92666541c" providerId="ADAL" clId="{D1725743-558E-4D9B-893B-DB62665A1A57}" dt="2024-03-24T09:19:04.111" v="5208"/>
          <ac:graphicFrameMkLst>
            <pc:docMk/>
            <pc:sldMk cId="1132711422" sldId="2147378657"/>
            <ac:graphicFrameMk id="6" creationId="{1E8C9B9F-8072-E0E4-77B7-420C6D2F965B}"/>
          </ac:graphicFrameMkLst>
        </pc:graphicFrameChg>
        <pc:graphicFrameChg chg="mod modGraphic">
          <ac:chgData name="Tsuchida, Shinpei" userId="4375a60a-0653-49e2-ae45-00a92666541c" providerId="ADAL" clId="{D1725743-558E-4D9B-893B-DB62665A1A57}" dt="2024-03-24T09:06:42.846" v="4771" actId="14734"/>
          <ac:graphicFrameMkLst>
            <pc:docMk/>
            <pc:sldMk cId="1132711422" sldId="2147378657"/>
            <ac:graphicFrameMk id="13" creationId="{6B84DF48-8B2E-7483-E19E-A4C36C91AA03}"/>
          </ac:graphicFrameMkLst>
        </pc:graphicFrameChg>
      </pc:sldChg>
      <pc:sldChg chg="addSp delSp modSp new del mod">
        <pc:chgData name="Tsuchida, Shinpei" userId="4375a60a-0653-49e2-ae45-00a92666541c" providerId="ADAL" clId="{D1725743-558E-4D9B-893B-DB62665A1A57}" dt="2024-03-24T08:21:24.544" v="4176" actId="47"/>
        <pc:sldMkLst>
          <pc:docMk/>
          <pc:sldMk cId="1895751458" sldId="2147378658"/>
        </pc:sldMkLst>
        <pc:spChg chg="add mod">
          <ac:chgData name="Tsuchida, Shinpei" userId="4375a60a-0653-49e2-ae45-00a92666541c" providerId="ADAL" clId="{D1725743-558E-4D9B-893B-DB62665A1A57}" dt="2024-03-24T08:11:57.544" v="4076" actId="20577"/>
          <ac:spMkLst>
            <pc:docMk/>
            <pc:sldMk cId="1895751458" sldId="2147378658"/>
            <ac:spMk id="5" creationId="{3908F8AB-69E4-CF8B-2080-537BC6118D68}"/>
          </ac:spMkLst>
        </pc:spChg>
        <pc:spChg chg="add mod">
          <ac:chgData name="Tsuchida, Shinpei" userId="4375a60a-0653-49e2-ae45-00a92666541c" providerId="ADAL" clId="{D1725743-558E-4D9B-893B-DB62665A1A57}" dt="2024-03-24T08:12:21.378" v="4118" actId="14100"/>
          <ac:spMkLst>
            <pc:docMk/>
            <pc:sldMk cId="1895751458" sldId="2147378658"/>
            <ac:spMk id="8" creationId="{55AD452A-21CA-11EB-5C37-01C17E4F32B7}"/>
          </ac:spMkLst>
        </pc:spChg>
        <pc:spChg chg="add mod">
          <ac:chgData name="Tsuchida, Shinpei" userId="4375a60a-0653-49e2-ae45-00a92666541c" providerId="ADAL" clId="{D1725743-558E-4D9B-893B-DB62665A1A57}" dt="2024-03-24T08:11:47.151" v="4068" actId="165"/>
          <ac:spMkLst>
            <pc:docMk/>
            <pc:sldMk cId="1895751458" sldId="2147378658"/>
            <ac:spMk id="11" creationId="{BD265D69-DEA9-8E9E-38B4-0D2D891C0DD1}"/>
          </ac:spMkLst>
        </pc:spChg>
        <pc:spChg chg="add mod">
          <ac:chgData name="Tsuchida, Shinpei" userId="4375a60a-0653-49e2-ae45-00a92666541c" providerId="ADAL" clId="{D1725743-558E-4D9B-893B-DB62665A1A57}" dt="2024-03-24T08:13:10.265" v="4150" actId="20577"/>
          <ac:spMkLst>
            <pc:docMk/>
            <pc:sldMk cId="1895751458" sldId="2147378658"/>
            <ac:spMk id="14" creationId="{F748B8B1-BD49-2CE4-BE7A-0657C5B4C05D}"/>
          </ac:spMkLst>
        </pc:spChg>
        <pc:spChg chg="add mod">
          <ac:chgData name="Tsuchida, Shinpei" userId="4375a60a-0653-49e2-ae45-00a92666541c" providerId="ADAL" clId="{D1725743-558E-4D9B-893B-DB62665A1A57}" dt="2024-03-24T08:12:40.510" v="4134" actId="20577"/>
          <ac:spMkLst>
            <pc:docMk/>
            <pc:sldMk cId="1895751458" sldId="2147378658"/>
            <ac:spMk id="17" creationId="{F93B0465-A2EF-B28D-E54E-FEF4EA858359}"/>
          </ac:spMkLst>
        </pc:spChg>
        <pc:spChg chg="add">
          <ac:chgData name="Tsuchida, Shinpei" userId="4375a60a-0653-49e2-ae45-00a92666541c" providerId="ADAL" clId="{D1725743-558E-4D9B-893B-DB62665A1A57}" dt="2024-03-24T08:13:20.683" v="4151" actId="11529"/>
          <ac:spMkLst>
            <pc:docMk/>
            <pc:sldMk cId="1895751458" sldId="2147378658"/>
            <ac:spMk id="21" creationId="{65EA1F59-E7A2-9BD1-1D43-15349A94E742}"/>
          </ac:spMkLst>
        </pc:spChg>
        <pc:grpChg chg="add mod topLvl">
          <ac:chgData name="Tsuchida, Shinpei" userId="4375a60a-0653-49e2-ae45-00a92666541c" providerId="ADAL" clId="{D1725743-558E-4D9B-893B-DB62665A1A57}" dt="2024-03-24T08:11:54.991" v="4069" actId="14100"/>
          <ac:grpSpMkLst>
            <pc:docMk/>
            <pc:sldMk cId="1895751458" sldId="2147378658"/>
            <ac:grpSpMk id="7" creationId="{ECDC8BBE-9928-073A-C4FA-9C7DFEC8445D}"/>
          </ac:grpSpMkLst>
        </pc:grpChg>
        <pc:grpChg chg="add mod topLvl">
          <ac:chgData name="Tsuchida, Shinpei" userId="4375a60a-0653-49e2-ae45-00a92666541c" providerId="ADAL" clId="{D1725743-558E-4D9B-893B-DB62665A1A57}" dt="2024-03-24T08:12:21.378" v="4118" actId="14100"/>
          <ac:grpSpMkLst>
            <pc:docMk/>
            <pc:sldMk cId="1895751458" sldId="2147378658"/>
            <ac:grpSpMk id="10" creationId="{95BB6E37-3742-0D84-25C4-2BCC7BCB0D30}"/>
          </ac:grpSpMkLst>
        </pc:grpChg>
        <pc:grpChg chg="add del mod topLvl">
          <ac:chgData name="Tsuchida, Shinpei" userId="4375a60a-0653-49e2-ae45-00a92666541c" providerId="ADAL" clId="{D1725743-558E-4D9B-893B-DB62665A1A57}" dt="2024-03-24T08:12:17.656" v="4117" actId="478"/>
          <ac:grpSpMkLst>
            <pc:docMk/>
            <pc:sldMk cId="1895751458" sldId="2147378658"/>
            <ac:grpSpMk id="13" creationId="{B6C50320-23C0-6E59-6BF7-CBB5DA42263E}"/>
          </ac:grpSpMkLst>
        </pc:grpChg>
        <pc:grpChg chg="add mod topLvl">
          <ac:chgData name="Tsuchida, Shinpei" userId="4375a60a-0653-49e2-ae45-00a92666541c" providerId="ADAL" clId="{D1725743-558E-4D9B-893B-DB62665A1A57}" dt="2024-03-24T08:12:27.762" v="4120"/>
          <ac:grpSpMkLst>
            <pc:docMk/>
            <pc:sldMk cId="1895751458" sldId="2147378658"/>
            <ac:grpSpMk id="16" creationId="{CA488960-0D5C-308F-E8C2-DE57C53A6C64}"/>
          </ac:grpSpMkLst>
        </pc:grpChg>
        <pc:grpChg chg="add mod topLvl">
          <ac:chgData name="Tsuchida, Shinpei" userId="4375a60a-0653-49e2-ae45-00a92666541c" providerId="ADAL" clId="{D1725743-558E-4D9B-893B-DB62665A1A57}" dt="2024-03-24T08:12:37.088" v="4121" actId="14100"/>
          <ac:grpSpMkLst>
            <pc:docMk/>
            <pc:sldMk cId="1895751458" sldId="2147378658"/>
            <ac:grpSpMk id="19" creationId="{2882A3D1-780E-725C-964C-EE131E096E90}"/>
          </ac:grpSpMkLst>
        </pc:grpChg>
        <pc:grpChg chg="add del mod">
          <ac:chgData name="Tsuchida, Shinpei" userId="4375a60a-0653-49e2-ae45-00a92666541c" providerId="ADAL" clId="{D1725743-558E-4D9B-893B-DB62665A1A57}" dt="2024-03-24T08:11:47.151" v="4068" actId="165"/>
          <ac:grpSpMkLst>
            <pc:docMk/>
            <pc:sldMk cId="1895751458" sldId="2147378658"/>
            <ac:grpSpMk id="20" creationId="{895CBD9F-A406-01D4-9968-8D0A64EB7FCE}"/>
          </ac:grpSpMkLst>
        </pc:grpChg>
        <pc:cxnChg chg="add mod">
          <ac:chgData name="Tsuchida, Shinpei" userId="4375a60a-0653-49e2-ae45-00a92666541c" providerId="ADAL" clId="{D1725743-558E-4D9B-893B-DB62665A1A57}" dt="2024-03-24T08:11:54.991" v="4069" actId="14100"/>
          <ac:cxnSpMkLst>
            <pc:docMk/>
            <pc:sldMk cId="1895751458" sldId="2147378658"/>
            <ac:cxnSpMk id="6" creationId="{2CCAD249-0F7E-3E0B-AB21-5CABA989E5DC}"/>
          </ac:cxnSpMkLst>
        </pc:cxnChg>
        <pc:cxnChg chg="add mod">
          <ac:chgData name="Tsuchida, Shinpei" userId="4375a60a-0653-49e2-ae45-00a92666541c" providerId="ADAL" clId="{D1725743-558E-4D9B-893B-DB62665A1A57}" dt="2024-03-24T08:12:21.378" v="4118" actId="14100"/>
          <ac:cxnSpMkLst>
            <pc:docMk/>
            <pc:sldMk cId="1895751458" sldId="2147378658"/>
            <ac:cxnSpMk id="9" creationId="{7DBE6269-61FE-80D4-C82B-704DBB1325B8}"/>
          </ac:cxnSpMkLst>
        </pc:cxnChg>
        <pc:cxnChg chg="add mod">
          <ac:chgData name="Tsuchida, Shinpei" userId="4375a60a-0653-49e2-ae45-00a92666541c" providerId="ADAL" clId="{D1725743-558E-4D9B-893B-DB62665A1A57}" dt="2024-03-24T08:11:47.151" v="4068" actId="165"/>
          <ac:cxnSpMkLst>
            <pc:docMk/>
            <pc:sldMk cId="1895751458" sldId="2147378658"/>
            <ac:cxnSpMk id="12" creationId="{02984DAA-7C03-6D6F-29BC-3C9B8461431E}"/>
          </ac:cxnSpMkLst>
        </pc:cxnChg>
        <pc:cxnChg chg="add mod">
          <ac:chgData name="Tsuchida, Shinpei" userId="4375a60a-0653-49e2-ae45-00a92666541c" providerId="ADAL" clId="{D1725743-558E-4D9B-893B-DB62665A1A57}" dt="2024-03-24T08:12:27.762" v="4120"/>
          <ac:cxnSpMkLst>
            <pc:docMk/>
            <pc:sldMk cId="1895751458" sldId="2147378658"/>
            <ac:cxnSpMk id="15" creationId="{0907D243-2B50-E04D-8BF9-7026BCAFD2F3}"/>
          </ac:cxnSpMkLst>
        </pc:cxnChg>
        <pc:cxnChg chg="add mod">
          <ac:chgData name="Tsuchida, Shinpei" userId="4375a60a-0653-49e2-ae45-00a92666541c" providerId="ADAL" clId="{D1725743-558E-4D9B-893B-DB62665A1A57}" dt="2024-03-24T08:12:37.088" v="4121" actId="14100"/>
          <ac:cxnSpMkLst>
            <pc:docMk/>
            <pc:sldMk cId="1895751458" sldId="2147378658"/>
            <ac:cxnSpMk id="18" creationId="{5A789B80-1A13-E949-62CA-C2FD151574AE}"/>
          </ac:cxnSpMkLst>
        </pc:cxnChg>
      </pc:sldChg>
      <pc:sldMasterChg chg="delSldLayout">
        <pc:chgData name="Tsuchida, Shinpei" userId="4375a60a-0653-49e2-ae45-00a92666541c" providerId="ADAL" clId="{D1725743-558E-4D9B-893B-DB62665A1A57}" dt="2024-03-26T09:15:14.297" v="6230" actId="2696"/>
        <pc:sldMasterMkLst>
          <pc:docMk/>
          <pc:sldMasterMk cId="2162003807" sldId="2147483755"/>
        </pc:sldMasterMkLst>
        <pc:sldLayoutChg chg="del">
          <pc:chgData name="Tsuchida, Shinpei" userId="4375a60a-0653-49e2-ae45-00a92666541c" providerId="ADAL" clId="{D1725743-558E-4D9B-893B-DB62665A1A57}" dt="2024-03-26T09:15:14.297" v="6230" actId="2696"/>
          <pc:sldLayoutMkLst>
            <pc:docMk/>
            <pc:sldMasterMk cId="2162003807" sldId="2147483755"/>
            <pc:sldLayoutMk cId="4133569810" sldId="2147483808"/>
          </pc:sldLayoutMkLst>
        </pc:sldLayoutChg>
      </pc:sldMasterChg>
    </pc:docChg>
  </pc:docChgLst>
  <pc:docChgLst>
    <pc:chgData name="丁野 光理" userId="53361c9a-10d0-4268-b39c-a1f4044b33f4" providerId="ADAL" clId="{5FE0A016-0A93-4063-8F08-CD48630E8DBB}"/>
    <pc:docChg chg="undo redo custSel addSld delSld modSld sldOrd modMainMaster addSection modSection modNotesMaster">
      <pc:chgData name="丁野 光理" userId="53361c9a-10d0-4268-b39c-a1f4044b33f4" providerId="ADAL" clId="{5FE0A016-0A93-4063-8F08-CD48630E8DBB}" dt="2025-02-07T12:37:10.127" v="26258" actId="1076"/>
      <pc:docMkLst>
        <pc:docMk/>
      </pc:docMkLst>
      <pc:sldChg chg="addSp delSp modSp mod">
        <pc:chgData name="丁野 光理" userId="53361c9a-10d0-4268-b39c-a1f4044b33f4" providerId="ADAL" clId="{5FE0A016-0A93-4063-8F08-CD48630E8DBB}" dt="2025-01-31T12:51:40.294" v="650" actId="20577"/>
        <pc:sldMkLst>
          <pc:docMk/>
          <pc:sldMk cId="2355786622" sldId="2146847413"/>
        </pc:sldMkLst>
        <pc:spChg chg="mod">
          <ac:chgData name="丁野 光理" userId="53361c9a-10d0-4268-b39c-a1f4044b33f4" providerId="ADAL" clId="{5FE0A016-0A93-4063-8F08-CD48630E8DBB}" dt="2025-01-29T13:08:43.486" v="196" actId="20577"/>
          <ac:spMkLst>
            <pc:docMk/>
            <pc:sldMk cId="2355786622" sldId="2146847413"/>
            <ac:spMk id="2" creationId="{1F2F2840-6B61-4DF2-B42A-EAA99F678FEE}"/>
          </ac:spMkLst>
        </pc:spChg>
        <pc:spChg chg="mod">
          <ac:chgData name="丁野 光理" userId="53361c9a-10d0-4268-b39c-a1f4044b33f4" providerId="ADAL" clId="{5FE0A016-0A93-4063-8F08-CD48630E8DBB}" dt="2025-01-31T12:51:40.294" v="650" actId="20577"/>
          <ac:spMkLst>
            <pc:docMk/>
            <pc:sldMk cId="2355786622" sldId="2146847413"/>
            <ac:spMk id="3" creationId="{C57F1E1F-3521-45C1-9CD2-360C7A8ED649}"/>
          </ac:spMkLst>
        </pc:spChg>
        <pc:spChg chg="mod">
          <ac:chgData name="丁野 光理" userId="53361c9a-10d0-4268-b39c-a1f4044b33f4" providerId="ADAL" clId="{5FE0A016-0A93-4063-8F08-CD48630E8DBB}" dt="2025-01-29T13:08:36.549" v="184"/>
          <ac:spMkLst>
            <pc:docMk/>
            <pc:sldMk cId="2355786622" sldId="2146847413"/>
            <ac:spMk id="5" creationId="{9481A0E3-366D-4687-A4B2-6C58A1A7C6CC}"/>
          </ac:spMkLst>
        </pc:spChg>
        <pc:spChg chg="add del">
          <ac:chgData name="丁野 光理" userId="53361c9a-10d0-4268-b39c-a1f4044b33f4" providerId="ADAL" clId="{5FE0A016-0A93-4063-8F08-CD48630E8DBB}" dt="2025-01-29T13:08:30.306" v="153" actId="478"/>
          <ac:spMkLst>
            <pc:docMk/>
            <pc:sldMk cId="2355786622" sldId="2146847413"/>
            <ac:spMk id="8" creationId="{62B98AA6-9065-164D-2986-27FFD7882C1B}"/>
          </ac:spMkLst>
        </pc:spChg>
      </pc:sldChg>
      <pc:sldChg chg="addSp delSp modSp mod ord">
        <pc:chgData name="丁野 光理" userId="53361c9a-10d0-4268-b39c-a1f4044b33f4" providerId="ADAL" clId="{5FE0A016-0A93-4063-8F08-CD48630E8DBB}" dt="2025-02-07T01:04:53.808" v="16986" actId="20577"/>
        <pc:sldMkLst>
          <pc:docMk/>
          <pc:sldMk cId="2852443830" sldId="2147378632"/>
        </pc:sldMkLst>
        <pc:spChg chg="add del mod">
          <ac:chgData name="丁野 光理" userId="53361c9a-10d0-4268-b39c-a1f4044b33f4" providerId="ADAL" clId="{5FE0A016-0A93-4063-8F08-CD48630E8DBB}" dt="2025-02-06T15:08:54.697" v="7772"/>
          <ac:spMkLst>
            <pc:docMk/>
            <pc:sldMk cId="2852443830" sldId="2147378632"/>
            <ac:spMk id="2" creationId="{BDE63369-EA7E-4802-A4A3-D4010A333C66}"/>
          </ac:spMkLst>
        </pc:spChg>
        <pc:spChg chg="del">
          <ac:chgData name="丁野 光理" userId="53361c9a-10d0-4268-b39c-a1f4044b33f4" providerId="ADAL" clId="{5FE0A016-0A93-4063-8F08-CD48630E8DBB}" dt="2025-01-29T13:07:26.919" v="135" actId="478"/>
          <ac:spMkLst>
            <pc:docMk/>
            <pc:sldMk cId="2852443830" sldId="2147378632"/>
            <ac:spMk id="3" creationId="{17F7BD63-A43F-D667-8278-6E77C003EFBB}"/>
          </ac:spMkLst>
        </pc:spChg>
        <pc:spChg chg="add del mod">
          <ac:chgData name="丁野 光理" userId="53361c9a-10d0-4268-b39c-a1f4044b33f4" providerId="ADAL" clId="{5FE0A016-0A93-4063-8F08-CD48630E8DBB}" dt="2025-02-06T15:06:30.552" v="7691" actId="478"/>
          <ac:spMkLst>
            <pc:docMk/>
            <pc:sldMk cId="2852443830" sldId="2147378632"/>
            <ac:spMk id="4" creationId="{462CFACA-5357-0B34-ED45-F8718570E4C2}"/>
          </ac:spMkLst>
        </pc:spChg>
        <pc:spChg chg="add mod">
          <ac:chgData name="丁野 光理" userId="53361c9a-10d0-4268-b39c-a1f4044b33f4" providerId="ADAL" clId="{5FE0A016-0A93-4063-8F08-CD48630E8DBB}" dt="2025-02-06T15:06:09.554" v="7662"/>
          <ac:spMkLst>
            <pc:docMk/>
            <pc:sldMk cId="2852443830" sldId="2147378632"/>
            <ac:spMk id="6" creationId="{E7317F97-0794-9B48-E19C-99C6EC000C99}"/>
          </ac:spMkLst>
        </pc:spChg>
        <pc:spChg chg="mod">
          <ac:chgData name="丁野 光理" userId="53361c9a-10d0-4268-b39c-a1f4044b33f4" providerId="ADAL" clId="{5FE0A016-0A93-4063-8F08-CD48630E8DBB}" dt="2025-02-06T15:08:56.792" v="7777"/>
          <ac:spMkLst>
            <pc:docMk/>
            <pc:sldMk cId="2852443830" sldId="2147378632"/>
            <ac:spMk id="9" creationId="{D22A0A06-D5A8-4A1A-B66F-2A8EDBD644F1}"/>
          </ac:spMkLst>
        </pc:spChg>
        <pc:spChg chg="add del mod">
          <ac:chgData name="丁野 光理" userId="53361c9a-10d0-4268-b39c-a1f4044b33f4" providerId="ADAL" clId="{5FE0A016-0A93-4063-8F08-CD48630E8DBB}" dt="2025-02-06T17:25:58.460" v="15786" actId="478"/>
          <ac:spMkLst>
            <pc:docMk/>
            <pc:sldMk cId="2852443830" sldId="2147378632"/>
            <ac:spMk id="10" creationId="{324A39D6-6DFB-9AC8-82A4-4B9F34D17D31}"/>
          </ac:spMkLst>
        </pc:spChg>
        <pc:spChg chg="add mod">
          <ac:chgData name="丁野 光理" userId="53361c9a-10d0-4268-b39c-a1f4044b33f4" providerId="ADAL" clId="{5FE0A016-0A93-4063-8F08-CD48630E8DBB}" dt="2025-02-06T17:28:48.768" v="16134" actId="1076"/>
          <ac:spMkLst>
            <pc:docMk/>
            <pc:sldMk cId="2852443830" sldId="2147378632"/>
            <ac:spMk id="11" creationId="{F3C7DC9A-525C-F63B-8EA0-A1FD3AEF7283}"/>
          </ac:spMkLst>
        </pc:spChg>
        <pc:graphicFrameChg chg="mod modGraphic">
          <ac:chgData name="丁野 光理" userId="53361c9a-10d0-4268-b39c-a1f4044b33f4" providerId="ADAL" clId="{5FE0A016-0A93-4063-8F08-CD48630E8DBB}" dt="2025-02-07T01:04:53.808" v="16986" actId="20577"/>
          <ac:graphicFrameMkLst>
            <pc:docMk/>
            <pc:sldMk cId="2852443830" sldId="2147378632"/>
            <ac:graphicFrameMk id="8" creationId="{628A4627-CAA7-6C39-A2F3-3AFB41DE8AAE}"/>
          </ac:graphicFrameMkLst>
        </pc:graphicFrameChg>
      </pc:sldChg>
      <pc:sldChg chg="delSp modSp del mod modCm">
        <pc:chgData name="丁野 光理" userId="53361c9a-10d0-4268-b39c-a1f4044b33f4" providerId="ADAL" clId="{5FE0A016-0A93-4063-8F08-CD48630E8DBB}" dt="2025-02-07T11:43:37.991" v="25005" actId="47"/>
        <pc:sldMkLst>
          <pc:docMk/>
          <pc:sldMk cId="1869527861" sldId="2147378640"/>
        </pc:sldMkLst>
        <pc:spChg chg="mod">
          <ac:chgData name="丁野 光理" userId="53361c9a-10d0-4268-b39c-a1f4044b33f4" providerId="ADAL" clId="{5FE0A016-0A93-4063-8F08-CD48630E8DBB}" dt="2025-02-07T11:31:29.395" v="24681" actId="14100"/>
          <ac:spMkLst>
            <pc:docMk/>
            <pc:sldMk cId="1869527861" sldId="2147378640"/>
            <ac:spMk id="9" creationId="{67FD600D-F712-D335-9DCD-5DDA57077E60}"/>
          </ac:spMkLst>
        </pc:spChg>
        <pc:spChg chg="mod">
          <ac:chgData name="丁野 光理" userId="53361c9a-10d0-4268-b39c-a1f4044b33f4" providerId="ADAL" clId="{5FE0A016-0A93-4063-8F08-CD48630E8DBB}" dt="2025-02-07T11:38:26.541" v="24922" actId="20577"/>
          <ac:spMkLst>
            <pc:docMk/>
            <pc:sldMk cId="1869527861" sldId="2147378640"/>
            <ac:spMk id="10" creationId="{80E6EF29-A9F8-46B2-8DDE-5092A65E485F}"/>
          </ac:spMkLst>
        </pc:spChg>
        <pc:spChg chg="del">
          <ac:chgData name="丁野 光理" userId="53361c9a-10d0-4268-b39c-a1f4044b33f4" providerId="ADAL" clId="{5FE0A016-0A93-4063-8F08-CD48630E8DBB}" dt="2025-02-06T12:38:41.312" v="1292" actId="478"/>
          <ac:spMkLst>
            <pc:docMk/>
            <pc:sldMk cId="1869527861" sldId="2147378640"/>
            <ac:spMk id="12" creationId="{9CCD81C1-1043-F8AF-5811-0282266A431F}"/>
          </ac:spMkLst>
        </pc:spChg>
        <pc:extLst>
          <p:ext xmlns:p="http://schemas.openxmlformats.org/presentationml/2006/main" uri="{D6D511B9-2390-475A-947B-AFAB55BFBCF1}">
            <pc226:cmChg xmlns:pc226="http://schemas.microsoft.com/office/powerpoint/2022/06/main/command" chg="mod">
              <pc226:chgData name="丁野 光理" userId="53361c9a-10d0-4268-b39c-a1f4044b33f4" providerId="ADAL" clId="{5FE0A016-0A93-4063-8F08-CD48630E8DBB}" dt="2025-02-05T11:25:13.276" v="796" actId="20577"/>
              <pc2:cmMkLst xmlns:pc2="http://schemas.microsoft.com/office/powerpoint/2019/9/main/command">
                <pc:docMk/>
                <pc:sldMk cId="1869527861" sldId="2147378640"/>
                <pc2:cmMk id="{CB76E606-BD79-470F-8264-5EC4A7D34A70}"/>
              </pc2:cmMkLst>
            </pc226:cmChg>
            <pc226:cmChg xmlns:pc226="http://schemas.microsoft.com/office/powerpoint/2022/06/main/command" chg="mod">
              <pc226:chgData name="丁野 光理" userId="53361c9a-10d0-4268-b39c-a1f4044b33f4" providerId="ADAL" clId="{5FE0A016-0A93-4063-8F08-CD48630E8DBB}" dt="2025-02-05T11:25:13.276" v="796" actId="20577"/>
              <pc2:cmMkLst xmlns:pc2="http://schemas.microsoft.com/office/powerpoint/2019/9/main/command">
                <pc:docMk/>
                <pc:sldMk cId="1869527861" sldId="2147378640"/>
                <pc2:cmMk id="{FEDF5F49-B924-4C4F-AC7B-7CE1C185AACC}"/>
              </pc2:cmMkLst>
            </pc226:cmChg>
            <pc226:cmChg xmlns:pc226="http://schemas.microsoft.com/office/powerpoint/2022/06/main/command" chg="mod">
              <pc226:chgData name="丁野 光理" userId="53361c9a-10d0-4268-b39c-a1f4044b33f4" providerId="ADAL" clId="{5FE0A016-0A93-4063-8F08-CD48630E8DBB}" dt="2025-02-05T11:25:13.276" v="796" actId="20577"/>
              <pc2:cmMkLst xmlns:pc2="http://schemas.microsoft.com/office/powerpoint/2019/9/main/command">
                <pc:docMk/>
                <pc:sldMk cId="1869527861" sldId="2147378640"/>
                <pc2:cmMk id="{FDC01290-64EA-4550-803A-97F0B2CBA9DE}"/>
              </pc2:cmMkLst>
            </pc226:cmChg>
          </p:ext>
        </pc:extLst>
      </pc:sldChg>
      <pc:sldChg chg="del">
        <pc:chgData name="丁野 光理" userId="53361c9a-10d0-4268-b39c-a1f4044b33f4" providerId="ADAL" clId="{5FE0A016-0A93-4063-8F08-CD48630E8DBB}" dt="2025-02-05T11:26:29.036" v="805" actId="47"/>
        <pc:sldMkLst>
          <pc:docMk/>
          <pc:sldMk cId="2854292604" sldId="2147378652"/>
        </pc:sldMkLst>
      </pc:sldChg>
      <pc:sldChg chg="del">
        <pc:chgData name="丁野 光理" userId="53361c9a-10d0-4268-b39c-a1f4044b33f4" providerId="ADAL" clId="{5FE0A016-0A93-4063-8F08-CD48630E8DBB}" dt="2025-02-05T11:26:37.660" v="807" actId="47"/>
        <pc:sldMkLst>
          <pc:docMk/>
          <pc:sldMk cId="1245055399" sldId="2147378653"/>
        </pc:sldMkLst>
      </pc:sldChg>
      <pc:sldChg chg="del">
        <pc:chgData name="丁野 光理" userId="53361c9a-10d0-4268-b39c-a1f4044b33f4" providerId="ADAL" clId="{5FE0A016-0A93-4063-8F08-CD48630E8DBB}" dt="2025-02-05T11:27:12.262" v="816" actId="47"/>
        <pc:sldMkLst>
          <pc:docMk/>
          <pc:sldMk cId="1786860980" sldId="2147378654"/>
        </pc:sldMkLst>
      </pc:sldChg>
      <pc:sldChg chg="modSp mod">
        <pc:chgData name="丁野 光理" userId="53361c9a-10d0-4268-b39c-a1f4044b33f4" providerId="ADAL" clId="{5FE0A016-0A93-4063-8F08-CD48630E8DBB}" dt="2025-02-07T04:04:10.510" v="22873" actId="20577"/>
        <pc:sldMkLst>
          <pc:docMk/>
          <pc:sldMk cId="1132711422" sldId="2147378657"/>
        </pc:sldMkLst>
        <pc:graphicFrameChg chg="mod modGraphic">
          <ac:chgData name="丁野 光理" userId="53361c9a-10d0-4268-b39c-a1f4044b33f4" providerId="ADAL" clId="{5FE0A016-0A93-4063-8F08-CD48630E8DBB}" dt="2025-02-07T04:04:10.510" v="22873" actId="20577"/>
          <ac:graphicFrameMkLst>
            <pc:docMk/>
            <pc:sldMk cId="1132711422" sldId="2147378657"/>
            <ac:graphicFrameMk id="13" creationId="{6B84DF48-8B2E-7483-E19E-A4C36C91AA03}"/>
          </ac:graphicFrameMkLst>
        </pc:graphicFrameChg>
      </pc:sldChg>
      <pc:sldChg chg="addSp delSp modSp mod delCm">
        <pc:chgData name="丁野 光理" userId="53361c9a-10d0-4268-b39c-a1f4044b33f4" providerId="ADAL" clId="{5FE0A016-0A93-4063-8F08-CD48630E8DBB}" dt="2025-02-07T10:22:23.504" v="22917"/>
        <pc:sldMkLst>
          <pc:docMk/>
          <pc:sldMk cId="2948473411" sldId="2147378680"/>
        </pc:sldMkLst>
        <pc:spChg chg="add del mod">
          <ac:chgData name="丁野 光理" userId="53361c9a-10d0-4268-b39c-a1f4044b33f4" providerId="ADAL" clId="{5FE0A016-0A93-4063-8F08-CD48630E8DBB}" dt="2025-02-06T08:03:24.762" v="1144" actId="478"/>
          <ac:spMkLst>
            <pc:docMk/>
            <pc:sldMk cId="2948473411" sldId="2147378680"/>
            <ac:spMk id="7" creationId="{393E1F9A-31BB-8E37-35B3-295684E57F40}"/>
          </ac:spMkLst>
        </pc:spChg>
        <pc:spChg chg="add del">
          <ac:chgData name="丁野 光理" userId="53361c9a-10d0-4268-b39c-a1f4044b33f4" providerId="ADAL" clId="{5FE0A016-0A93-4063-8F08-CD48630E8DBB}" dt="2025-01-29T13:08:27.301" v="152" actId="478"/>
          <ac:spMkLst>
            <pc:docMk/>
            <pc:sldMk cId="2948473411" sldId="2147378680"/>
            <ac:spMk id="7" creationId="{BC211F3A-D242-7373-8291-F217BC706F6C}"/>
          </ac:spMkLst>
        </pc:spChg>
        <pc:spChg chg="mod">
          <ac:chgData name="丁野 光理" userId="53361c9a-10d0-4268-b39c-a1f4044b33f4" providerId="ADAL" clId="{5FE0A016-0A93-4063-8F08-CD48630E8DBB}" dt="2025-02-06T08:03:01.061" v="1113" actId="20577"/>
          <ac:spMkLst>
            <pc:docMk/>
            <pc:sldMk cId="2948473411" sldId="2147378680"/>
            <ac:spMk id="14" creationId="{C5AE03D3-7F7A-F51B-E6D0-B212D7BC9438}"/>
          </ac:spMkLst>
        </pc:spChg>
        <pc:spChg chg="add mod">
          <ac:chgData name="丁野 光理" userId="53361c9a-10d0-4268-b39c-a1f4044b33f4" providerId="ADAL" clId="{5FE0A016-0A93-4063-8F08-CD48630E8DBB}" dt="2025-02-06T08:03:05.522" v="1115" actId="1076"/>
          <ac:spMkLst>
            <pc:docMk/>
            <pc:sldMk cId="2948473411" sldId="2147378680"/>
            <ac:spMk id="15" creationId="{668576EA-FDEE-7E01-3BFC-7913B7EA7A76}"/>
          </ac:spMkLst>
        </pc:spChg>
        <pc:spChg chg="add del mod">
          <ac:chgData name="丁野 光理" userId="53361c9a-10d0-4268-b39c-a1f4044b33f4" providerId="ADAL" clId="{5FE0A016-0A93-4063-8F08-CD48630E8DBB}" dt="2025-01-29T13:08:20.692" v="150" actId="478"/>
          <ac:spMkLst>
            <pc:docMk/>
            <pc:sldMk cId="2948473411" sldId="2147378680"/>
            <ac:spMk id="15" creationId="{66FA0C50-D6E3-F885-BF2A-13158B2BEF9D}"/>
          </ac:spMkLst>
        </pc:spChg>
        <pc:spChg chg="add del mod">
          <ac:chgData name="丁野 光理" userId="53361c9a-10d0-4268-b39c-a1f4044b33f4" providerId="ADAL" clId="{5FE0A016-0A93-4063-8F08-CD48630E8DBB}" dt="2025-01-30T11:11:34.434" v="212" actId="478"/>
          <ac:spMkLst>
            <pc:docMk/>
            <pc:sldMk cId="2948473411" sldId="2147378680"/>
            <ac:spMk id="16" creationId="{54E39AEB-AFC8-8038-0F64-A8ED1F9F246A}"/>
          </ac:spMkLst>
        </pc:spChg>
        <pc:spChg chg="add mod">
          <ac:chgData name="丁野 光理" userId="53361c9a-10d0-4268-b39c-a1f4044b33f4" providerId="ADAL" clId="{5FE0A016-0A93-4063-8F08-CD48630E8DBB}" dt="2025-02-06T08:03:20.069" v="1142" actId="1035"/>
          <ac:spMkLst>
            <pc:docMk/>
            <pc:sldMk cId="2948473411" sldId="2147378680"/>
            <ac:spMk id="17" creationId="{9CB049EA-D28B-6871-C398-C1BDC5A9CD85}"/>
          </ac:spMkLst>
        </pc:spChg>
        <pc:spChg chg="add mod">
          <ac:chgData name="丁野 光理" userId="53361c9a-10d0-4268-b39c-a1f4044b33f4" providerId="ADAL" clId="{5FE0A016-0A93-4063-8F08-CD48630E8DBB}" dt="2025-02-06T08:03:20.069" v="1142" actId="1035"/>
          <ac:spMkLst>
            <pc:docMk/>
            <pc:sldMk cId="2948473411" sldId="2147378680"/>
            <ac:spMk id="18" creationId="{D91B2939-5A22-4165-783E-0B3E2F11331C}"/>
          </ac:spMkLst>
        </pc:spChg>
        <pc:spChg chg="add mod">
          <ac:chgData name="丁野 光理" userId="53361c9a-10d0-4268-b39c-a1f4044b33f4" providerId="ADAL" clId="{5FE0A016-0A93-4063-8F08-CD48630E8DBB}" dt="2025-02-06T08:03:20.069" v="1142" actId="1035"/>
          <ac:spMkLst>
            <pc:docMk/>
            <pc:sldMk cId="2948473411" sldId="2147378680"/>
            <ac:spMk id="19" creationId="{02558BF2-3EDA-7025-0ECE-C89ECFB64967}"/>
          </ac:spMkLst>
        </pc:spChg>
        <pc:spChg chg="add mod">
          <ac:chgData name="丁野 光理" userId="53361c9a-10d0-4268-b39c-a1f4044b33f4" providerId="ADAL" clId="{5FE0A016-0A93-4063-8F08-CD48630E8DBB}" dt="2025-02-06T08:03:20.069" v="1142" actId="1035"/>
          <ac:spMkLst>
            <pc:docMk/>
            <pc:sldMk cId="2948473411" sldId="2147378680"/>
            <ac:spMk id="21" creationId="{FBFBD771-18DC-7EA0-6AD9-BB8AC11C534C}"/>
          </ac:spMkLst>
        </pc:spChg>
        <pc:spChg chg="mod">
          <ac:chgData name="丁野 光理" userId="53361c9a-10d0-4268-b39c-a1f4044b33f4" providerId="ADAL" clId="{5FE0A016-0A93-4063-8F08-CD48630E8DBB}" dt="2025-02-06T08:03:14.646" v="1117"/>
          <ac:spMkLst>
            <pc:docMk/>
            <pc:sldMk cId="2948473411" sldId="2147378680"/>
            <ac:spMk id="26" creationId="{1D38DAB1-96DD-7D1F-B90C-0624BE546C7C}"/>
          </ac:spMkLst>
        </pc:spChg>
        <pc:spChg chg="mod">
          <ac:chgData name="丁野 光理" userId="53361c9a-10d0-4268-b39c-a1f4044b33f4" providerId="ADAL" clId="{5FE0A016-0A93-4063-8F08-CD48630E8DBB}" dt="2025-02-06T08:03:14.646" v="1117"/>
          <ac:spMkLst>
            <pc:docMk/>
            <pc:sldMk cId="2948473411" sldId="2147378680"/>
            <ac:spMk id="28" creationId="{9B1DB169-59DF-7705-4C89-16425D1EDB43}"/>
          </ac:spMkLst>
        </pc:spChg>
        <pc:spChg chg="mod">
          <ac:chgData name="丁野 光理" userId="53361c9a-10d0-4268-b39c-a1f4044b33f4" providerId="ADAL" clId="{5FE0A016-0A93-4063-8F08-CD48630E8DBB}" dt="2025-02-06T08:03:14.646" v="1117"/>
          <ac:spMkLst>
            <pc:docMk/>
            <pc:sldMk cId="2948473411" sldId="2147378680"/>
            <ac:spMk id="33" creationId="{25C46C6B-F9FE-9E50-E54C-41F861C18348}"/>
          </ac:spMkLst>
        </pc:spChg>
        <pc:spChg chg="mod">
          <ac:chgData name="丁野 光理" userId="53361c9a-10d0-4268-b39c-a1f4044b33f4" providerId="ADAL" clId="{5FE0A016-0A93-4063-8F08-CD48630E8DBB}" dt="2025-02-06T08:03:14.646" v="1117"/>
          <ac:spMkLst>
            <pc:docMk/>
            <pc:sldMk cId="2948473411" sldId="2147378680"/>
            <ac:spMk id="38" creationId="{24B41715-EF6C-7100-1503-B5FE68BDF0B6}"/>
          </ac:spMkLst>
        </pc:spChg>
        <pc:spChg chg="mod">
          <ac:chgData name="丁野 光理" userId="53361c9a-10d0-4268-b39c-a1f4044b33f4" providerId="ADAL" clId="{5FE0A016-0A93-4063-8F08-CD48630E8DBB}" dt="2025-02-06T08:03:14.646" v="1117"/>
          <ac:spMkLst>
            <pc:docMk/>
            <pc:sldMk cId="2948473411" sldId="2147378680"/>
            <ac:spMk id="39" creationId="{738B8C2A-F2EC-A193-911C-471E55B5CA5F}"/>
          </ac:spMkLst>
        </pc:spChg>
        <pc:spChg chg="mod">
          <ac:chgData name="丁野 光理" userId="53361c9a-10d0-4268-b39c-a1f4044b33f4" providerId="ADAL" clId="{5FE0A016-0A93-4063-8F08-CD48630E8DBB}" dt="2025-02-06T08:03:14.646" v="1117"/>
          <ac:spMkLst>
            <pc:docMk/>
            <pc:sldMk cId="2948473411" sldId="2147378680"/>
            <ac:spMk id="41" creationId="{56D91AD4-499F-6353-E7A6-3BD8200981F4}"/>
          </ac:spMkLst>
        </pc:spChg>
        <pc:spChg chg="add mod">
          <ac:chgData name="丁野 光理" userId="53361c9a-10d0-4268-b39c-a1f4044b33f4" providerId="ADAL" clId="{5FE0A016-0A93-4063-8F08-CD48630E8DBB}" dt="2025-02-06T08:03:27.496" v="1145"/>
          <ac:spMkLst>
            <pc:docMk/>
            <pc:sldMk cId="2948473411" sldId="2147378680"/>
            <ac:spMk id="46" creationId="{BEEF53A0-A1D2-0672-B913-9B9CFA29BBFC}"/>
          </ac:spMkLst>
        </pc:spChg>
        <pc:spChg chg="add mod">
          <ac:chgData name="丁野 光理" userId="53361c9a-10d0-4268-b39c-a1f4044b33f4" providerId="ADAL" clId="{5FE0A016-0A93-4063-8F08-CD48630E8DBB}" dt="2025-02-06T08:03:54.699" v="1146"/>
          <ac:spMkLst>
            <pc:docMk/>
            <pc:sldMk cId="2948473411" sldId="2147378680"/>
            <ac:spMk id="47" creationId="{E1B0BCC6-24C3-1AA3-6FBA-54BB8409049A}"/>
          </ac:spMkLst>
        </pc:spChg>
        <pc:spChg chg="add del mod">
          <ac:chgData name="丁野 光理" userId="53361c9a-10d0-4268-b39c-a1f4044b33f4" providerId="ADAL" clId="{5FE0A016-0A93-4063-8F08-CD48630E8DBB}" dt="2025-02-06T08:04:03.971" v="1149" actId="478"/>
          <ac:spMkLst>
            <pc:docMk/>
            <pc:sldMk cId="2948473411" sldId="2147378680"/>
            <ac:spMk id="48" creationId="{3FC3988B-523E-EE8E-72F9-11901B631736}"/>
          </ac:spMkLst>
        </pc:spChg>
        <pc:spChg chg="add mod">
          <ac:chgData name="丁野 光理" userId="53361c9a-10d0-4268-b39c-a1f4044b33f4" providerId="ADAL" clId="{5FE0A016-0A93-4063-8F08-CD48630E8DBB}" dt="2025-02-06T08:04:08.814" v="1150"/>
          <ac:spMkLst>
            <pc:docMk/>
            <pc:sldMk cId="2948473411" sldId="2147378680"/>
            <ac:spMk id="49" creationId="{47CF5BA8-C018-387E-8ACC-4C42E184EA89}"/>
          </ac:spMkLst>
        </pc:spChg>
        <pc:grpChg chg="add mod">
          <ac:chgData name="丁野 光理" userId="53361c9a-10d0-4268-b39c-a1f4044b33f4" providerId="ADAL" clId="{5FE0A016-0A93-4063-8F08-CD48630E8DBB}" dt="2025-02-06T08:03:20.069" v="1142" actId="1035"/>
          <ac:grpSpMkLst>
            <pc:docMk/>
            <pc:sldMk cId="2948473411" sldId="2147378680"/>
            <ac:grpSpMk id="24" creationId="{686DFB0C-C623-8B17-FEDE-424CD4686420}"/>
          </ac:grpSpMkLst>
        </pc:grpChg>
        <pc:grpChg chg="add mod">
          <ac:chgData name="丁野 光理" userId="53361c9a-10d0-4268-b39c-a1f4044b33f4" providerId="ADAL" clId="{5FE0A016-0A93-4063-8F08-CD48630E8DBB}" dt="2025-02-06T08:03:20.069" v="1142" actId="1035"/>
          <ac:grpSpMkLst>
            <pc:docMk/>
            <pc:sldMk cId="2948473411" sldId="2147378680"/>
            <ac:grpSpMk id="40" creationId="{0B947C4C-99B2-0B97-0BB3-F7F50213961B}"/>
          </ac:grpSpMkLst>
        </pc:grpChg>
        <pc:picChg chg="add mod">
          <ac:chgData name="丁野 光理" userId="53361c9a-10d0-4268-b39c-a1f4044b33f4" providerId="ADAL" clId="{5FE0A016-0A93-4063-8F08-CD48630E8DBB}" dt="2025-02-06T08:03:20.069" v="1142" actId="1035"/>
          <ac:picMkLst>
            <pc:docMk/>
            <pc:sldMk cId="2948473411" sldId="2147378680"/>
            <ac:picMk id="20" creationId="{F08B9873-A595-97A3-E2F1-005F23AA848A}"/>
          </ac:picMkLst>
        </pc:picChg>
        <pc:picChg chg="add mod">
          <ac:chgData name="丁野 光理" userId="53361c9a-10d0-4268-b39c-a1f4044b33f4" providerId="ADAL" clId="{5FE0A016-0A93-4063-8F08-CD48630E8DBB}" dt="2025-02-06T08:03:20.069" v="1142" actId="1035"/>
          <ac:picMkLst>
            <pc:docMk/>
            <pc:sldMk cId="2948473411" sldId="2147378680"/>
            <ac:picMk id="22" creationId="{FDF8B75C-A5FE-721C-F10A-C2FF03DB1DD7}"/>
          </ac:picMkLst>
        </pc:picChg>
        <pc:picChg chg="add mod">
          <ac:chgData name="丁野 光理" userId="53361c9a-10d0-4268-b39c-a1f4044b33f4" providerId="ADAL" clId="{5FE0A016-0A93-4063-8F08-CD48630E8DBB}" dt="2025-02-06T08:03:20.069" v="1142" actId="1035"/>
          <ac:picMkLst>
            <pc:docMk/>
            <pc:sldMk cId="2948473411" sldId="2147378680"/>
            <ac:picMk id="23" creationId="{19B86BB0-C810-ACDA-84A7-1423ACE08B6D}"/>
          </ac:picMkLst>
        </pc:picChg>
        <pc:picChg chg="mod">
          <ac:chgData name="丁野 光理" userId="53361c9a-10d0-4268-b39c-a1f4044b33f4" providerId="ADAL" clId="{5FE0A016-0A93-4063-8F08-CD48630E8DBB}" dt="2025-02-06T08:03:14.646" v="1117"/>
          <ac:picMkLst>
            <pc:docMk/>
            <pc:sldMk cId="2948473411" sldId="2147378680"/>
            <ac:picMk id="25" creationId="{D8086974-7749-B75F-2E25-1848E7CE38E3}"/>
          </ac:picMkLst>
        </pc:picChg>
        <pc:picChg chg="mod">
          <ac:chgData name="丁野 光理" userId="53361c9a-10d0-4268-b39c-a1f4044b33f4" providerId="ADAL" clId="{5FE0A016-0A93-4063-8F08-CD48630E8DBB}" dt="2025-02-06T08:03:14.646" v="1117"/>
          <ac:picMkLst>
            <pc:docMk/>
            <pc:sldMk cId="2948473411" sldId="2147378680"/>
            <ac:picMk id="27" creationId="{4516B0E5-388C-2FD1-63EE-8B810E73ED71}"/>
          </ac:picMkLst>
        </pc:picChg>
        <pc:picChg chg="mod">
          <ac:chgData name="丁野 光理" userId="53361c9a-10d0-4268-b39c-a1f4044b33f4" providerId="ADAL" clId="{5FE0A016-0A93-4063-8F08-CD48630E8DBB}" dt="2025-02-06T08:03:14.646" v="1117"/>
          <ac:picMkLst>
            <pc:docMk/>
            <pc:sldMk cId="2948473411" sldId="2147378680"/>
            <ac:picMk id="29" creationId="{D68CA6EF-1347-4371-2BFE-550A2DB9F963}"/>
          </ac:picMkLst>
        </pc:picChg>
        <pc:picChg chg="mod">
          <ac:chgData name="丁野 光理" userId="53361c9a-10d0-4268-b39c-a1f4044b33f4" providerId="ADAL" clId="{5FE0A016-0A93-4063-8F08-CD48630E8DBB}" dt="2025-02-06T08:03:14.646" v="1117"/>
          <ac:picMkLst>
            <pc:docMk/>
            <pc:sldMk cId="2948473411" sldId="2147378680"/>
            <ac:picMk id="30" creationId="{06579AA3-3295-8DA0-A1C0-E5329AFEE840}"/>
          </ac:picMkLst>
        </pc:picChg>
        <pc:picChg chg="mod">
          <ac:chgData name="丁野 光理" userId="53361c9a-10d0-4268-b39c-a1f4044b33f4" providerId="ADAL" clId="{5FE0A016-0A93-4063-8F08-CD48630E8DBB}" dt="2025-02-06T08:03:14.646" v="1117"/>
          <ac:picMkLst>
            <pc:docMk/>
            <pc:sldMk cId="2948473411" sldId="2147378680"/>
            <ac:picMk id="31" creationId="{A5B5361E-8DE7-3E8A-2152-B1E6FD80039C}"/>
          </ac:picMkLst>
        </pc:picChg>
        <pc:picChg chg="mod">
          <ac:chgData name="丁野 光理" userId="53361c9a-10d0-4268-b39c-a1f4044b33f4" providerId="ADAL" clId="{5FE0A016-0A93-4063-8F08-CD48630E8DBB}" dt="2025-02-06T08:03:14.646" v="1117"/>
          <ac:picMkLst>
            <pc:docMk/>
            <pc:sldMk cId="2948473411" sldId="2147378680"/>
            <ac:picMk id="32" creationId="{7ED8AE22-77A3-3C5B-BD73-65CB68E83860}"/>
          </ac:picMkLst>
        </pc:picChg>
        <pc:picChg chg="mod">
          <ac:chgData name="丁野 光理" userId="53361c9a-10d0-4268-b39c-a1f4044b33f4" providerId="ADAL" clId="{5FE0A016-0A93-4063-8F08-CD48630E8DBB}" dt="2025-02-06T08:03:14.646" v="1117"/>
          <ac:picMkLst>
            <pc:docMk/>
            <pc:sldMk cId="2948473411" sldId="2147378680"/>
            <ac:picMk id="34" creationId="{B6947A11-F9FA-1202-D780-EE6B51BFB0B5}"/>
          </ac:picMkLst>
        </pc:picChg>
        <pc:picChg chg="mod">
          <ac:chgData name="丁野 光理" userId="53361c9a-10d0-4268-b39c-a1f4044b33f4" providerId="ADAL" clId="{5FE0A016-0A93-4063-8F08-CD48630E8DBB}" dt="2025-02-06T08:03:14.646" v="1117"/>
          <ac:picMkLst>
            <pc:docMk/>
            <pc:sldMk cId="2948473411" sldId="2147378680"/>
            <ac:picMk id="35" creationId="{67D9B4DD-F543-A820-5BF9-14D81B1E14C2}"/>
          </ac:picMkLst>
        </pc:picChg>
        <pc:picChg chg="mod">
          <ac:chgData name="丁野 光理" userId="53361c9a-10d0-4268-b39c-a1f4044b33f4" providerId="ADAL" clId="{5FE0A016-0A93-4063-8F08-CD48630E8DBB}" dt="2025-02-06T08:03:14.646" v="1117"/>
          <ac:picMkLst>
            <pc:docMk/>
            <pc:sldMk cId="2948473411" sldId="2147378680"/>
            <ac:picMk id="36" creationId="{1223F50B-5FA4-75CA-51DB-2FB21EA45BEA}"/>
          </ac:picMkLst>
        </pc:picChg>
        <pc:picChg chg="mod">
          <ac:chgData name="丁野 光理" userId="53361c9a-10d0-4268-b39c-a1f4044b33f4" providerId="ADAL" clId="{5FE0A016-0A93-4063-8F08-CD48630E8DBB}" dt="2025-02-06T08:03:14.646" v="1117"/>
          <ac:picMkLst>
            <pc:docMk/>
            <pc:sldMk cId="2948473411" sldId="2147378680"/>
            <ac:picMk id="37" creationId="{622BE5ED-FF9F-E45B-EF8F-1F647BEB23A7}"/>
          </ac:picMkLst>
        </pc:picChg>
        <pc:picChg chg="mod">
          <ac:chgData name="丁野 光理" userId="53361c9a-10d0-4268-b39c-a1f4044b33f4" providerId="ADAL" clId="{5FE0A016-0A93-4063-8F08-CD48630E8DBB}" dt="2025-02-06T08:03:14.646" v="1117"/>
          <ac:picMkLst>
            <pc:docMk/>
            <pc:sldMk cId="2948473411" sldId="2147378680"/>
            <ac:picMk id="42" creationId="{1E6BB4EE-0223-A1E5-0B99-06C784E2C30F}"/>
          </ac:picMkLst>
        </pc:picChg>
        <pc:picChg chg="mod">
          <ac:chgData name="丁野 光理" userId="53361c9a-10d0-4268-b39c-a1f4044b33f4" providerId="ADAL" clId="{5FE0A016-0A93-4063-8F08-CD48630E8DBB}" dt="2025-02-06T08:03:14.646" v="1117"/>
          <ac:picMkLst>
            <pc:docMk/>
            <pc:sldMk cId="2948473411" sldId="2147378680"/>
            <ac:picMk id="43" creationId="{B0A04C2B-BAC4-C4F0-1B58-287294764C8E}"/>
          </ac:picMkLst>
        </pc:picChg>
        <pc:picChg chg="mod">
          <ac:chgData name="丁野 光理" userId="53361c9a-10d0-4268-b39c-a1f4044b33f4" providerId="ADAL" clId="{5FE0A016-0A93-4063-8F08-CD48630E8DBB}" dt="2025-02-06T08:03:14.646" v="1117"/>
          <ac:picMkLst>
            <pc:docMk/>
            <pc:sldMk cId="2948473411" sldId="2147378680"/>
            <ac:picMk id="44" creationId="{B41605BD-42F8-A5F8-3AF8-BD2BCD7599EB}"/>
          </ac:picMkLst>
        </pc:picChg>
        <pc:picChg chg="mod">
          <ac:chgData name="丁野 光理" userId="53361c9a-10d0-4268-b39c-a1f4044b33f4" providerId="ADAL" clId="{5FE0A016-0A93-4063-8F08-CD48630E8DBB}" dt="2025-02-06T08:03:14.646" v="1117"/>
          <ac:picMkLst>
            <pc:docMk/>
            <pc:sldMk cId="2948473411" sldId="2147378680"/>
            <ac:picMk id="45" creationId="{FBB6C2F5-C74F-45B0-174F-DBB2780927C0}"/>
          </ac:picMkLst>
        </pc:pic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23.504" v="22917"/>
              <pc2:cmMkLst xmlns:pc2="http://schemas.microsoft.com/office/powerpoint/2019/9/main/command">
                <pc:docMk/>
                <pc:sldMk cId="2948473411" sldId="2147378680"/>
                <pc2:cmMk id="{B50DDB64-542F-43B5-84BC-4C71F5DCB063}"/>
              </pc2:cmMkLst>
            </pc226:cmChg>
          </p:ext>
        </pc:extLst>
      </pc:sldChg>
      <pc:sldChg chg="addSp delSp modSp mod ord delCm">
        <pc:chgData name="丁野 光理" userId="53361c9a-10d0-4268-b39c-a1f4044b33f4" providerId="ADAL" clId="{5FE0A016-0A93-4063-8F08-CD48630E8DBB}" dt="2025-02-07T10:22:33.836" v="22920"/>
        <pc:sldMkLst>
          <pc:docMk/>
          <pc:sldMk cId="2708077593" sldId="2147378681"/>
        </pc:sldMkLst>
        <pc:spChg chg="mod">
          <ac:chgData name="丁野 光理" userId="53361c9a-10d0-4268-b39c-a1f4044b33f4" providerId="ADAL" clId="{5FE0A016-0A93-4063-8F08-CD48630E8DBB}" dt="2025-02-05T11:25:38.606" v="797"/>
          <ac:spMkLst>
            <pc:docMk/>
            <pc:sldMk cId="2708077593" sldId="2147378681"/>
            <ac:spMk id="2" creationId="{BDE63369-EA7E-4802-A4A3-D4010A333C66}"/>
          </ac:spMkLst>
        </pc:spChg>
        <pc:spChg chg="add mod">
          <ac:chgData name="丁野 光理" userId="53361c9a-10d0-4268-b39c-a1f4044b33f4" providerId="ADAL" clId="{5FE0A016-0A93-4063-8F08-CD48630E8DBB}" dt="2025-02-06T17:00:46.308" v="15369"/>
          <ac:spMkLst>
            <pc:docMk/>
            <pc:sldMk cId="2708077593" sldId="2147378681"/>
            <ac:spMk id="6" creationId="{95B7D5A6-3733-419F-5F47-1323A3D8D852}"/>
          </ac:spMkLst>
        </pc:spChg>
        <pc:spChg chg="del">
          <ac:chgData name="丁野 光理" userId="53361c9a-10d0-4268-b39c-a1f4044b33f4" providerId="ADAL" clId="{5FE0A016-0A93-4063-8F08-CD48630E8DBB}" dt="2025-01-31T01:51:47.869" v="344" actId="478"/>
          <ac:spMkLst>
            <pc:docMk/>
            <pc:sldMk cId="2708077593" sldId="2147378681"/>
            <ac:spMk id="6" creationId="{A9577F56-3CCF-E475-2E51-B70DEBE9BC60}"/>
          </ac:spMkLst>
        </pc:spChg>
        <pc:spChg chg="add del mod">
          <ac:chgData name="丁野 光理" userId="53361c9a-10d0-4268-b39c-a1f4044b33f4" providerId="ADAL" clId="{5FE0A016-0A93-4063-8F08-CD48630E8DBB}" dt="2025-02-05T11:44:04.155" v="826"/>
          <ac:spMkLst>
            <pc:docMk/>
            <pc:sldMk cId="2708077593" sldId="2147378681"/>
            <ac:spMk id="6" creationId="{B4BA33FC-61A8-E924-32AA-CC585DB26208}"/>
          </ac:spMkLst>
        </pc:spChg>
        <pc:spChg chg="mod">
          <ac:chgData name="丁野 光理" userId="53361c9a-10d0-4268-b39c-a1f4044b33f4" providerId="ADAL" clId="{5FE0A016-0A93-4063-8F08-CD48630E8DBB}" dt="2025-02-05T11:44:12.878" v="836" actId="1036"/>
          <ac:spMkLst>
            <pc:docMk/>
            <pc:sldMk cId="2708077593" sldId="2147378681"/>
            <ac:spMk id="8" creationId="{95ACE118-4131-DE79-F02F-66722864A02D}"/>
          </ac:spMkLst>
        </pc:spChg>
        <pc:spChg chg="mod">
          <ac:chgData name="丁野 光理" userId="53361c9a-10d0-4268-b39c-a1f4044b33f4" providerId="ADAL" clId="{5FE0A016-0A93-4063-8F08-CD48630E8DBB}" dt="2025-02-05T11:45:15.435" v="854" actId="1076"/>
          <ac:spMkLst>
            <pc:docMk/>
            <pc:sldMk cId="2708077593" sldId="2147378681"/>
            <ac:spMk id="11" creationId="{5B8ABDA1-3D2A-BE6F-2D47-4B44E4CE9142}"/>
          </ac:spMkLst>
        </pc:spChg>
        <pc:spChg chg="mod">
          <ac:chgData name="丁野 光理" userId="53361c9a-10d0-4268-b39c-a1f4044b33f4" providerId="ADAL" clId="{5FE0A016-0A93-4063-8F08-CD48630E8DBB}" dt="2025-02-05T11:44:12.878" v="836" actId="1036"/>
          <ac:spMkLst>
            <pc:docMk/>
            <pc:sldMk cId="2708077593" sldId="2147378681"/>
            <ac:spMk id="12" creationId="{0885EF34-1A86-AA39-1A1A-5F99ABF6B7EF}"/>
          </ac:spMkLst>
        </pc:spChg>
        <pc:spChg chg="add del mod">
          <ac:chgData name="丁野 光理" userId="53361c9a-10d0-4268-b39c-a1f4044b33f4" providerId="ADAL" clId="{5FE0A016-0A93-4063-8F08-CD48630E8DBB}" dt="2025-02-06T13:12:32.266" v="2512" actId="478"/>
          <ac:spMkLst>
            <pc:docMk/>
            <pc:sldMk cId="2708077593" sldId="2147378681"/>
            <ac:spMk id="14" creationId="{A0DB4FFB-AA27-D443-6D2D-4943569F8746}"/>
          </ac:spMkLst>
        </pc:spChg>
        <pc:spChg chg="add del">
          <ac:chgData name="丁野 光理" userId="53361c9a-10d0-4268-b39c-a1f4044b33f4" providerId="ADAL" clId="{5FE0A016-0A93-4063-8F08-CD48630E8DBB}" dt="2025-01-29T13:08:16.216" v="148" actId="478"/>
          <ac:spMkLst>
            <pc:docMk/>
            <pc:sldMk cId="2708077593" sldId="2147378681"/>
            <ac:spMk id="14" creationId="{BA7FA382-9723-883E-C088-B51E896148CC}"/>
          </ac:spMkLst>
        </pc:spChg>
        <pc:spChg chg="del mod">
          <ac:chgData name="丁野 光理" userId="53361c9a-10d0-4268-b39c-a1f4044b33f4" providerId="ADAL" clId="{5FE0A016-0A93-4063-8F08-CD48630E8DBB}" dt="2025-02-06T13:12:23.848" v="2508" actId="478"/>
          <ac:spMkLst>
            <pc:docMk/>
            <pc:sldMk cId="2708077593" sldId="2147378681"/>
            <ac:spMk id="15" creationId="{0C0D5913-6E2D-E5DB-60D1-B3AF669AED14}"/>
          </ac:spMkLst>
        </pc:spChg>
        <pc:spChg chg="add mod">
          <ac:chgData name="丁野 光理" userId="53361c9a-10d0-4268-b39c-a1f4044b33f4" providerId="ADAL" clId="{5FE0A016-0A93-4063-8F08-CD48630E8DBB}" dt="2025-02-05T11:49:20.370" v="1038"/>
          <ac:spMkLst>
            <pc:docMk/>
            <pc:sldMk cId="2708077593" sldId="2147378681"/>
            <ac:spMk id="16" creationId="{069C4285-627D-16A3-8657-A4D2BEF4BA93}"/>
          </ac:spMkLst>
        </pc:spChg>
        <pc:spChg chg="add del mod">
          <ac:chgData name="丁野 光理" userId="53361c9a-10d0-4268-b39c-a1f4044b33f4" providerId="ADAL" clId="{5FE0A016-0A93-4063-8F08-CD48630E8DBB}" dt="2025-01-30T11:11:38.162" v="213" actId="478"/>
          <ac:spMkLst>
            <pc:docMk/>
            <pc:sldMk cId="2708077593" sldId="2147378681"/>
            <ac:spMk id="16" creationId="{E2145D0B-66EB-0BA6-624D-9BC1846E3715}"/>
          </ac:spMkLst>
        </pc:spChg>
        <pc:spChg chg="add del mod">
          <ac:chgData name="丁野 光理" userId="53361c9a-10d0-4268-b39c-a1f4044b33f4" providerId="ADAL" clId="{5FE0A016-0A93-4063-8F08-CD48630E8DBB}" dt="2025-02-06T14:29:48.055" v="5589" actId="478"/>
          <ac:spMkLst>
            <pc:docMk/>
            <pc:sldMk cId="2708077593" sldId="2147378681"/>
            <ac:spMk id="18" creationId="{F4E3D50C-C884-7F82-4117-1B6B83EF64AE}"/>
          </ac:spMkLst>
        </pc:spChg>
        <pc:spChg chg="mod">
          <ac:chgData name="丁野 光理" userId="53361c9a-10d0-4268-b39c-a1f4044b33f4" providerId="ADAL" clId="{5FE0A016-0A93-4063-8F08-CD48630E8DBB}" dt="2025-02-06T13:12:39.239" v="2513"/>
          <ac:spMkLst>
            <pc:docMk/>
            <pc:sldMk cId="2708077593" sldId="2147378681"/>
            <ac:spMk id="21" creationId="{88D0AC83-92C0-CE09-FDCC-3797E81FBCA0}"/>
          </ac:spMkLst>
        </pc:spChg>
        <pc:spChg chg="mod">
          <ac:chgData name="丁野 光理" userId="53361c9a-10d0-4268-b39c-a1f4044b33f4" providerId="ADAL" clId="{5FE0A016-0A93-4063-8F08-CD48630E8DBB}" dt="2025-02-06T13:12:39.239" v="2513"/>
          <ac:spMkLst>
            <pc:docMk/>
            <pc:sldMk cId="2708077593" sldId="2147378681"/>
            <ac:spMk id="24" creationId="{82584373-6886-245B-CAAF-F0A72E2EB028}"/>
          </ac:spMkLst>
        </pc:spChg>
        <pc:spChg chg="mod">
          <ac:chgData name="丁野 光理" userId="53361c9a-10d0-4268-b39c-a1f4044b33f4" providerId="ADAL" clId="{5FE0A016-0A93-4063-8F08-CD48630E8DBB}" dt="2025-02-06T13:12:39.239" v="2513"/>
          <ac:spMkLst>
            <pc:docMk/>
            <pc:sldMk cId="2708077593" sldId="2147378681"/>
            <ac:spMk id="27" creationId="{FECD882D-B70E-A698-EA6E-0B9F20A4F64A}"/>
          </ac:spMkLst>
        </pc:spChg>
        <pc:spChg chg="add del mod">
          <ac:chgData name="丁野 光理" userId="53361c9a-10d0-4268-b39c-a1f4044b33f4" providerId="ADAL" clId="{5FE0A016-0A93-4063-8F08-CD48630E8DBB}" dt="2025-02-06T14:29:51.980" v="5590" actId="478"/>
          <ac:spMkLst>
            <pc:docMk/>
            <pc:sldMk cId="2708077593" sldId="2147378681"/>
            <ac:spMk id="28" creationId="{4A2BDEA6-1FA7-588C-D289-A16C40D90521}"/>
          </ac:spMkLst>
        </pc:spChg>
        <pc:spChg chg="mod">
          <ac:chgData name="丁野 光理" userId="53361c9a-10d0-4268-b39c-a1f4044b33f4" providerId="ADAL" clId="{5FE0A016-0A93-4063-8F08-CD48630E8DBB}" dt="2025-02-06T13:12:39.239" v="2513"/>
          <ac:spMkLst>
            <pc:docMk/>
            <pc:sldMk cId="2708077593" sldId="2147378681"/>
            <ac:spMk id="31" creationId="{AF15BA74-94FE-C606-D4C9-2433BD945E1E}"/>
          </ac:spMkLst>
        </pc:spChg>
        <pc:spChg chg="mod">
          <ac:chgData name="丁野 光理" userId="53361c9a-10d0-4268-b39c-a1f4044b33f4" providerId="ADAL" clId="{5FE0A016-0A93-4063-8F08-CD48630E8DBB}" dt="2025-02-06T13:12:39.239" v="2513"/>
          <ac:spMkLst>
            <pc:docMk/>
            <pc:sldMk cId="2708077593" sldId="2147378681"/>
            <ac:spMk id="32" creationId="{3037221B-B008-3005-A8D5-10882C51251F}"/>
          </ac:spMkLst>
        </pc:spChg>
        <pc:spChg chg="mod">
          <ac:chgData name="丁野 光理" userId="53361c9a-10d0-4268-b39c-a1f4044b33f4" providerId="ADAL" clId="{5FE0A016-0A93-4063-8F08-CD48630E8DBB}" dt="2025-02-06T13:12:39.239" v="2513"/>
          <ac:spMkLst>
            <pc:docMk/>
            <pc:sldMk cId="2708077593" sldId="2147378681"/>
            <ac:spMk id="36" creationId="{BCF32962-BD6F-6DC8-9050-793593706759}"/>
          </ac:spMkLst>
        </pc:spChg>
        <pc:spChg chg="mod">
          <ac:chgData name="丁野 光理" userId="53361c9a-10d0-4268-b39c-a1f4044b33f4" providerId="ADAL" clId="{5FE0A016-0A93-4063-8F08-CD48630E8DBB}" dt="2025-02-06T13:12:39.239" v="2513"/>
          <ac:spMkLst>
            <pc:docMk/>
            <pc:sldMk cId="2708077593" sldId="2147378681"/>
            <ac:spMk id="39" creationId="{6BE16140-957D-1E8A-8362-4BF81F6441D0}"/>
          </ac:spMkLst>
        </pc:spChg>
        <pc:spChg chg="mod">
          <ac:chgData name="丁野 光理" userId="53361c9a-10d0-4268-b39c-a1f4044b33f4" providerId="ADAL" clId="{5FE0A016-0A93-4063-8F08-CD48630E8DBB}" dt="2025-02-06T13:12:39.239" v="2513"/>
          <ac:spMkLst>
            <pc:docMk/>
            <pc:sldMk cId="2708077593" sldId="2147378681"/>
            <ac:spMk id="42" creationId="{D6A243AB-2CAB-926D-EB9C-12585D2E01FB}"/>
          </ac:spMkLst>
        </pc:spChg>
        <pc:spChg chg="mod">
          <ac:chgData name="丁野 光理" userId="53361c9a-10d0-4268-b39c-a1f4044b33f4" providerId="ADAL" clId="{5FE0A016-0A93-4063-8F08-CD48630E8DBB}" dt="2025-02-06T13:12:39.239" v="2513"/>
          <ac:spMkLst>
            <pc:docMk/>
            <pc:sldMk cId="2708077593" sldId="2147378681"/>
            <ac:spMk id="44" creationId="{96BBE0C7-0E71-976D-2F56-B9E759A75A1A}"/>
          </ac:spMkLst>
        </pc:spChg>
        <pc:spChg chg="mod">
          <ac:chgData name="丁野 光理" userId="53361c9a-10d0-4268-b39c-a1f4044b33f4" providerId="ADAL" clId="{5FE0A016-0A93-4063-8F08-CD48630E8DBB}" dt="2025-02-06T13:12:39.239" v="2513"/>
          <ac:spMkLst>
            <pc:docMk/>
            <pc:sldMk cId="2708077593" sldId="2147378681"/>
            <ac:spMk id="45" creationId="{61D5AC50-0F80-8306-2BDF-EE968EE995FB}"/>
          </ac:spMkLst>
        </pc:spChg>
        <pc:spChg chg="mod">
          <ac:chgData name="丁野 光理" userId="53361c9a-10d0-4268-b39c-a1f4044b33f4" providerId="ADAL" clId="{5FE0A016-0A93-4063-8F08-CD48630E8DBB}" dt="2025-02-06T13:12:39.239" v="2513"/>
          <ac:spMkLst>
            <pc:docMk/>
            <pc:sldMk cId="2708077593" sldId="2147378681"/>
            <ac:spMk id="48" creationId="{F408411F-051E-AC3A-71A4-5396867FB258}"/>
          </ac:spMkLst>
        </pc:spChg>
        <pc:spChg chg="mod">
          <ac:chgData name="丁野 光理" userId="53361c9a-10d0-4268-b39c-a1f4044b33f4" providerId="ADAL" clId="{5FE0A016-0A93-4063-8F08-CD48630E8DBB}" dt="2025-02-06T13:12:39.239" v="2513"/>
          <ac:spMkLst>
            <pc:docMk/>
            <pc:sldMk cId="2708077593" sldId="2147378681"/>
            <ac:spMk id="49" creationId="{6B324177-14A0-26DE-45D2-8ACF82172798}"/>
          </ac:spMkLst>
        </pc:spChg>
        <pc:spChg chg="add mod">
          <ac:chgData name="丁野 光理" userId="53361c9a-10d0-4268-b39c-a1f4044b33f4" providerId="ADAL" clId="{5FE0A016-0A93-4063-8F08-CD48630E8DBB}" dt="2025-02-06T14:29:56.270" v="5592" actId="1076"/>
          <ac:spMkLst>
            <pc:docMk/>
            <pc:sldMk cId="2708077593" sldId="2147378681"/>
            <ac:spMk id="50" creationId="{5B635FEA-2811-3A33-A6E6-95440B42D811}"/>
          </ac:spMkLst>
        </pc:spChg>
        <pc:spChg chg="add del mod">
          <ac:chgData name="丁野 光理" userId="53361c9a-10d0-4268-b39c-a1f4044b33f4" providerId="ADAL" clId="{5FE0A016-0A93-4063-8F08-CD48630E8DBB}" dt="2025-02-06T13:12:58.592" v="2529" actId="478"/>
          <ac:spMkLst>
            <pc:docMk/>
            <pc:sldMk cId="2708077593" sldId="2147378681"/>
            <ac:spMk id="51" creationId="{B8562241-5770-C054-A25D-824A38299601}"/>
          </ac:spMkLst>
        </pc:spChg>
        <pc:spChg chg="add del mod">
          <ac:chgData name="丁野 光理" userId="53361c9a-10d0-4268-b39c-a1f4044b33f4" providerId="ADAL" clId="{5FE0A016-0A93-4063-8F08-CD48630E8DBB}" dt="2025-02-06T14:30:07.988" v="5626" actId="478"/>
          <ac:spMkLst>
            <pc:docMk/>
            <pc:sldMk cId="2708077593" sldId="2147378681"/>
            <ac:spMk id="52" creationId="{463F856E-24B7-70A1-C61B-54A9CAB857D9}"/>
          </ac:spMkLst>
        </pc:spChg>
        <pc:spChg chg="add mod">
          <ac:chgData name="丁野 光理" userId="53361c9a-10d0-4268-b39c-a1f4044b33f4" providerId="ADAL" clId="{5FE0A016-0A93-4063-8F08-CD48630E8DBB}" dt="2025-02-06T14:51:22.001" v="7484" actId="1076"/>
          <ac:spMkLst>
            <pc:docMk/>
            <pc:sldMk cId="2708077593" sldId="2147378681"/>
            <ac:spMk id="53" creationId="{600AE28E-2F7C-E1F6-5796-97DD1A8A0830}"/>
          </ac:spMkLst>
        </pc:spChg>
        <pc:grpChg chg="mod">
          <ac:chgData name="丁野 光理" userId="53361c9a-10d0-4268-b39c-a1f4044b33f4" providerId="ADAL" clId="{5FE0A016-0A93-4063-8F08-CD48630E8DBB}" dt="2025-02-05T11:44:12.878" v="836" actId="1036"/>
          <ac:grpSpMkLst>
            <pc:docMk/>
            <pc:sldMk cId="2708077593" sldId="2147378681"/>
            <ac:grpSpMk id="3" creationId="{EBC23DA4-F36B-555D-CA5C-39F94E08823F}"/>
          </ac:grpSpMkLst>
        </pc:grpChg>
        <pc:grpChg chg="mod">
          <ac:chgData name="丁野 光理" userId="53361c9a-10d0-4268-b39c-a1f4044b33f4" providerId="ADAL" clId="{5FE0A016-0A93-4063-8F08-CD48630E8DBB}" dt="2025-02-05T11:44:12.878" v="836" actId="1036"/>
          <ac:grpSpMkLst>
            <pc:docMk/>
            <pc:sldMk cId="2708077593" sldId="2147378681"/>
            <ac:grpSpMk id="4" creationId="{182836E8-0A6C-6508-BE54-D9FA5966D104}"/>
          </ac:grpSpMkLst>
        </pc:grpChg>
        <pc:grpChg chg="mod">
          <ac:chgData name="丁野 光理" userId="53361c9a-10d0-4268-b39c-a1f4044b33f4" providerId="ADAL" clId="{5FE0A016-0A93-4063-8F08-CD48630E8DBB}" dt="2025-02-05T11:44:12.878" v="836" actId="1036"/>
          <ac:grpSpMkLst>
            <pc:docMk/>
            <pc:sldMk cId="2708077593" sldId="2147378681"/>
            <ac:grpSpMk id="7" creationId="{2FB98B28-3911-4D54-DF63-480395E4E9E6}"/>
          </ac:grpSpMkLst>
        </pc:grpChg>
        <pc:grpChg chg="add del mod">
          <ac:chgData name="丁野 光理" userId="53361c9a-10d0-4268-b39c-a1f4044b33f4" providerId="ADAL" clId="{5FE0A016-0A93-4063-8F08-CD48630E8DBB}" dt="2025-02-06T14:29:51.980" v="5590" actId="478"/>
          <ac:grpSpMkLst>
            <pc:docMk/>
            <pc:sldMk cId="2708077593" sldId="2147378681"/>
            <ac:grpSpMk id="19" creationId="{D437F0AB-0AFB-9FA1-A5A3-EE2E611045F5}"/>
          </ac:grpSpMkLst>
        </pc:grpChg>
        <pc:grpChg chg="add del mod">
          <ac:chgData name="丁野 光理" userId="53361c9a-10d0-4268-b39c-a1f4044b33f4" providerId="ADAL" clId="{5FE0A016-0A93-4063-8F08-CD48630E8DBB}" dt="2025-02-06T14:29:51.980" v="5590" actId="478"/>
          <ac:grpSpMkLst>
            <pc:docMk/>
            <pc:sldMk cId="2708077593" sldId="2147378681"/>
            <ac:grpSpMk id="22" creationId="{8E77B8B4-96B5-F9B0-F6CD-465C5BADB3BF}"/>
          </ac:grpSpMkLst>
        </pc:grpChg>
        <pc:grpChg chg="add del mod">
          <ac:chgData name="丁野 光理" userId="53361c9a-10d0-4268-b39c-a1f4044b33f4" providerId="ADAL" clId="{5FE0A016-0A93-4063-8F08-CD48630E8DBB}" dt="2025-02-06T14:29:51.980" v="5590" actId="478"/>
          <ac:grpSpMkLst>
            <pc:docMk/>
            <pc:sldMk cId="2708077593" sldId="2147378681"/>
            <ac:grpSpMk id="25" creationId="{A3C3AE2F-542A-456C-E7FB-55141E6A0699}"/>
          </ac:grpSpMkLst>
        </pc:grpChg>
        <pc:grpChg chg="add del mod">
          <ac:chgData name="丁野 光理" userId="53361c9a-10d0-4268-b39c-a1f4044b33f4" providerId="ADAL" clId="{5FE0A016-0A93-4063-8F08-CD48630E8DBB}" dt="2025-02-06T14:29:51.980" v="5590" actId="478"/>
          <ac:grpSpMkLst>
            <pc:docMk/>
            <pc:sldMk cId="2708077593" sldId="2147378681"/>
            <ac:grpSpMk id="30" creationId="{3FCCB2D2-3D75-9EE1-28B0-B5760F75379A}"/>
          </ac:grpSpMkLst>
        </pc:grpChg>
        <pc:grpChg chg="mod">
          <ac:chgData name="丁野 光理" userId="53361c9a-10d0-4268-b39c-a1f4044b33f4" providerId="ADAL" clId="{5FE0A016-0A93-4063-8F08-CD48630E8DBB}" dt="2025-02-06T13:12:39.239" v="2513"/>
          <ac:grpSpMkLst>
            <pc:docMk/>
            <pc:sldMk cId="2708077593" sldId="2147378681"/>
            <ac:grpSpMk id="33" creationId="{324CDC5D-36EF-CB84-34E1-26EFA98C06D7}"/>
          </ac:grpSpMkLst>
        </pc:grpChg>
        <pc:grpChg chg="mod">
          <ac:chgData name="丁野 光理" userId="53361c9a-10d0-4268-b39c-a1f4044b33f4" providerId="ADAL" clId="{5FE0A016-0A93-4063-8F08-CD48630E8DBB}" dt="2025-02-06T13:12:39.239" v="2513"/>
          <ac:grpSpMkLst>
            <pc:docMk/>
            <pc:sldMk cId="2708077593" sldId="2147378681"/>
            <ac:grpSpMk id="34" creationId="{2AEF974B-78F4-2C34-5F79-14D2BDF2FBA2}"/>
          </ac:grpSpMkLst>
        </pc:grpChg>
        <pc:grpChg chg="add del mod">
          <ac:chgData name="丁野 光理" userId="53361c9a-10d0-4268-b39c-a1f4044b33f4" providerId="ADAL" clId="{5FE0A016-0A93-4063-8F08-CD48630E8DBB}" dt="2025-02-06T14:29:51.980" v="5590" actId="478"/>
          <ac:grpSpMkLst>
            <pc:docMk/>
            <pc:sldMk cId="2708077593" sldId="2147378681"/>
            <ac:grpSpMk id="41" creationId="{39241745-B095-C555-F2B7-B4E7FE3F31C3}"/>
          </ac:grpSpMkLst>
        </pc:grpChg>
        <pc:grpChg chg="mod">
          <ac:chgData name="丁野 光理" userId="53361c9a-10d0-4268-b39c-a1f4044b33f4" providerId="ADAL" clId="{5FE0A016-0A93-4063-8F08-CD48630E8DBB}" dt="2025-02-06T13:12:39.239" v="2513"/>
          <ac:grpSpMkLst>
            <pc:docMk/>
            <pc:sldMk cId="2708077593" sldId="2147378681"/>
            <ac:grpSpMk id="43" creationId="{164C1D1A-AD74-0420-FAEF-73ECFE033AAB}"/>
          </ac:grpSpMkLst>
        </pc:grpChg>
        <pc:picChg chg="mod">
          <ac:chgData name="丁野 光理" userId="53361c9a-10d0-4268-b39c-a1f4044b33f4" providerId="ADAL" clId="{5FE0A016-0A93-4063-8F08-CD48630E8DBB}" dt="2025-02-06T13:12:39.239" v="2513"/>
          <ac:picMkLst>
            <pc:docMk/>
            <pc:sldMk cId="2708077593" sldId="2147378681"/>
            <ac:picMk id="20" creationId="{7B239E08-893C-E606-6D22-D205D394B54B}"/>
          </ac:picMkLst>
        </pc:picChg>
        <pc:picChg chg="mod">
          <ac:chgData name="丁野 光理" userId="53361c9a-10d0-4268-b39c-a1f4044b33f4" providerId="ADAL" clId="{5FE0A016-0A93-4063-8F08-CD48630E8DBB}" dt="2025-02-06T13:12:39.239" v="2513"/>
          <ac:picMkLst>
            <pc:docMk/>
            <pc:sldMk cId="2708077593" sldId="2147378681"/>
            <ac:picMk id="23" creationId="{0D2AA527-0139-EEEA-B454-F169FAF9B28D}"/>
          </ac:picMkLst>
        </pc:picChg>
        <pc:picChg chg="mod">
          <ac:chgData name="丁野 光理" userId="53361c9a-10d0-4268-b39c-a1f4044b33f4" providerId="ADAL" clId="{5FE0A016-0A93-4063-8F08-CD48630E8DBB}" dt="2025-02-06T13:12:39.239" v="2513"/>
          <ac:picMkLst>
            <pc:docMk/>
            <pc:sldMk cId="2708077593" sldId="2147378681"/>
            <ac:picMk id="26" creationId="{3CB83327-E003-3609-2213-2CE6525C5676}"/>
          </ac:picMkLst>
        </pc:picChg>
        <pc:picChg chg="add del mod">
          <ac:chgData name="丁野 光理" userId="53361c9a-10d0-4268-b39c-a1f4044b33f4" providerId="ADAL" clId="{5FE0A016-0A93-4063-8F08-CD48630E8DBB}" dt="2025-02-06T14:29:51.980" v="5590" actId="478"/>
          <ac:picMkLst>
            <pc:docMk/>
            <pc:sldMk cId="2708077593" sldId="2147378681"/>
            <ac:picMk id="29" creationId="{239C546C-F207-34E9-7D0D-74305736EF8E}"/>
          </ac:picMkLst>
        </pc:picChg>
        <pc:picChg chg="mod">
          <ac:chgData name="丁野 光理" userId="53361c9a-10d0-4268-b39c-a1f4044b33f4" providerId="ADAL" clId="{5FE0A016-0A93-4063-8F08-CD48630E8DBB}" dt="2025-02-06T13:12:39.239" v="2513"/>
          <ac:picMkLst>
            <pc:docMk/>
            <pc:sldMk cId="2708077593" sldId="2147378681"/>
            <ac:picMk id="35" creationId="{E76FDEBF-8C3B-49A6-BA6C-AD6A45DA9D5D}"/>
          </ac:picMkLst>
        </pc:picChg>
        <pc:picChg chg="mod">
          <ac:chgData name="丁野 光理" userId="53361c9a-10d0-4268-b39c-a1f4044b33f4" providerId="ADAL" clId="{5FE0A016-0A93-4063-8F08-CD48630E8DBB}" dt="2025-02-06T13:12:39.239" v="2513"/>
          <ac:picMkLst>
            <pc:docMk/>
            <pc:sldMk cId="2708077593" sldId="2147378681"/>
            <ac:picMk id="37" creationId="{58189361-9FC8-8588-97FF-C5547D13E63B}"/>
          </ac:picMkLst>
        </pc:picChg>
        <pc:picChg chg="mod">
          <ac:chgData name="丁野 光理" userId="53361c9a-10d0-4268-b39c-a1f4044b33f4" providerId="ADAL" clId="{5FE0A016-0A93-4063-8F08-CD48630E8DBB}" dt="2025-02-06T13:12:39.239" v="2513"/>
          <ac:picMkLst>
            <pc:docMk/>
            <pc:sldMk cId="2708077593" sldId="2147378681"/>
            <ac:picMk id="38" creationId="{32EA973F-6591-0188-B77F-2E7F7CACC6D6}"/>
          </ac:picMkLst>
        </pc:picChg>
        <pc:picChg chg="mod">
          <ac:chgData name="丁野 光理" userId="53361c9a-10d0-4268-b39c-a1f4044b33f4" providerId="ADAL" clId="{5FE0A016-0A93-4063-8F08-CD48630E8DBB}" dt="2025-02-06T13:12:39.239" v="2513"/>
          <ac:picMkLst>
            <pc:docMk/>
            <pc:sldMk cId="2708077593" sldId="2147378681"/>
            <ac:picMk id="40" creationId="{77D2D732-B072-4CA4-F78D-551D08D4C0E4}"/>
          </ac:picMkLst>
        </pc:picChg>
        <pc:picChg chg="mod">
          <ac:chgData name="丁野 光理" userId="53361c9a-10d0-4268-b39c-a1f4044b33f4" providerId="ADAL" clId="{5FE0A016-0A93-4063-8F08-CD48630E8DBB}" dt="2025-02-06T13:12:39.239" v="2513"/>
          <ac:picMkLst>
            <pc:docMk/>
            <pc:sldMk cId="2708077593" sldId="2147378681"/>
            <ac:picMk id="46" creationId="{EE6DE7AF-A71B-90A6-4997-789AE5C6D486}"/>
          </ac:picMkLst>
        </pc:picChg>
        <pc:picChg chg="mod">
          <ac:chgData name="丁野 光理" userId="53361c9a-10d0-4268-b39c-a1f4044b33f4" providerId="ADAL" clId="{5FE0A016-0A93-4063-8F08-CD48630E8DBB}" dt="2025-02-06T13:12:39.239" v="2513"/>
          <ac:picMkLst>
            <pc:docMk/>
            <pc:sldMk cId="2708077593" sldId="2147378681"/>
            <ac:picMk id="47" creationId="{4D836FC9-F8F8-33A7-BE25-BBC1CDD816F2}"/>
          </ac:picMkLst>
        </pc:picChg>
        <pc:cxnChg chg="mod">
          <ac:chgData name="丁野 光理" userId="53361c9a-10d0-4268-b39c-a1f4044b33f4" providerId="ADAL" clId="{5FE0A016-0A93-4063-8F08-CD48630E8DBB}" dt="2025-02-05T11:44:12.878" v="836" actId="1036"/>
          <ac:cxnSpMkLst>
            <pc:docMk/>
            <pc:sldMk cId="2708077593" sldId="2147378681"/>
            <ac:cxnSpMk id="10" creationId="{EEF86A98-39B5-3E9C-8313-F6410191C7AD}"/>
          </ac:cxnSpMkLst>
        </pc:cxnChg>
        <pc:cxnChg chg="mod">
          <ac:chgData name="丁野 光理" userId="53361c9a-10d0-4268-b39c-a1f4044b33f4" providerId="ADAL" clId="{5FE0A016-0A93-4063-8F08-CD48630E8DBB}" dt="2025-02-05T11:44:12.878" v="836" actId="1036"/>
          <ac:cxnSpMkLst>
            <pc:docMk/>
            <pc:sldMk cId="2708077593" sldId="2147378681"/>
            <ac:cxnSpMk id="13" creationId="{819B2E49-17B8-3727-8812-69FD5702E69C}"/>
          </ac:cxnSpMkLst>
        </pc:cxn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31.898" v="22919"/>
              <pc2:cmMkLst xmlns:pc2="http://schemas.microsoft.com/office/powerpoint/2019/9/main/command">
                <pc:docMk/>
                <pc:sldMk cId="2708077593" sldId="2147378681"/>
                <pc2:cmMk id="{C2665106-7865-451A-A501-491E7113F2D0}"/>
              </pc2:cmMkLst>
            </pc226:cmChg>
            <pc226:cmChg xmlns:pc226="http://schemas.microsoft.com/office/powerpoint/2022/06/main/command" chg="del">
              <pc226:chgData name="丁野 光理" userId="53361c9a-10d0-4268-b39c-a1f4044b33f4" providerId="ADAL" clId="{5FE0A016-0A93-4063-8F08-CD48630E8DBB}" dt="2025-02-07T10:22:33.836" v="22920"/>
              <pc2:cmMkLst xmlns:pc2="http://schemas.microsoft.com/office/powerpoint/2019/9/main/command">
                <pc:docMk/>
                <pc:sldMk cId="2708077593" sldId="2147378681"/>
                <pc2:cmMk id="{40A72152-731D-47FF-92E4-5B8D098E98AB}"/>
              </pc2:cmMkLst>
            </pc226:cmChg>
          </p:ext>
        </pc:extLst>
      </pc:sldChg>
      <pc:sldChg chg="addSp delSp modSp mod delCm">
        <pc:chgData name="丁野 光理" userId="53361c9a-10d0-4268-b39c-a1f4044b33f4" providerId="ADAL" clId="{5FE0A016-0A93-4063-8F08-CD48630E8DBB}" dt="2025-02-07T10:22:27.274" v="22918"/>
        <pc:sldMkLst>
          <pc:docMk/>
          <pc:sldMk cId="2629355078" sldId="2147378682"/>
        </pc:sldMkLst>
        <pc:spChg chg="del">
          <ac:chgData name="丁野 光理" userId="53361c9a-10d0-4268-b39c-a1f4044b33f4" providerId="ADAL" clId="{5FE0A016-0A93-4063-8F08-CD48630E8DBB}" dt="2025-01-31T01:53:12.415" v="345" actId="478"/>
          <ac:spMkLst>
            <pc:docMk/>
            <pc:sldMk cId="2629355078" sldId="2147378682"/>
            <ac:spMk id="7" creationId="{45EA7D70-5CA6-D453-2EFC-52642E09B3DC}"/>
          </ac:spMkLst>
        </pc:spChg>
        <pc:spChg chg="mod">
          <ac:chgData name="丁野 光理" userId="53361c9a-10d0-4268-b39c-a1f4044b33f4" providerId="ADAL" clId="{5FE0A016-0A93-4063-8F08-CD48630E8DBB}" dt="2025-02-05T11:23:55.037" v="751"/>
          <ac:spMkLst>
            <pc:docMk/>
            <pc:sldMk cId="2629355078" sldId="2147378682"/>
            <ac:spMk id="9" creationId="{D22A0A06-D5A8-4A1A-B66F-2A8EDBD644F1}"/>
          </ac:spMkLst>
        </pc:spChg>
        <pc:spChg chg="add mod">
          <ac:chgData name="丁野 光理" userId="53361c9a-10d0-4268-b39c-a1f4044b33f4" providerId="ADAL" clId="{5FE0A016-0A93-4063-8F08-CD48630E8DBB}" dt="2025-01-30T11:12:14.047" v="343"/>
          <ac:spMkLst>
            <pc:docMk/>
            <pc:sldMk cId="2629355078" sldId="2147378682"/>
            <ac:spMk id="15" creationId="{B4B33CBB-85A1-D661-8244-BA4AC3199F2D}"/>
          </ac:spMkLst>
        </pc:spChg>
        <pc:spChg chg="del">
          <ac:chgData name="丁野 光理" userId="53361c9a-10d0-4268-b39c-a1f4044b33f4" providerId="ADAL" clId="{5FE0A016-0A93-4063-8F08-CD48630E8DBB}" dt="2025-01-29T13:07:40.226" v="140" actId="478"/>
          <ac:spMkLst>
            <pc:docMk/>
            <pc:sldMk cId="2629355078" sldId="2147378682"/>
            <ac:spMk id="15" creationId="{FDA5823E-4462-D120-D102-5D7BCDCD50D7}"/>
          </ac:spMkLst>
        </pc:spChg>
        <pc:spChg chg="del mod">
          <ac:chgData name="丁野 光理" userId="53361c9a-10d0-4268-b39c-a1f4044b33f4" providerId="ADAL" clId="{5FE0A016-0A93-4063-8F08-CD48630E8DBB}" dt="2025-01-30T11:12:08.286" v="310" actId="478"/>
          <ac:spMkLst>
            <pc:docMk/>
            <pc:sldMk cId="2629355078" sldId="2147378682"/>
            <ac:spMk id="16" creationId="{8F702987-7030-AB85-CCC8-911F98E01691}"/>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27.274" v="22918"/>
              <pc2:cmMkLst xmlns:pc2="http://schemas.microsoft.com/office/powerpoint/2019/9/main/command">
                <pc:docMk/>
                <pc:sldMk cId="2629355078" sldId="2147378682"/>
                <pc2:cmMk id="{F218F1F8-0A58-492D-B276-F3BA5AAA42F3}"/>
              </pc2:cmMkLst>
            </pc226:cmChg>
          </p:ext>
        </pc:extLst>
      </pc:sldChg>
      <pc:sldChg chg="addSp delSp modSp mod delCm">
        <pc:chgData name="丁野 光理" userId="53361c9a-10d0-4268-b39c-a1f4044b33f4" providerId="ADAL" clId="{5FE0A016-0A93-4063-8F08-CD48630E8DBB}" dt="2025-02-07T11:36:40.366" v="24795" actId="20577"/>
        <pc:sldMkLst>
          <pc:docMk/>
          <pc:sldMk cId="228645798" sldId="2147378683"/>
        </pc:sldMkLst>
        <pc:spChg chg="mod">
          <ac:chgData name="丁野 光理" userId="53361c9a-10d0-4268-b39c-a1f4044b33f4" providerId="ADAL" clId="{5FE0A016-0A93-4063-8F08-CD48630E8DBB}" dt="2025-02-07T11:36:40.366" v="24795" actId="20577"/>
          <ac:spMkLst>
            <pc:docMk/>
            <pc:sldMk cId="228645798" sldId="2147378683"/>
            <ac:spMk id="4" creationId="{29DB748F-EFF5-4509-B381-6B8D73B31303}"/>
          </ac:spMkLst>
        </pc:spChg>
        <pc:spChg chg="add mod">
          <ac:chgData name="丁野 光理" userId="53361c9a-10d0-4268-b39c-a1f4044b33f4" providerId="ADAL" clId="{5FE0A016-0A93-4063-8F08-CD48630E8DBB}" dt="2025-02-06T14:20:28.228" v="4235"/>
          <ac:spMkLst>
            <pc:docMk/>
            <pc:sldMk cId="228645798" sldId="2147378683"/>
            <ac:spMk id="6" creationId="{1D74506D-0E22-A09B-E5D1-B726350DCF3A}"/>
          </ac:spMkLst>
        </pc:spChg>
        <pc:spChg chg="del">
          <ac:chgData name="丁野 光理" userId="53361c9a-10d0-4268-b39c-a1f4044b33f4" providerId="ADAL" clId="{5FE0A016-0A93-4063-8F08-CD48630E8DBB}" dt="2025-02-04T13:53:15.287" v="712" actId="478"/>
          <ac:spMkLst>
            <pc:docMk/>
            <pc:sldMk cId="228645798" sldId="2147378683"/>
            <ac:spMk id="6" creationId="{9E4631E7-964D-E009-B2BB-C8E7CB208D67}"/>
          </ac:spMkLst>
        </pc:spChg>
        <pc:spChg chg="del">
          <ac:chgData name="丁野 光理" userId="53361c9a-10d0-4268-b39c-a1f4044b33f4" providerId="ADAL" clId="{5FE0A016-0A93-4063-8F08-CD48630E8DBB}" dt="2025-01-29T13:07:37.317" v="139" actId="478"/>
          <ac:spMkLst>
            <pc:docMk/>
            <pc:sldMk cId="228645798" sldId="2147378683"/>
            <ac:spMk id="7" creationId="{44C5D2AE-5A67-8B16-4D64-05BEA1BC14F5}"/>
          </ac:spMkLst>
        </pc:spChg>
        <pc:spChg chg="mod">
          <ac:chgData name="丁野 光理" userId="53361c9a-10d0-4268-b39c-a1f4044b33f4" providerId="ADAL" clId="{5FE0A016-0A93-4063-8F08-CD48630E8DBB}" dt="2025-02-06T14:28:18.368" v="5215" actId="113"/>
          <ac:spMkLst>
            <pc:docMk/>
            <pc:sldMk cId="228645798" sldId="2147378683"/>
            <ac:spMk id="8" creationId="{9D610DBF-17F7-608B-8680-1CFA54E54E02}"/>
          </ac:spMkLst>
        </pc:spChg>
        <pc:graphicFrameChg chg="mod modGraphic">
          <ac:chgData name="丁野 光理" userId="53361c9a-10d0-4268-b39c-a1f4044b33f4" providerId="ADAL" clId="{5FE0A016-0A93-4063-8F08-CD48630E8DBB}" dt="2025-02-06T14:27:56.055" v="5213" actId="207"/>
          <ac:graphicFrameMkLst>
            <pc:docMk/>
            <pc:sldMk cId="228645798" sldId="2147378683"/>
            <ac:graphicFrameMk id="2" creationId="{11947C01-3F25-5707-DF65-95146B28736C}"/>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39.162" v="22921"/>
              <pc2:cmMkLst xmlns:pc2="http://schemas.microsoft.com/office/powerpoint/2019/9/main/command">
                <pc:docMk/>
                <pc:sldMk cId="228645798" sldId="2147378683"/>
                <pc2:cmMk id="{CC32BF52-AF5B-404A-9D8B-3922AFEDB808}"/>
              </pc2:cmMkLst>
            </pc226:cmChg>
          </p:ext>
        </pc:extLst>
      </pc:sldChg>
      <pc:sldChg chg="addSp delSp modSp add del mod ord addCm delCm">
        <pc:chgData name="丁野 光理" userId="53361c9a-10d0-4268-b39c-a1f4044b33f4" providerId="ADAL" clId="{5FE0A016-0A93-4063-8F08-CD48630E8DBB}" dt="2025-02-07T11:16:30.168" v="24196" actId="47"/>
        <pc:sldMkLst>
          <pc:docMk/>
          <pc:sldMk cId="239223960" sldId="2147378686"/>
        </pc:sldMkLst>
        <pc:spChg chg="mod">
          <ac:chgData name="丁野 光理" userId="53361c9a-10d0-4268-b39c-a1f4044b33f4" providerId="ADAL" clId="{5FE0A016-0A93-4063-8F08-CD48630E8DBB}" dt="2025-02-06T15:10:33.656" v="7896"/>
          <ac:spMkLst>
            <pc:docMk/>
            <pc:sldMk cId="239223960" sldId="2147378686"/>
            <ac:spMk id="2" creationId="{A45FDDD5-9A42-423D-9ED3-F19DD3567786}"/>
          </ac:spMkLst>
        </pc:spChg>
        <pc:spChg chg="del">
          <ac:chgData name="丁野 光理" userId="53361c9a-10d0-4268-b39c-a1f4044b33f4" providerId="ADAL" clId="{5FE0A016-0A93-4063-8F08-CD48630E8DBB}" dt="2025-01-29T13:07:24.337" v="134" actId="478"/>
          <ac:spMkLst>
            <pc:docMk/>
            <pc:sldMk cId="239223960" sldId="2147378686"/>
            <ac:spMk id="4" creationId="{2D9DF4BF-A6B4-F174-8EB6-98CC10E01A36}"/>
          </ac:spMkLst>
        </pc:spChg>
        <pc:spChg chg="mod">
          <ac:chgData name="丁野 光理" userId="53361c9a-10d0-4268-b39c-a1f4044b33f4" providerId="ADAL" clId="{5FE0A016-0A93-4063-8F08-CD48630E8DBB}" dt="2025-01-31T01:54:00.894" v="361"/>
          <ac:spMkLst>
            <pc:docMk/>
            <pc:sldMk cId="239223960" sldId="2147378686"/>
            <ac:spMk id="8" creationId="{E5452BB1-3ED0-4261-B76D-A910259B86CD}"/>
          </ac:spMkLst>
        </pc:spChg>
        <pc:spChg chg="mod">
          <ac:chgData name="丁野 光理" userId="53361c9a-10d0-4268-b39c-a1f4044b33f4" providerId="ADAL" clId="{5FE0A016-0A93-4063-8F08-CD48630E8DBB}" dt="2025-02-07T11:11:48.391" v="24025"/>
          <ac:spMkLst>
            <pc:docMk/>
            <pc:sldMk cId="239223960" sldId="2147378686"/>
            <ac:spMk id="9" creationId="{D22A0A06-D5A8-4A1A-B66F-2A8EDBD644F1}"/>
          </ac:spMkLst>
        </pc:spChg>
        <pc:spChg chg="mod">
          <ac:chgData name="丁野 光理" userId="53361c9a-10d0-4268-b39c-a1f4044b33f4" providerId="ADAL" clId="{5FE0A016-0A93-4063-8F08-CD48630E8DBB}" dt="2025-02-07T11:16:07.574" v="24192" actId="1076"/>
          <ac:spMkLst>
            <pc:docMk/>
            <pc:sldMk cId="239223960" sldId="2147378686"/>
            <ac:spMk id="10" creationId="{543B1571-BEDE-37BA-F555-DB23CA2FA0C5}"/>
          </ac:spMkLst>
        </pc:spChg>
        <pc:graphicFrameChg chg="del mod modGraphic">
          <ac:chgData name="丁野 光理" userId="53361c9a-10d0-4268-b39c-a1f4044b33f4" providerId="ADAL" clId="{5FE0A016-0A93-4063-8F08-CD48630E8DBB}" dt="2025-02-06T16:20:05.583" v="11691" actId="478"/>
          <ac:graphicFrameMkLst>
            <pc:docMk/>
            <pc:sldMk cId="239223960" sldId="2147378686"/>
            <ac:graphicFrameMk id="3" creationId="{789DCD94-CACD-CC79-48EF-F13A5ACFBD8A}"/>
          </ac:graphicFrameMkLst>
        </pc:graphicFrameChg>
        <pc:graphicFrameChg chg="add del mod">
          <ac:chgData name="丁野 光理" userId="53361c9a-10d0-4268-b39c-a1f4044b33f4" providerId="ADAL" clId="{5FE0A016-0A93-4063-8F08-CD48630E8DBB}" dt="2025-02-06T16:16:14.468" v="11400" actId="478"/>
          <ac:graphicFrameMkLst>
            <pc:docMk/>
            <pc:sldMk cId="239223960" sldId="2147378686"/>
            <ac:graphicFrameMk id="4" creationId="{0AC9AF1A-4093-8482-B4CC-792FFBA09FD4}"/>
          </ac:graphicFrameMkLst>
        </pc:graphicFrameChg>
        <pc:graphicFrameChg chg="add del mod">
          <ac:chgData name="丁野 光理" userId="53361c9a-10d0-4268-b39c-a1f4044b33f4" providerId="ADAL" clId="{5FE0A016-0A93-4063-8F08-CD48630E8DBB}" dt="2025-02-06T16:17:39.949" v="11452" actId="478"/>
          <ac:graphicFrameMkLst>
            <pc:docMk/>
            <pc:sldMk cId="239223960" sldId="2147378686"/>
            <ac:graphicFrameMk id="6" creationId="{DD49B633-28F5-BF47-D77E-67D7531FD4B5}"/>
          </ac:graphicFrameMkLst>
        </pc:graphicFrameChg>
        <pc:graphicFrameChg chg="add mod modGraphic">
          <ac:chgData name="丁野 光理" userId="53361c9a-10d0-4268-b39c-a1f4044b33f4" providerId="ADAL" clId="{5FE0A016-0A93-4063-8F08-CD48630E8DBB}" dt="2025-02-07T11:16:02.691" v="24191"/>
          <ac:graphicFrameMkLst>
            <pc:docMk/>
            <pc:sldMk cId="239223960" sldId="2147378686"/>
            <ac:graphicFrameMk id="7" creationId="{3F760687-B3BB-6A40-A2EE-9CEB046E963D}"/>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5FE0A016-0A93-4063-8F08-CD48630E8DBB}" dt="2025-02-07T10:23:17.065" v="22931"/>
              <pc2:cmMkLst xmlns:pc2="http://schemas.microsoft.com/office/powerpoint/2019/9/main/command">
                <pc:docMk/>
                <pc:sldMk cId="239223960" sldId="2147378686"/>
                <pc2:cmMk id="{950CF28A-EDFF-4104-9965-0590BFE17898}"/>
              </pc2:cmMkLst>
            </pc226:cmChg>
          </p:ext>
        </pc:extLst>
      </pc:sldChg>
      <pc:sldChg chg="delSp modSp del mod ord">
        <pc:chgData name="丁野 光理" userId="53361c9a-10d0-4268-b39c-a1f4044b33f4" providerId="ADAL" clId="{5FE0A016-0A93-4063-8F08-CD48630E8DBB}" dt="2025-02-06T15:09:53.719" v="7862" actId="47"/>
        <pc:sldMkLst>
          <pc:docMk/>
          <pc:sldMk cId="1260276570" sldId="2147378687"/>
        </pc:sldMkLst>
        <pc:spChg chg="del">
          <ac:chgData name="丁野 光理" userId="53361c9a-10d0-4268-b39c-a1f4044b33f4" providerId="ADAL" clId="{5FE0A016-0A93-4063-8F08-CD48630E8DBB}" dt="2025-01-29T13:07:17.641" v="132" actId="478"/>
          <ac:spMkLst>
            <pc:docMk/>
            <pc:sldMk cId="1260276570" sldId="2147378687"/>
            <ac:spMk id="4" creationId="{D6454845-5FE2-027E-0CD4-E44F5E629B84}"/>
          </ac:spMkLst>
        </pc:spChg>
        <pc:spChg chg="mod">
          <ac:chgData name="丁野 光理" userId="53361c9a-10d0-4268-b39c-a1f4044b33f4" providerId="ADAL" clId="{5FE0A016-0A93-4063-8F08-CD48630E8DBB}" dt="2025-01-31T01:54:29.677" v="365" actId="20577"/>
          <ac:spMkLst>
            <pc:docMk/>
            <pc:sldMk cId="1260276570" sldId="2147378687"/>
            <ac:spMk id="8" creationId="{0D0372B5-05E1-A5A4-45D0-F2DE109FAB59}"/>
          </ac:spMkLst>
        </pc:spChg>
        <pc:spChg chg="mod">
          <ac:chgData name="丁野 光理" userId="53361c9a-10d0-4268-b39c-a1f4044b33f4" providerId="ADAL" clId="{5FE0A016-0A93-4063-8F08-CD48630E8DBB}" dt="2025-02-05T11:47:38.590" v="958"/>
          <ac:spMkLst>
            <pc:docMk/>
            <pc:sldMk cId="1260276570" sldId="2147378687"/>
            <ac:spMk id="9" creationId="{D22A0A06-D5A8-4A1A-B66F-2A8EDBD644F1}"/>
          </ac:spMkLst>
        </pc:spChg>
      </pc:sldChg>
      <pc:sldChg chg="addSp delSp modSp add del mod ord">
        <pc:chgData name="丁野 光理" userId="53361c9a-10d0-4268-b39c-a1f4044b33f4" providerId="ADAL" clId="{5FE0A016-0A93-4063-8F08-CD48630E8DBB}" dt="2025-02-07T11:24:35.457" v="24504" actId="20577"/>
        <pc:sldMkLst>
          <pc:docMk/>
          <pc:sldMk cId="2452595465" sldId="2147378688"/>
        </pc:sldMkLst>
        <pc:spChg chg="mod">
          <ac:chgData name="丁野 光理" userId="53361c9a-10d0-4268-b39c-a1f4044b33f4" providerId="ADAL" clId="{5FE0A016-0A93-4063-8F08-CD48630E8DBB}" dt="2025-02-06T15:18:28.488" v="8027"/>
          <ac:spMkLst>
            <pc:docMk/>
            <pc:sldMk cId="2452595465" sldId="2147378688"/>
            <ac:spMk id="2" creationId="{A45FDDD5-9A42-423D-9ED3-F19DD3567786}"/>
          </ac:spMkLst>
        </pc:spChg>
        <pc:spChg chg="add mod">
          <ac:chgData name="丁野 光理" userId="53361c9a-10d0-4268-b39c-a1f4044b33f4" providerId="ADAL" clId="{5FE0A016-0A93-4063-8F08-CD48630E8DBB}" dt="2025-01-31T02:00:56.806" v="497" actId="20577"/>
          <ac:spMkLst>
            <pc:docMk/>
            <pc:sldMk cId="2452595465" sldId="2147378688"/>
            <ac:spMk id="6" creationId="{ACC8D349-1EFF-0794-6A68-D89EF8F84DCB}"/>
          </ac:spMkLst>
        </pc:spChg>
        <pc:spChg chg="del">
          <ac:chgData name="丁野 光理" userId="53361c9a-10d0-4268-b39c-a1f4044b33f4" providerId="ADAL" clId="{5FE0A016-0A93-4063-8F08-CD48630E8DBB}" dt="2025-01-29T13:07:02.420" v="130" actId="478"/>
          <ac:spMkLst>
            <pc:docMk/>
            <pc:sldMk cId="2452595465" sldId="2147378688"/>
            <ac:spMk id="7" creationId="{24582205-39DE-FABD-CB90-9C30FEE43071}"/>
          </ac:spMkLst>
        </pc:spChg>
        <pc:spChg chg="mod">
          <ac:chgData name="丁野 光理" userId="53361c9a-10d0-4268-b39c-a1f4044b33f4" providerId="ADAL" clId="{5FE0A016-0A93-4063-8F08-CD48630E8DBB}" dt="2025-02-07T11:24:35.457" v="24504" actId="20577"/>
          <ac:spMkLst>
            <pc:docMk/>
            <pc:sldMk cId="2452595465" sldId="2147378688"/>
            <ac:spMk id="9" creationId="{D22A0A06-D5A8-4A1A-B66F-2A8EDBD644F1}"/>
          </ac:spMkLst>
        </pc:spChg>
        <pc:spChg chg="del">
          <ac:chgData name="丁野 光理" userId="53361c9a-10d0-4268-b39c-a1f4044b33f4" providerId="ADAL" clId="{5FE0A016-0A93-4063-8F08-CD48630E8DBB}" dt="2025-02-06T16:11:57.295" v="10833" actId="478"/>
          <ac:spMkLst>
            <pc:docMk/>
            <pc:sldMk cId="2452595465" sldId="2147378688"/>
            <ac:spMk id="10" creationId="{09B8CBA2-03F1-FCA3-5EF4-E163C51AD89A}"/>
          </ac:spMkLst>
        </pc:spChg>
        <pc:spChg chg="add mod">
          <ac:chgData name="丁野 光理" userId="53361c9a-10d0-4268-b39c-a1f4044b33f4" providerId="ADAL" clId="{5FE0A016-0A93-4063-8F08-CD48630E8DBB}" dt="2025-02-06T16:11:57.295" v="10833" actId="478"/>
          <ac:spMkLst>
            <pc:docMk/>
            <pc:sldMk cId="2452595465" sldId="2147378688"/>
            <ac:spMk id="20" creationId="{C0739B5E-974C-B8C0-C502-00B3AE8E25D2}"/>
          </ac:spMkLst>
        </pc:spChg>
        <pc:picChg chg="del mod">
          <ac:chgData name="丁野 光理" userId="53361c9a-10d0-4268-b39c-a1f4044b33f4" providerId="ADAL" clId="{5FE0A016-0A93-4063-8F08-CD48630E8DBB}" dt="2025-01-31T01:54:42.866" v="366" actId="478"/>
          <ac:picMkLst>
            <pc:docMk/>
            <pc:sldMk cId="2452595465" sldId="2147378688"/>
            <ac:picMk id="4" creationId="{CB67C656-701C-590D-31B0-33A764E6E23A}"/>
          </ac:picMkLst>
        </pc:picChg>
      </pc:sldChg>
      <pc:sldChg chg="delSp modSp mod ord addCm delCm">
        <pc:chgData name="丁野 光理" userId="53361c9a-10d0-4268-b39c-a1f4044b33f4" providerId="ADAL" clId="{5FE0A016-0A93-4063-8F08-CD48630E8DBB}" dt="2025-02-07T11:25:19.343" v="24523" actId="20577"/>
        <pc:sldMkLst>
          <pc:docMk/>
          <pc:sldMk cId="64176771" sldId="2147378692"/>
        </pc:sldMkLst>
        <pc:spChg chg="mod">
          <ac:chgData name="丁野 光理" userId="53361c9a-10d0-4268-b39c-a1f4044b33f4" providerId="ADAL" clId="{5FE0A016-0A93-4063-8F08-CD48630E8DBB}" dt="2025-02-06T15:18:31.507" v="8028"/>
          <ac:spMkLst>
            <pc:docMk/>
            <pc:sldMk cId="64176771" sldId="2147378692"/>
            <ac:spMk id="3" creationId="{6247E137-868B-539C-2D6E-DC37708CAC30}"/>
          </ac:spMkLst>
        </pc:spChg>
        <pc:spChg chg="mod">
          <ac:chgData name="丁野 光理" userId="53361c9a-10d0-4268-b39c-a1f4044b33f4" providerId="ADAL" clId="{5FE0A016-0A93-4063-8F08-CD48630E8DBB}" dt="2025-02-07T11:25:19.343" v="24523" actId="20577"/>
          <ac:spMkLst>
            <pc:docMk/>
            <pc:sldMk cId="64176771" sldId="2147378692"/>
            <ac:spMk id="4" creationId="{2C3BBDD6-C18E-A8D5-D35C-ABB97297C5DD}"/>
          </ac:spMkLst>
        </pc:spChg>
        <pc:spChg chg="del">
          <ac:chgData name="丁野 光理" userId="53361c9a-10d0-4268-b39c-a1f4044b33f4" providerId="ADAL" clId="{5FE0A016-0A93-4063-8F08-CD48630E8DBB}" dt="2025-01-29T13:06:57.222" v="127" actId="478"/>
          <ac:spMkLst>
            <pc:docMk/>
            <pc:sldMk cId="64176771" sldId="2147378692"/>
            <ac:spMk id="6" creationId="{8F5B53A2-0EF1-F8B6-B41F-2E779B30F578}"/>
          </ac:spMkLst>
        </pc:spChg>
        <pc:graphicFrameChg chg="mod modGraphic">
          <ac:chgData name="丁野 光理" userId="53361c9a-10d0-4268-b39c-a1f4044b33f4" providerId="ADAL" clId="{5FE0A016-0A93-4063-8F08-CD48630E8DBB}" dt="2025-02-06T16:13:04.342" v="11026" actId="207"/>
          <ac:graphicFrameMkLst>
            <pc:docMk/>
            <pc:sldMk cId="64176771" sldId="2147378692"/>
            <ac:graphicFrameMk id="2" creationId="{12ACD507-CDCD-7967-B093-33A8EA8B50AD}"/>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5FE0A016-0A93-4063-8F08-CD48630E8DBB}" dt="2025-02-07T10:23:44.662" v="22932"/>
              <pc2:cmMkLst xmlns:pc2="http://schemas.microsoft.com/office/powerpoint/2019/9/main/command">
                <pc:docMk/>
                <pc:sldMk cId="64176771" sldId="2147378692"/>
                <pc2:cmMk id="{22EDEFDE-7D42-4798-B990-11A4BCB9EBD9}"/>
              </pc2:cmMkLst>
            </pc226:cmChg>
          </p:ext>
        </pc:extLst>
      </pc:sldChg>
      <pc:sldChg chg="delSp modSp mod ord modShow addCm delCm modCm">
        <pc:chgData name="丁野 光理" userId="53361c9a-10d0-4268-b39c-a1f4044b33f4" providerId="ADAL" clId="{5FE0A016-0A93-4063-8F08-CD48630E8DBB}" dt="2025-02-07T12:37:10.127" v="26258" actId="1076"/>
        <pc:sldMkLst>
          <pc:docMk/>
          <pc:sldMk cId="2807815468" sldId="2147378693"/>
        </pc:sldMkLst>
        <pc:spChg chg="mod">
          <ac:chgData name="丁野 光理" userId="53361c9a-10d0-4268-b39c-a1f4044b33f4" providerId="ADAL" clId="{5FE0A016-0A93-4063-8F08-CD48630E8DBB}" dt="2025-02-07T10:53:10.427" v="22944" actId="207"/>
          <ac:spMkLst>
            <pc:docMk/>
            <pc:sldMk cId="2807815468" sldId="2147378693"/>
            <ac:spMk id="4" creationId="{6F71EB31-C9B7-4098-9EFB-8216961CCBDC}"/>
          </ac:spMkLst>
        </pc:spChg>
        <pc:spChg chg="del">
          <ac:chgData name="丁野 光理" userId="53361c9a-10d0-4268-b39c-a1f4044b33f4" providerId="ADAL" clId="{5FE0A016-0A93-4063-8F08-CD48630E8DBB}" dt="2025-01-29T13:06:53.590" v="126" actId="478"/>
          <ac:spMkLst>
            <pc:docMk/>
            <pc:sldMk cId="2807815468" sldId="2147378693"/>
            <ac:spMk id="6" creationId="{AB16B992-8FEA-2524-9080-25C00B9EB250}"/>
          </ac:spMkLst>
        </pc:spChg>
        <pc:spChg chg="mod">
          <ac:chgData name="丁野 光理" userId="53361c9a-10d0-4268-b39c-a1f4044b33f4" providerId="ADAL" clId="{5FE0A016-0A93-4063-8F08-CD48630E8DBB}" dt="2025-02-07T10:53:10.427" v="22944" actId="207"/>
          <ac:spMkLst>
            <pc:docMk/>
            <pc:sldMk cId="2807815468" sldId="2147378693"/>
            <ac:spMk id="8" creationId="{9B252D3D-6288-96C4-6851-3CB5CABE93B0}"/>
          </ac:spMkLst>
        </pc:spChg>
        <pc:spChg chg="mod">
          <ac:chgData name="丁野 光理" userId="53361c9a-10d0-4268-b39c-a1f4044b33f4" providerId="ADAL" clId="{5FE0A016-0A93-4063-8F08-CD48630E8DBB}" dt="2025-02-07T11:29:55.768" v="24622" actId="20577"/>
          <ac:spMkLst>
            <pc:docMk/>
            <pc:sldMk cId="2807815468" sldId="2147378693"/>
            <ac:spMk id="9" creationId="{D22A0A06-D5A8-4A1A-B66F-2A8EDBD644F1}"/>
          </ac:spMkLst>
        </pc:spChg>
        <pc:spChg chg="mod">
          <ac:chgData name="丁野 光理" userId="53361c9a-10d0-4268-b39c-a1f4044b33f4" providerId="ADAL" clId="{5FE0A016-0A93-4063-8F08-CD48630E8DBB}" dt="2025-02-07T10:53:14.605" v="22945" actId="207"/>
          <ac:spMkLst>
            <pc:docMk/>
            <pc:sldMk cId="2807815468" sldId="2147378693"/>
            <ac:spMk id="11" creationId="{27E0FB5C-67EE-F750-E74B-80FE4B6806FF}"/>
          </ac:spMkLst>
        </pc:spChg>
        <pc:spChg chg="mod">
          <ac:chgData name="丁野 光理" userId="53361c9a-10d0-4268-b39c-a1f4044b33f4" providerId="ADAL" clId="{5FE0A016-0A93-4063-8F08-CD48630E8DBB}" dt="2025-02-07T10:53:14.605" v="22945" actId="207"/>
          <ac:spMkLst>
            <pc:docMk/>
            <pc:sldMk cId="2807815468" sldId="2147378693"/>
            <ac:spMk id="13" creationId="{3132866A-947F-A81C-0025-F0AF7AFAF788}"/>
          </ac:spMkLst>
        </pc:spChg>
        <pc:spChg chg="mod">
          <ac:chgData name="丁野 光理" userId="53361c9a-10d0-4268-b39c-a1f4044b33f4" providerId="ADAL" clId="{5FE0A016-0A93-4063-8F08-CD48630E8DBB}" dt="2025-02-07T10:53:10.427" v="22944" actId="207"/>
          <ac:spMkLst>
            <pc:docMk/>
            <pc:sldMk cId="2807815468" sldId="2147378693"/>
            <ac:spMk id="14" creationId="{5BC8482B-CF2B-219A-8F08-419E3A5FC47F}"/>
          </ac:spMkLst>
        </pc:spChg>
        <pc:spChg chg="mod">
          <ac:chgData name="丁野 光理" userId="53361c9a-10d0-4268-b39c-a1f4044b33f4" providerId="ADAL" clId="{5FE0A016-0A93-4063-8F08-CD48630E8DBB}" dt="2025-02-07T10:53:14.605" v="22945" actId="207"/>
          <ac:spMkLst>
            <pc:docMk/>
            <pc:sldMk cId="2807815468" sldId="2147378693"/>
            <ac:spMk id="15" creationId="{FB604A90-B7E0-C24B-4479-27FB7F6C9AF9}"/>
          </ac:spMkLst>
        </pc:spChg>
        <pc:spChg chg="mod">
          <ac:chgData name="丁野 光理" userId="53361c9a-10d0-4268-b39c-a1f4044b33f4" providerId="ADAL" clId="{5FE0A016-0A93-4063-8F08-CD48630E8DBB}" dt="2025-02-07T10:53:10.427" v="22944" actId="207"/>
          <ac:spMkLst>
            <pc:docMk/>
            <pc:sldMk cId="2807815468" sldId="2147378693"/>
            <ac:spMk id="17" creationId="{C9C43BC8-810D-E426-4335-300BCA945BC0}"/>
          </ac:spMkLst>
        </pc:spChg>
        <pc:spChg chg="mod">
          <ac:chgData name="丁野 光理" userId="53361c9a-10d0-4268-b39c-a1f4044b33f4" providerId="ADAL" clId="{5FE0A016-0A93-4063-8F08-CD48630E8DBB}" dt="2025-02-07T10:53:14.605" v="22945" actId="207"/>
          <ac:spMkLst>
            <pc:docMk/>
            <pc:sldMk cId="2807815468" sldId="2147378693"/>
            <ac:spMk id="18" creationId="{0947CAEC-1669-C017-095F-FAE30144149E}"/>
          </ac:spMkLst>
        </pc:spChg>
        <pc:spChg chg="mod">
          <ac:chgData name="丁野 光理" userId="53361c9a-10d0-4268-b39c-a1f4044b33f4" providerId="ADAL" clId="{5FE0A016-0A93-4063-8F08-CD48630E8DBB}" dt="2025-02-07T10:53:10.427" v="22944" actId="207"/>
          <ac:spMkLst>
            <pc:docMk/>
            <pc:sldMk cId="2807815468" sldId="2147378693"/>
            <ac:spMk id="20" creationId="{B5AB1C34-EB45-F138-564F-B61D792CEA4E}"/>
          </ac:spMkLst>
        </pc:spChg>
        <pc:spChg chg="mod">
          <ac:chgData name="丁野 光理" userId="53361c9a-10d0-4268-b39c-a1f4044b33f4" providerId="ADAL" clId="{5FE0A016-0A93-4063-8F08-CD48630E8DBB}" dt="2025-02-07T10:53:14.605" v="22945" actId="207"/>
          <ac:spMkLst>
            <pc:docMk/>
            <pc:sldMk cId="2807815468" sldId="2147378693"/>
            <ac:spMk id="22" creationId="{9E9C4C6D-62EF-6870-EF03-ACBF62431744}"/>
          </ac:spMkLst>
        </pc:spChg>
        <pc:spChg chg="mod">
          <ac:chgData name="丁野 光理" userId="53361c9a-10d0-4268-b39c-a1f4044b33f4" providerId="ADAL" clId="{5FE0A016-0A93-4063-8F08-CD48630E8DBB}" dt="2025-02-07T10:53:23.654" v="22949" actId="207"/>
          <ac:spMkLst>
            <pc:docMk/>
            <pc:sldMk cId="2807815468" sldId="2147378693"/>
            <ac:spMk id="63" creationId="{A2DD071A-0195-2A3C-E9A9-9816FA37D9AC}"/>
          </ac:spMkLst>
        </pc:spChg>
        <pc:spChg chg="mod">
          <ac:chgData name="丁野 光理" userId="53361c9a-10d0-4268-b39c-a1f4044b33f4" providerId="ADAL" clId="{5FE0A016-0A93-4063-8F08-CD48630E8DBB}" dt="2025-02-07T10:53:23.654" v="22949" actId="207"/>
          <ac:spMkLst>
            <pc:docMk/>
            <pc:sldMk cId="2807815468" sldId="2147378693"/>
            <ac:spMk id="64" creationId="{28FBAFC8-996E-0183-6007-B849C0563E70}"/>
          </ac:spMkLst>
        </pc:spChg>
        <pc:spChg chg="mod">
          <ac:chgData name="丁野 光理" userId="53361c9a-10d0-4268-b39c-a1f4044b33f4" providerId="ADAL" clId="{5FE0A016-0A93-4063-8F08-CD48630E8DBB}" dt="2025-02-07T10:53:23.654" v="22949" actId="207"/>
          <ac:spMkLst>
            <pc:docMk/>
            <pc:sldMk cId="2807815468" sldId="2147378693"/>
            <ac:spMk id="65" creationId="{57E669E2-341F-5DE9-FC08-5F8B104ABB91}"/>
          </ac:spMkLst>
        </pc:spChg>
        <pc:spChg chg="mod">
          <ac:chgData name="丁野 光理" userId="53361c9a-10d0-4268-b39c-a1f4044b33f4" providerId="ADAL" clId="{5FE0A016-0A93-4063-8F08-CD48630E8DBB}" dt="2025-02-07T10:53:23.654" v="22949" actId="207"/>
          <ac:spMkLst>
            <pc:docMk/>
            <pc:sldMk cId="2807815468" sldId="2147378693"/>
            <ac:spMk id="66" creationId="{54572A44-0063-17F4-A674-86C0FB7C73F2}"/>
          </ac:spMkLst>
        </pc:spChg>
        <pc:spChg chg="mod">
          <ac:chgData name="丁野 光理" userId="53361c9a-10d0-4268-b39c-a1f4044b33f4" providerId="ADAL" clId="{5FE0A016-0A93-4063-8F08-CD48630E8DBB}" dt="2025-02-07T10:53:23.654" v="22949" actId="207"/>
          <ac:spMkLst>
            <pc:docMk/>
            <pc:sldMk cId="2807815468" sldId="2147378693"/>
            <ac:spMk id="67" creationId="{6AC2A3AA-E327-22E1-E253-51EC5732E01C}"/>
          </ac:spMkLst>
        </pc:spChg>
        <pc:spChg chg="mod">
          <ac:chgData name="丁野 光理" userId="53361c9a-10d0-4268-b39c-a1f4044b33f4" providerId="ADAL" clId="{5FE0A016-0A93-4063-8F08-CD48630E8DBB}" dt="2025-02-07T10:53:17.094" v="22946" actId="207"/>
          <ac:spMkLst>
            <pc:docMk/>
            <pc:sldMk cId="2807815468" sldId="2147378693"/>
            <ac:spMk id="69" creationId="{7358E1F9-D900-FAEE-E5D4-01EE75FB2849}"/>
          </ac:spMkLst>
        </pc:spChg>
        <pc:spChg chg="mod">
          <ac:chgData name="丁野 光理" userId="53361c9a-10d0-4268-b39c-a1f4044b33f4" providerId="ADAL" clId="{5FE0A016-0A93-4063-8F08-CD48630E8DBB}" dt="2025-02-07T10:53:17.094" v="22946" actId="207"/>
          <ac:spMkLst>
            <pc:docMk/>
            <pc:sldMk cId="2807815468" sldId="2147378693"/>
            <ac:spMk id="70" creationId="{7A915EC5-6A47-E264-150F-DEF03C43B909}"/>
          </ac:spMkLst>
        </pc:spChg>
        <pc:spChg chg="mod">
          <ac:chgData name="丁野 光理" userId="53361c9a-10d0-4268-b39c-a1f4044b33f4" providerId="ADAL" clId="{5FE0A016-0A93-4063-8F08-CD48630E8DBB}" dt="2025-02-07T10:53:17.094" v="22946" actId="207"/>
          <ac:spMkLst>
            <pc:docMk/>
            <pc:sldMk cId="2807815468" sldId="2147378693"/>
            <ac:spMk id="71" creationId="{165F6F7B-4849-9CE4-9B86-5DADDC407858}"/>
          </ac:spMkLst>
        </pc:spChg>
        <pc:spChg chg="mod">
          <ac:chgData name="丁野 光理" userId="53361c9a-10d0-4268-b39c-a1f4044b33f4" providerId="ADAL" clId="{5FE0A016-0A93-4063-8F08-CD48630E8DBB}" dt="2025-02-07T10:53:17.094" v="22946" actId="207"/>
          <ac:spMkLst>
            <pc:docMk/>
            <pc:sldMk cId="2807815468" sldId="2147378693"/>
            <ac:spMk id="73" creationId="{A1182C33-73BA-46AF-E45C-70818F73D3ED}"/>
          </ac:spMkLst>
        </pc:spChg>
        <pc:spChg chg="mod">
          <ac:chgData name="丁野 光理" userId="53361c9a-10d0-4268-b39c-a1f4044b33f4" providerId="ADAL" clId="{5FE0A016-0A93-4063-8F08-CD48630E8DBB}" dt="2025-02-07T10:53:17.094" v="22946" actId="207"/>
          <ac:spMkLst>
            <pc:docMk/>
            <pc:sldMk cId="2807815468" sldId="2147378693"/>
            <ac:spMk id="76" creationId="{5CDBB21D-8256-9E2D-F47A-638BA24F5F38}"/>
          </ac:spMkLst>
        </pc:spChg>
        <pc:spChg chg="mod">
          <ac:chgData name="丁野 光理" userId="53361c9a-10d0-4268-b39c-a1f4044b33f4" providerId="ADAL" clId="{5FE0A016-0A93-4063-8F08-CD48630E8DBB}" dt="2025-02-07T10:53:21.581" v="22948" actId="207"/>
          <ac:spMkLst>
            <pc:docMk/>
            <pc:sldMk cId="2807815468" sldId="2147378693"/>
            <ac:spMk id="81" creationId="{8AFA2A95-0A68-5666-F467-EF21BDC88A70}"/>
          </ac:spMkLst>
        </pc:spChg>
        <pc:spChg chg="mod">
          <ac:chgData name="丁野 光理" userId="53361c9a-10d0-4268-b39c-a1f4044b33f4" providerId="ADAL" clId="{5FE0A016-0A93-4063-8F08-CD48630E8DBB}" dt="2025-02-07T10:53:21.581" v="22948" actId="207"/>
          <ac:spMkLst>
            <pc:docMk/>
            <pc:sldMk cId="2807815468" sldId="2147378693"/>
            <ac:spMk id="83" creationId="{69F23CBD-6543-7D9D-3CFC-2AACB5B6B755}"/>
          </ac:spMkLst>
        </pc:spChg>
        <pc:spChg chg="mod">
          <ac:chgData name="丁野 光理" userId="53361c9a-10d0-4268-b39c-a1f4044b33f4" providerId="ADAL" clId="{5FE0A016-0A93-4063-8F08-CD48630E8DBB}" dt="2025-02-07T10:53:21.581" v="22948" actId="207"/>
          <ac:spMkLst>
            <pc:docMk/>
            <pc:sldMk cId="2807815468" sldId="2147378693"/>
            <ac:spMk id="84" creationId="{9197490C-72EA-94C9-06C1-E9F805BB8059}"/>
          </ac:spMkLst>
        </pc:spChg>
        <pc:spChg chg="mod">
          <ac:chgData name="丁野 光理" userId="53361c9a-10d0-4268-b39c-a1f4044b33f4" providerId="ADAL" clId="{5FE0A016-0A93-4063-8F08-CD48630E8DBB}" dt="2025-02-07T10:53:21.581" v="22948" actId="207"/>
          <ac:spMkLst>
            <pc:docMk/>
            <pc:sldMk cId="2807815468" sldId="2147378693"/>
            <ac:spMk id="85" creationId="{6A3CA049-1026-4F94-4A3D-446552F57538}"/>
          </ac:spMkLst>
        </pc:spChg>
        <pc:spChg chg="mod">
          <ac:chgData name="丁野 光理" userId="53361c9a-10d0-4268-b39c-a1f4044b33f4" providerId="ADAL" clId="{5FE0A016-0A93-4063-8F08-CD48630E8DBB}" dt="2025-02-07T10:53:19.139" v="22947" actId="207"/>
          <ac:spMkLst>
            <pc:docMk/>
            <pc:sldMk cId="2807815468" sldId="2147378693"/>
            <ac:spMk id="87" creationId="{1E702FFE-EC5B-59C1-0867-10C3A49EC422}"/>
          </ac:spMkLst>
        </pc:spChg>
        <pc:spChg chg="mod">
          <ac:chgData name="丁野 光理" userId="53361c9a-10d0-4268-b39c-a1f4044b33f4" providerId="ADAL" clId="{5FE0A016-0A93-4063-8F08-CD48630E8DBB}" dt="2025-02-07T10:53:19.139" v="22947" actId="207"/>
          <ac:spMkLst>
            <pc:docMk/>
            <pc:sldMk cId="2807815468" sldId="2147378693"/>
            <ac:spMk id="89" creationId="{0E60EBF1-9844-4160-B79F-D64343B948C5}"/>
          </ac:spMkLst>
        </pc:spChg>
        <pc:spChg chg="mod">
          <ac:chgData name="丁野 光理" userId="53361c9a-10d0-4268-b39c-a1f4044b33f4" providerId="ADAL" clId="{5FE0A016-0A93-4063-8F08-CD48630E8DBB}" dt="2025-02-07T10:53:19.139" v="22947" actId="207"/>
          <ac:spMkLst>
            <pc:docMk/>
            <pc:sldMk cId="2807815468" sldId="2147378693"/>
            <ac:spMk id="91" creationId="{4188C613-274B-CF4D-1B81-721EC623362D}"/>
          </ac:spMkLst>
        </pc:spChg>
        <pc:spChg chg="mod">
          <ac:chgData name="丁野 光理" userId="53361c9a-10d0-4268-b39c-a1f4044b33f4" providerId="ADAL" clId="{5FE0A016-0A93-4063-8F08-CD48630E8DBB}" dt="2025-02-07T10:53:19.139" v="22947" actId="207"/>
          <ac:spMkLst>
            <pc:docMk/>
            <pc:sldMk cId="2807815468" sldId="2147378693"/>
            <ac:spMk id="94" creationId="{4AA2B181-3ED9-1C50-DDE8-63B29F94C261}"/>
          </ac:spMkLst>
        </pc:spChg>
        <pc:spChg chg="mod">
          <ac:chgData name="丁野 光理" userId="53361c9a-10d0-4268-b39c-a1f4044b33f4" providerId="ADAL" clId="{5FE0A016-0A93-4063-8F08-CD48630E8DBB}" dt="2025-02-07T12:37:10.127" v="26258" actId="1076"/>
          <ac:spMkLst>
            <pc:docMk/>
            <pc:sldMk cId="2807815468" sldId="2147378693"/>
            <ac:spMk id="101" creationId="{E1C966D4-D0DE-6EFA-035B-F40658EB06CF}"/>
          </ac:spMkLst>
        </pc:spChg>
        <pc:grpChg chg="mod">
          <ac:chgData name="丁野 光理" userId="53361c9a-10d0-4268-b39c-a1f4044b33f4" providerId="ADAL" clId="{5FE0A016-0A93-4063-8F08-CD48630E8DBB}" dt="2025-02-07T12:36:44.934" v="26252" actId="1076"/>
          <ac:grpSpMkLst>
            <pc:docMk/>
            <pc:sldMk cId="2807815468" sldId="2147378693"/>
            <ac:grpSpMk id="68" creationId="{EC9AA473-ED0E-44FE-78A7-001C26A58BF8}"/>
          </ac:grpSpMkLst>
        </pc:grpChg>
        <pc:cxnChg chg="mod">
          <ac:chgData name="丁野 光理" userId="53361c9a-10d0-4268-b39c-a1f4044b33f4" providerId="ADAL" clId="{5FE0A016-0A93-4063-8F08-CD48630E8DBB}" dt="2025-02-07T12:36:20.612" v="26245" actId="1076"/>
          <ac:cxnSpMkLst>
            <pc:docMk/>
            <pc:sldMk cId="2807815468" sldId="2147378693"/>
            <ac:cxnSpMk id="23" creationId="{90614D4C-6FFB-7009-BDCA-A3CC64705602}"/>
          </ac:cxnSpMkLst>
        </pc:cxnChg>
        <pc:cxnChg chg="mod">
          <ac:chgData name="丁野 光理" userId="53361c9a-10d0-4268-b39c-a1f4044b33f4" providerId="ADAL" clId="{5FE0A016-0A93-4063-8F08-CD48630E8DBB}" dt="2025-02-07T12:36:25.323" v="26246" actId="1076"/>
          <ac:cxnSpMkLst>
            <pc:docMk/>
            <pc:sldMk cId="2807815468" sldId="2147378693"/>
            <ac:cxnSpMk id="24" creationId="{1E32557E-13C3-FCE9-37B7-ED182EA3FD19}"/>
          </ac:cxnSpMkLst>
        </pc:cxnChg>
        <pc:cxnChg chg="mod">
          <ac:chgData name="丁野 光理" userId="53361c9a-10d0-4268-b39c-a1f4044b33f4" providerId="ADAL" clId="{5FE0A016-0A93-4063-8F08-CD48630E8DBB}" dt="2025-02-07T12:36:28.178" v="26247" actId="1076"/>
          <ac:cxnSpMkLst>
            <pc:docMk/>
            <pc:sldMk cId="2807815468" sldId="2147378693"/>
            <ac:cxnSpMk id="25" creationId="{33D365C3-7B6C-C540-3B17-4657D3E45C3A}"/>
          </ac:cxnSpMkLst>
        </pc:cxnChg>
        <pc:cxnChg chg="mod">
          <ac:chgData name="丁野 光理" userId="53361c9a-10d0-4268-b39c-a1f4044b33f4" providerId="ADAL" clId="{5FE0A016-0A93-4063-8F08-CD48630E8DBB}" dt="2025-02-07T12:36:37.363" v="26249" actId="1076"/>
          <ac:cxnSpMkLst>
            <pc:docMk/>
            <pc:sldMk cId="2807815468" sldId="2147378693"/>
            <ac:cxnSpMk id="77" creationId="{AA056350-8AC9-2713-7475-13ABC01B4F40}"/>
          </ac:cxnSpMkLst>
        </pc:cxnChg>
        <pc:cxnChg chg="mod">
          <ac:chgData name="丁野 光理" userId="53361c9a-10d0-4268-b39c-a1f4044b33f4" providerId="ADAL" clId="{5FE0A016-0A93-4063-8F08-CD48630E8DBB}" dt="2025-02-07T12:36:41.323" v="26250" actId="1076"/>
          <ac:cxnSpMkLst>
            <pc:docMk/>
            <pc:sldMk cId="2807815468" sldId="2147378693"/>
            <ac:cxnSpMk id="78" creationId="{A7255239-15B9-7B60-9EC2-7D4BB58554F7}"/>
          </ac:cxnSpMkLst>
        </pc:cxnChg>
        <pc:cxnChg chg="mod">
          <ac:chgData name="丁野 光理" userId="53361c9a-10d0-4268-b39c-a1f4044b33f4" providerId="ADAL" clId="{5FE0A016-0A93-4063-8F08-CD48630E8DBB}" dt="2025-02-07T12:36:51.262" v="26253" actId="1076"/>
          <ac:cxnSpMkLst>
            <pc:docMk/>
            <pc:sldMk cId="2807815468" sldId="2147378693"/>
            <ac:cxnSpMk id="79" creationId="{EE91379F-71AC-4602-1EC0-EF8B33894B55}"/>
          </ac:cxnSpMkLst>
        </pc:cxnChg>
        <pc:cxnChg chg="mod">
          <ac:chgData name="丁野 光理" userId="53361c9a-10d0-4268-b39c-a1f4044b33f4" providerId="ADAL" clId="{5FE0A016-0A93-4063-8F08-CD48630E8DBB}" dt="2025-02-07T12:36:55.985" v="26254" actId="1076"/>
          <ac:cxnSpMkLst>
            <pc:docMk/>
            <pc:sldMk cId="2807815468" sldId="2147378693"/>
            <ac:cxnSpMk id="95" creationId="{37BBD476-5CFC-0C07-085C-79CB28D8A685}"/>
          </ac:cxnSpMkLst>
        </pc:cxnChg>
        <pc:cxnChg chg="mod">
          <ac:chgData name="丁野 光理" userId="53361c9a-10d0-4268-b39c-a1f4044b33f4" providerId="ADAL" clId="{5FE0A016-0A93-4063-8F08-CD48630E8DBB}" dt="2025-02-07T12:37:00.899" v="26255" actId="1076"/>
          <ac:cxnSpMkLst>
            <pc:docMk/>
            <pc:sldMk cId="2807815468" sldId="2147378693"/>
            <ac:cxnSpMk id="96" creationId="{5B8E2E58-6B75-5B68-38A9-844858570D7C}"/>
          </ac:cxnSpMkLst>
        </pc:cxnChg>
        <pc:extLst>
          <p:ext xmlns:p="http://schemas.openxmlformats.org/presentationml/2006/main" uri="{D6D511B9-2390-475A-947B-AFAB55BFBCF1}">
            <pc226:cmChg xmlns:pc226="http://schemas.microsoft.com/office/powerpoint/2022/06/main/command" chg="add del mod">
              <pc226:chgData name="丁野 光理" userId="53361c9a-10d0-4268-b39c-a1f4044b33f4" providerId="ADAL" clId="{5FE0A016-0A93-4063-8F08-CD48630E8DBB}" dt="2025-02-07T10:53:28.299" v="22951"/>
              <pc2:cmMkLst xmlns:pc2="http://schemas.microsoft.com/office/powerpoint/2019/9/main/command">
                <pc:docMk/>
                <pc:sldMk cId="2807815468" sldId="2147378693"/>
                <pc2:cmMk id="{6F6C854D-1C12-4AC2-8462-D639E852602F}"/>
              </pc2:cmMkLst>
            </pc226:cmChg>
          </p:ext>
        </pc:extLst>
      </pc:sldChg>
      <pc:sldChg chg="addSp delSp modSp mod ord">
        <pc:chgData name="丁野 光理" userId="53361c9a-10d0-4268-b39c-a1f4044b33f4" providerId="ADAL" clId="{5FE0A016-0A93-4063-8F08-CD48630E8DBB}" dt="2025-02-07T11:29:38.623" v="24617" actId="20577"/>
        <pc:sldMkLst>
          <pc:docMk/>
          <pc:sldMk cId="1631142101" sldId="2147378694"/>
        </pc:sldMkLst>
        <pc:spChg chg="mod">
          <ac:chgData name="丁野 光理" userId="53361c9a-10d0-4268-b39c-a1f4044b33f4" providerId="ADAL" clId="{5FE0A016-0A93-4063-8F08-CD48630E8DBB}" dt="2025-02-06T15:12:35.805" v="7937"/>
          <ac:spMkLst>
            <pc:docMk/>
            <pc:sldMk cId="1631142101" sldId="2147378694"/>
            <ac:spMk id="3" creationId="{70780FBB-7DBC-40F0-B7E0-775409B1875A}"/>
          </ac:spMkLst>
        </pc:spChg>
        <pc:spChg chg="add mod">
          <ac:chgData name="丁野 光理" userId="53361c9a-10d0-4268-b39c-a1f4044b33f4" providerId="ADAL" clId="{5FE0A016-0A93-4063-8F08-CD48630E8DBB}" dt="2025-02-06T15:11:50.970" v="7902"/>
          <ac:spMkLst>
            <pc:docMk/>
            <pc:sldMk cId="1631142101" sldId="2147378694"/>
            <ac:spMk id="4" creationId="{09E2DAED-892F-EDC5-EDA1-39E5F22DCA70}"/>
          </ac:spMkLst>
        </pc:spChg>
        <pc:spChg chg="del">
          <ac:chgData name="丁野 光理" userId="53361c9a-10d0-4268-b39c-a1f4044b33f4" providerId="ADAL" clId="{5FE0A016-0A93-4063-8F08-CD48630E8DBB}" dt="2025-01-29T13:06:22.797" v="123" actId="478"/>
          <ac:spMkLst>
            <pc:docMk/>
            <pc:sldMk cId="1631142101" sldId="2147378694"/>
            <ac:spMk id="6" creationId="{7CABF31E-164B-05A5-D57B-0E33F4E31404}"/>
          </ac:spMkLst>
        </pc:spChg>
        <pc:spChg chg="mod">
          <ac:chgData name="丁野 光理" userId="53361c9a-10d0-4268-b39c-a1f4044b33f4" providerId="ADAL" clId="{5FE0A016-0A93-4063-8F08-CD48630E8DBB}" dt="2025-02-07T11:29:38.623" v="24617" actId="20577"/>
          <ac:spMkLst>
            <pc:docMk/>
            <pc:sldMk cId="1631142101" sldId="2147378694"/>
            <ac:spMk id="9" creationId="{D22A0A06-D5A8-4A1A-B66F-2A8EDBD644F1}"/>
          </ac:spMkLst>
        </pc:spChg>
        <pc:picChg chg="add mod">
          <ac:chgData name="丁野 光理" userId="53361c9a-10d0-4268-b39c-a1f4044b33f4" providerId="ADAL" clId="{5FE0A016-0A93-4063-8F08-CD48630E8DBB}" dt="2025-01-29T13:06:48.168" v="125"/>
          <ac:picMkLst>
            <pc:docMk/>
            <pc:sldMk cId="1631142101" sldId="2147378694"/>
            <ac:picMk id="2" creationId="{C73CE7FB-87DE-3BC3-10E0-D337B38D128B}"/>
          </ac:picMkLst>
        </pc:picChg>
        <pc:picChg chg="del">
          <ac:chgData name="丁野 光理" userId="53361c9a-10d0-4268-b39c-a1f4044b33f4" providerId="ADAL" clId="{5FE0A016-0A93-4063-8F08-CD48630E8DBB}" dt="2025-01-29T13:06:47.943" v="124" actId="478"/>
          <ac:picMkLst>
            <pc:docMk/>
            <pc:sldMk cId="1631142101" sldId="2147378694"/>
            <ac:picMk id="4" creationId="{FC4B38B3-AC09-CD90-16CB-03477FA3C09E}"/>
          </ac:picMkLst>
        </pc:picChg>
      </pc:sldChg>
      <pc:sldChg chg="addSp delSp modSp del mod ord">
        <pc:chgData name="丁野 光理" userId="53361c9a-10d0-4268-b39c-a1f4044b33f4" providerId="ADAL" clId="{5FE0A016-0A93-4063-8F08-CD48630E8DBB}" dt="2025-02-06T15:23:20.739" v="8066" actId="47"/>
        <pc:sldMkLst>
          <pc:docMk/>
          <pc:sldMk cId="3347821416" sldId="2147378698"/>
        </pc:sldMkLst>
        <pc:spChg chg="add mod">
          <ac:chgData name="丁野 光理" userId="53361c9a-10d0-4268-b39c-a1f4044b33f4" providerId="ADAL" clId="{5FE0A016-0A93-4063-8F08-CD48630E8DBB}" dt="2025-01-31T12:40:34.376" v="531"/>
          <ac:spMkLst>
            <pc:docMk/>
            <pc:sldMk cId="3347821416" sldId="2147378698"/>
            <ac:spMk id="3" creationId="{23107F22-3699-2626-6271-5D1E8D182DFD}"/>
          </ac:spMkLst>
        </pc:spChg>
        <pc:spChg chg="del">
          <ac:chgData name="丁野 光理" userId="53361c9a-10d0-4268-b39c-a1f4044b33f4" providerId="ADAL" clId="{5FE0A016-0A93-4063-8F08-CD48630E8DBB}" dt="2025-01-29T13:06:16.973" v="122" actId="478"/>
          <ac:spMkLst>
            <pc:docMk/>
            <pc:sldMk cId="3347821416" sldId="2147378698"/>
            <ac:spMk id="4" creationId="{9986CF63-9F4F-EEC8-16B1-03EAAE162369}"/>
          </ac:spMkLst>
        </pc:spChg>
      </pc:sldChg>
      <pc:sldChg chg="delSp modSp del mod">
        <pc:chgData name="丁野 光理" userId="53361c9a-10d0-4268-b39c-a1f4044b33f4" providerId="ADAL" clId="{5FE0A016-0A93-4063-8F08-CD48630E8DBB}" dt="2025-02-06T15:25:21.012" v="8078" actId="47"/>
        <pc:sldMkLst>
          <pc:docMk/>
          <pc:sldMk cId="190838501" sldId="2147378699"/>
        </pc:sldMkLst>
        <pc:spChg chg="del">
          <ac:chgData name="丁野 光理" userId="53361c9a-10d0-4268-b39c-a1f4044b33f4" providerId="ADAL" clId="{5FE0A016-0A93-4063-8F08-CD48630E8DBB}" dt="2025-01-29T13:05:48.768" v="30" actId="478"/>
          <ac:spMkLst>
            <pc:docMk/>
            <pc:sldMk cId="190838501" sldId="2147378699"/>
            <ac:spMk id="3" creationId="{C3720E54-FD1F-DDED-C885-DFDBDFBC33BD}"/>
          </ac:spMkLst>
        </pc:spChg>
        <pc:graphicFrameChg chg="mod modGraphic">
          <ac:chgData name="丁野 光理" userId="53361c9a-10d0-4268-b39c-a1f4044b33f4" providerId="ADAL" clId="{5FE0A016-0A93-4063-8F08-CD48630E8DBB}" dt="2025-01-29T13:06:06.763" v="118"/>
          <ac:graphicFrameMkLst>
            <pc:docMk/>
            <pc:sldMk cId="190838501" sldId="2147378699"/>
            <ac:graphicFrameMk id="2" creationId="{5E62C5DD-8E38-39C6-A171-A79017DD18C4}"/>
          </ac:graphicFrameMkLst>
        </pc:graphicFrameChg>
      </pc:sldChg>
      <pc:sldChg chg="delSp modSp del mod">
        <pc:chgData name="丁野 光理" userId="53361c9a-10d0-4268-b39c-a1f4044b33f4" providerId="ADAL" clId="{5FE0A016-0A93-4063-8F08-CD48630E8DBB}" dt="2025-02-06T15:25:23.162" v="8079" actId="47"/>
        <pc:sldMkLst>
          <pc:docMk/>
          <pc:sldMk cId="959679513" sldId="2147378701"/>
        </pc:sldMkLst>
        <pc:spChg chg="del">
          <ac:chgData name="丁野 光理" userId="53361c9a-10d0-4268-b39c-a1f4044b33f4" providerId="ADAL" clId="{5FE0A016-0A93-4063-8F08-CD48630E8DBB}" dt="2025-01-29T13:05:44.123" v="29" actId="478"/>
          <ac:spMkLst>
            <pc:docMk/>
            <pc:sldMk cId="959679513" sldId="2147378701"/>
            <ac:spMk id="4" creationId="{C0D0AFEB-3FED-E797-776D-18785F5B85FD}"/>
          </ac:spMkLst>
        </pc:spChg>
        <pc:graphicFrameChg chg="modGraphic">
          <ac:chgData name="丁野 光理" userId="53361c9a-10d0-4268-b39c-a1f4044b33f4" providerId="ADAL" clId="{5FE0A016-0A93-4063-8F08-CD48630E8DBB}" dt="2025-01-31T12:51:11.746" v="648" actId="6549"/>
          <ac:graphicFrameMkLst>
            <pc:docMk/>
            <pc:sldMk cId="959679513" sldId="2147378701"/>
            <ac:graphicFrameMk id="3" creationId="{1E352AD7-4D05-33EE-61E0-3F07FA0F915F}"/>
          </ac:graphicFrameMkLst>
        </pc:graphicFrameChg>
      </pc:sldChg>
      <pc:sldChg chg="delSp del mod addCm">
        <pc:chgData name="丁野 光理" userId="53361c9a-10d0-4268-b39c-a1f4044b33f4" providerId="ADAL" clId="{5FE0A016-0A93-4063-8F08-CD48630E8DBB}" dt="2025-02-06T15:25:24.024" v="8080" actId="47"/>
        <pc:sldMkLst>
          <pc:docMk/>
          <pc:sldMk cId="444370572" sldId="2147378702"/>
        </pc:sldMkLst>
        <pc:spChg chg="del">
          <ac:chgData name="丁野 光理" userId="53361c9a-10d0-4268-b39c-a1f4044b33f4" providerId="ADAL" clId="{5FE0A016-0A93-4063-8F08-CD48630E8DBB}" dt="2025-01-29T13:05:41.363" v="28" actId="478"/>
          <ac:spMkLst>
            <pc:docMk/>
            <pc:sldMk cId="444370572" sldId="2147378702"/>
            <ac:spMk id="3" creationId="{85ECF3D7-D949-2422-CEE1-82F658C4178F}"/>
          </ac:spMkLst>
        </pc:spChg>
        <pc:extLst>
          <p:ext xmlns:p="http://schemas.openxmlformats.org/presentationml/2006/main" uri="{D6D511B9-2390-475A-947B-AFAB55BFBCF1}">
            <pc226:cmChg xmlns:pc226="http://schemas.microsoft.com/office/powerpoint/2022/06/main/command" chg="add">
              <pc226:chgData name="丁野 光理" userId="53361c9a-10d0-4268-b39c-a1f4044b33f4" providerId="ADAL" clId="{5FE0A016-0A93-4063-8F08-CD48630E8DBB}" dt="2025-02-06T06:27:28.485" v="1110"/>
              <pc2:cmMkLst xmlns:pc2="http://schemas.microsoft.com/office/powerpoint/2019/9/main/command">
                <pc:docMk/>
                <pc:sldMk cId="444370572" sldId="2147378702"/>
                <pc2:cmMk id="{865B2BDF-1A2C-418D-B0BF-378B4327AF7B}"/>
              </pc2:cmMkLst>
            </pc226:cmChg>
          </p:ext>
        </pc:extLst>
      </pc:sldChg>
      <pc:sldChg chg="addSp delSp modSp mod ord">
        <pc:chgData name="丁野 光理" userId="53361c9a-10d0-4268-b39c-a1f4044b33f4" providerId="ADAL" clId="{5FE0A016-0A93-4063-8F08-CD48630E8DBB}" dt="2025-02-07T11:27:18.648" v="24592" actId="20577"/>
        <pc:sldMkLst>
          <pc:docMk/>
          <pc:sldMk cId="112285639" sldId="2147378703"/>
        </pc:sldMkLst>
        <pc:spChg chg="mod">
          <ac:chgData name="丁野 光理" userId="53361c9a-10d0-4268-b39c-a1f4044b33f4" providerId="ADAL" clId="{5FE0A016-0A93-4063-8F08-CD48630E8DBB}" dt="2025-02-06T16:02:54.325" v="10754"/>
          <ac:spMkLst>
            <pc:docMk/>
            <pc:sldMk cId="112285639" sldId="2147378703"/>
            <ac:spMk id="3" creationId="{417A18CA-0059-03EF-FE57-D2DBA870D210}"/>
          </ac:spMkLst>
        </pc:spChg>
        <pc:spChg chg="mod">
          <ac:chgData name="丁野 光理" userId="53361c9a-10d0-4268-b39c-a1f4044b33f4" providerId="ADAL" clId="{5FE0A016-0A93-4063-8F08-CD48630E8DBB}" dt="2025-02-07T11:27:18.648" v="24592" actId="20577"/>
          <ac:spMkLst>
            <pc:docMk/>
            <pc:sldMk cId="112285639" sldId="2147378703"/>
            <ac:spMk id="4" creationId="{4F1B8C31-A2AA-E8B5-6842-B8CA68666E37}"/>
          </ac:spMkLst>
        </pc:spChg>
        <pc:spChg chg="add mod">
          <ac:chgData name="丁野 光理" userId="53361c9a-10d0-4268-b39c-a1f4044b33f4" providerId="ADAL" clId="{5FE0A016-0A93-4063-8F08-CD48630E8DBB}" dt="2025-01-31T12:40:22.838" v="528"/>
          <ac:spMkLst>
            <pc:docMk/>
            <pc:sldMk cId="112285639" sldId="2147378703"/>
            <ac:spMk id="5" creationId="{07FDD3E2-893C-7C7D-69AA-ED74F7AC6940}"/>
          </ac:spMkLst>
        </pc:spChg>
        <pc:spChg chg="del">
          <ac:chgData name="丁野 光理" userId="53361c9a-10d0-4268-b39c-a1f4044b33f4" providerId="ADAL" clId="{5FE0A016-0A93-4063-8F08-CD48630E8DBB}" dt="2025-01-29T13:05:35.329" v="26" actId="478"/>
          <ac:spMkLst>
            <pc:docMk/>
            <pc:sldMk cId="112285639" sldId="2147378703"/>
            <ac:spMk id="13" creationId="{ED88E5C2-1CEC-3507-1A41-A32A9F740D09}"/>
          </ac:spMkLst>
        </pc:spChg>
        <pc:picChg chg="mod">
          <ac:chgData name="丁野 光理" userId="53361c9a-10d0-4268-b39c-a1f4044b33f4" providerId="ADAL" clId="{5FE0A016-0A93-4063-8F08-CD48630E8DBB}" dt="2025-01-31T12:40:15.467" v="511" actId="1076"/>
          <ac:picMkLst>
            <pc:docMk/>
            <pc:sldMk cId="112285639" sldId="2147378703"/>
            <ac:picMk id="12" creationId="{920D49B5-780A-0B0E-081E-8188B35BACC6}"/>
          </ac:picMkLst>
        </pc:picChg>
      </pc:sldChg>
      <pc:sldChg chg="delSp modSp mod">
        <pc:chgData name="丁野 光理" userId="53361c9a-10d0-4268-b39c-a1f4044b33f4" providerId="ADAL" clId="{5FE0A016-0A93-4063-8F08-CD48630E8DBB}" dt="2025-02-06T13:17:34.949" v="2559"/>
        <pc:sldMkLst>
          <pc:docMk/>
          <pc:sldMk cId="936371591" sldId="2147378704"/>
        </pc:sldMkLst>
        <pc:spChg chg="mod">
          <ac:chgData name="丁野 光理" userId="53361c9a-10d0-4268-b39c-a1f4044b33f4" providerId="ADAL" clId="{5FE0A016-0A93-4063-8F08-CD48630E8DBB}" dt="2025-02-06T13:17:34.949" v="2559"/>
          <ac:spMkLst>
            <pc:docMk/>
            <pc:sldMk cId="936371591" sldId="2147378704"/>
            <ac:spMk id="3" creationId="{3889FB1B-DE63-B6FC-8D02-5D400D923577}"/>
          </ac:spMkLst>
        </pc:spChg>
        <pc:spChg chg="del">
          <ac:chgData name="丁野 光理" userId="53361c9a-10d0-4268-b39c-a1f4044b33f4" providerId="ADAL" clId="{5FE0A016-0A93-4063-8F08-CD48630E8DBB}" dt="2025-01-29T13:05:27.251" v="24" actId="478"/>
          <ac:spMkLst>
            <pc:docMk/>
            <pc:sldMk cId="936371591" sldId="2147378704"/>
            <ac:spMk id="7" creationId="{91D9460F-1390-32F5-1B0E-70693C6D1EFA}"/>
          </ac:spMkLst>
        </pc:spChg>
      </pc:sldChg>
      <pc:sldChg chg="addSp delSp modSp mod">
        <pc:chgData name="丁野 光理" userId="53361c9a-10d0-4268-b39c-a1f4044b33f4" providerId="ADAL" clId="{5FE0A016-0A93-4063-8F08-CD48630E8DBB}" dt="2025-02-07T11:31:18.775" v="24680" actId="20577"/>
        <pc:sldMkLst>
          <pc:docMk/>
          <pc:sldMk cId="439687747" sldId="2147378705"/>
        </pc:sldMkLst>
        <pc:spChg chg="mod">
          <ac:chgData name="丁野 光理" userId="53361c9a-10d0-4268-b39c-a1f4044b33f4" providerId="ADAL" clId="{5FE0A016-0A93-4063-8F08-CD48630E8DBB}" dt="2025-02-06T13:17:42.440" v="2561"/>
          <ac:spMkLst>
            <pc:docMk/>
            <pc:sldMk cId="439687747" sldId="2147378705"/>
            <ac:spMk id="3" creationId="{3889FB1B-DE63-B6FC-8D02-5D400D923577}"/>
          </ac:spMkLst>
        </pc:spChg>
        <pc:spChg chg="mod">
          <ac:chgData name="丁野 光理" userId="53361c9a-10d0-4268-b39c-a1f4044b33f4" providerId="ADAL" clId="{5FE0A016-0A93-4063-8F08-CD48630E8DBB}" dt="2025-02-07T11:31:18.775" v="24680" actId="20577"/>
          <ac:spMkLst>
            <pc:docMk/>
            <pc:sldMk cId="439687747" sldId="2147378705"/>
            <ac:spMk id="4" creationId="{12C53150-040F-52DA-C62A-71223FB5EBC3}"/>
          </ac:spMkLst>
        </pc:spChg>
        <pc:spChg chg="add mod">
          <ac:chgData name="丁野 光理" userId="53361c9a-10d0-4268-b39c-a1f4044b33f4" providerId="ADAL" clId="{5FE0A016-0A93-4063-8F08-CD48630E8DBB}" dt="2025-02-06T08:12:33.902" v="1154"/>
          <ac:spMkLst>
            <pc:docMk/>
            <pc:sldMk cId="439687747" sldId="2147378705"/>
            <ac:spMk id="6" creationId="{05C1BC80-6DE9-57F3-13C1-E4ECE8B12C3B}"/>
          </ac:spMkLst>
        </pc:spChg>
        <pc:spChg chg="del">
          <ac:chgData name="丁野 光理" userId="53361c9a-10d0-4268-b39c-a1f4044b33f4" providerId="ADAL" clId="{5FE0A016-0A93-4063-8F08-CD48630E8DBB}" dt="2025-02-06T08:12:45.880" v="1155" actId="478"/>
          <ac:spMkLst>
            <pc:docMk/>
            <pc:sldMk cId="439687747" sldId="2147378705"/>
            <ac:spMk id="8" creationId="{38333055-868E-3B45-D1A3-9ED0F6B26E6C}"/>
          </ac:spMkLst>
        </pc:spChg>
        <pc:spChg chg="del">
          <ac:chgData name="丁野 光理" userId="53361c9a-10d0-4268-b39c-a1f4044b33f4" providerId="ADAL" clId="{5FE0A016-0A93-4063-8F08-CD48630E8DBB}" dt="2025-02-06T08:12:46.997" v="1156" actId="478"/>
          <ac:spMkLst>
            <pc:docMk/>
            <pc:sldMk cId="439687747" sldId="2147378705"/>
            <ac:spMk id="9" creationId="{0490EF25-1B88-3765-9B91-BDB4277BA6DF}"/>
          </ac:spMkLst>
        </pc:spChg>
        <pc:spChg chg="del">
          <ac:chgData name="丁野 光理" userId="53361c9a-10d0-4268-b39c-a1f4044b33f4" providerId="ADAL" clId="{5FE0A016-0A93-4063-8F08-CD48630E8DBB}" dt="2025-01-29T13:05:21.300" v="22" actId="478"/>
          <ac:spMkLst>
            <pc:docMk/>
            <pc:sldMk cId="439687747" sldId="2147378705"/>
            <ac:spMk id="11" creationId="{1A8F0DD0-8F45-CA15-6129-E1D2CD076C53}"/>
          </ac:spMkLst>
        </pc:spChg>
        <pc:grpChg chg="del mod">
          <ac:chgData name="丁野 光理" userId="53361c9a-10d0-4268-b39c-a1f4044b33f4" providerId="ADAL" clId="{5FE0A016-0A93-4063-8F08-CD48630E8DBB}" dt="2025-02-06T08:12:45.880" v="1155" actId="478"/>
          <ac:grpSpMkLst>
            <pc:docMk/>
            <pc:sldMk cId="439687747" sldId="2147378705"/>
            <ac:grpSpMk id="7" creationId="{C704F631-0929-C676-BDD4-CB82AEA6081F}"/>
          </ac:grpSpMkLst>
        </pc:grpChg>
        <pc:graphicFrameChg chg="mod">
          <ac:chgData name="丁野 光理" userId="53361c9a-10d0-4268-b39c-a1f4044b33f4" providerId="ADAL" clId="{5FE0A016-0A93-4063-8F08-CD48630E8DBB}" dt="2025-02-06T08:13:17.832" v="1195"/>
          <ac:graphicFrameMkLst>
            <pc:docMk/>
            <pc:sldMk cId="439687747" sldId="2147378705"/>
            <ac:graphicFrameMk id="2" creationId="{D78F7A95-31FB-06D3-5B63-5BEDF8ABCBC0}"/>
          </ac:graphicFrameMkLst>
        </pc:graphicFrameChg>
        <pc:cxnChg chg="mod">
          <ac:chgData name="丁野 光理" userId="53361c9a-10d0-4268-b39c-a1f4044b33f4" providerId="ADAL" clId="{5FE0A016-0A93-4063-8F08-CD48630E8DBB}" dt="2025-02-06T08:12:57.173" v="1192" actId="1035"/>
          <ac:cxnSpMkLst>
            <pc:docMk/>
            <pc:sldMk cId="439687747" sldId="2147378705"/>
            <ac:cxnSpMk id="10" creationId="{6735B9E2-CEAA-B979-67C8-2554417B1CDE}"/>
          </ac:cxnSpMkLst>
        </pc:cxnChg>
      </pc:sldChg>
      <pc:sldChg chg="delSp modSp mod">
        <pc:chgData name="丁野 光理" userId="53361c9a-10d0-4268-b39c-a1f4044b33f4" providerId="ADAL" clId="{5FE0A016-0A93-4063-8F08-CD48630E8DBB}" dt="2025-02-06T13:17:45.045" v="2562"/>
        <pc:sldMkLst>
          <pc:docMk/>
          <pc:sldMk cId="1075793544" sldId="2147378706"/>
        </pc:sldMkLst>
        <pc:spChg chg="mod">
          <ac:chgData name="丁野 光理" userId="53361c9a-10d0-4268-b39c-a1f4044b33f4" providerId="ADAL" clId="{5FE0A016-0A93-4063-8F08-CD48630E8DBB}" dt="2025-02-06T13:17:45.045" v="2562"/>
          <ac:spMkLst>
            <pc:docMk/>
            <pc:sldMk cId="1075793544" sldId="2147378706"/>
            <ac:spMk id="3" creationId="{3889FB1B-DE63-B6FC-8D02-5D400D923577}"/>
          </ac:spMkLst>
        </pc:spChg>
        <pc:spChg chg="mod">
          <ac:chgData name="丁野 光理" userId="53361c9a-10d0-4268-b39c-a1f4044b33f4" providerId="ADAL" clId="{5FE0A016-0A93-4063-8F08-CD48630E8DBB}" dt="2025-02-06T08:13:35.273" v="1209" actId="1035"/>
          <ac:spMkLst>
            <pc:docMk/>
            <pc:sldMk cId="1075793544" sldId="2147378706"/>
            <ac:spMk id="6" creationId="{9FFD2353-EF62-BFA0-5B44-F7ABF536D584}"/>
          </ac:spMkLst>
        </pc:spChg>
        <pc:spChg chg="mod">
          <ac:chgData name="丁野 光理" userId="53361c9a-10d0-4268-b39c-a1f4044b33f4" providerId="ADAL" clId="{5FE0A016-0A93-4063-8F08-CD48630E8DBB}" dt="2025-02-06T08:13:35.273" v="1209" actId="1035"/>
          <ac:spMkLst>
            <pc:docMk/>
            <pc:sldMk cId="1075793544" sldId="2147378706"/>
            <ac:spMk id="8" creationId="{01D4BCA7-C89A-20E2-6428-C51A003E8B36}"/>
          </ac:spMkLst>
        </pc:spChg>
        <pc:spChg chg="del">
          <ac:chgData name="丁野 光理" userId="53361c9a-10d0-4268-b39c-a1f4044b33f4" providerId="ADAL" clId="{5FE0A016-0A93-4063-8F08-CD48630E8DBB}" dt="2025-02-06T08:13:30.130" v="1196" actId="478"/>
          <ac:spMkLst>
            <pc:docMk/>
            <pc:sldMk cId="1075793544" sldId="2147378706"/>
            <ac:spMk id="9" creationId="{0490EF25-1B88-3765-9B91-BDB4277BA6DF}"/>
          </ac:spMkLst>
        </pc:spChg>
        <pc:spChg chg="mod">
          <ac:chgData name="丁野 光理" userId="53361c9a-10d0-4268-b39c-a1f4044b33f4" providerId="ADAL" clId="{5FE0A016-0A93-4063-8F08-CD48630E8DBB}" dt="2025-02-06T08:13:35.273" v="1209" actId="1035"/>
          <ac:spMkLst>
            <pc:docMk/>
            <pc:sldMk cId="1075793544" sldId="2147378706"/>
            <ac:spMk id="10" creationId="{C6836692-CDAE-C475-A8B0-1602682A1D72}"/>
          </ac:spMkLst>
        </pc:spChg>
        <pc:spChg chg="mod">
          <ac:chgData name="丁野 光理" userId="53361c9a-10d0-4268-b39c-a1f4044b33f4" providerId="ADAL" clId="{5FE0A016-0A93-4063-8F08-CD48630E8DBB}" dt="2025-02-06T08:13:35.273" v="1209" actId="1035"/>
          <ac:spMkLst>
            <pc:docMk/>
            <pc:sldMk cId="1075793544" sldId="2147378706"/>
            <ac:spMk id="11" creationId="{F671E48A-0AEB-34DC-C9B0-947ACB9BE53F}"/>
          </ac:spMkLst>
        </pc:spChg>
        <pc:spChg chg="mod">
          <ac:chgData name="丁野 光理" userId="53361c9a-10d0-4268-b39c-a1f4044b33f4" providerId="ADAL" clId="{5FE0A016-0A93-4063-8F08-CD48630E8DBB}" dt="2025-02-06T08:13:35.273" v="1209" actId="1035"/>
          <ac:spMkLst>
            <pc:docMk/>
            <pc:sldMk cId="1075793544" sldId="2147378706"/>
            <ac:spMk id="12" creationId="{F1215F89-A0A0-AB28-F8E7-84581D64B7EE}"/>
          </ac:spMkLst>
        </pc:spChg>
        <pc:spChg chg="mod">
          <ac:chgData name="丁野 光理" userId="53361c9a-10d0-4268-b39c-a1f4044b33f4" providerId="ADAL" clId="{5FE0A016-0A93-4063-8F08-CD48630E8DBB}" dt="2025-02-06T08:13:35.273" v="1209" actId="1035"/>
          <ac:spMkLst>
            <pc:docMk/>
            <pc:sldMk cId="1075793544" sldId="2147378706"/>
            <ac:spMk id="13" creationId="{DD2FC9B4-133C-45AC-F63A-4DA5444194C1}"/>
          </ac:spMkLst>
        </pc:spChg>
        <pc:spChg chg="mod">
          <ac:chgData name="丁野 光理" userId="53361c9a-10d0-4268-b39c-a1f4044b33f4" providerId="ADAL" clId="{5FE0A016-0A93-4063-8F08-CD48630E8DBB}" dt="2025-02-06T08:13:35.273" v="1209" actId="1035"/>
          <ac:spMkLst>
            <pc:docMk/>
            <pc:sldMk cId="1075793544" sldId="2147378706"/>
            <ac:spMk id="14" creationId="{85688145-F176-E15B-9ADA-FF1D4E4EAD73}"/>
          </ac:spMkLst>
        </pc:spChg>
        <pc:spChg chg="mod">
          <ac:chgData name="丁野 光理" userId="53361c9a-10d0-4268-b39c-a1f4044b33f4" providerId="ADAL" clId="{5FE0A016-0A93-4063-8F08-CD48630E8DBB}" dt="2025-02-06T08:13:35.273" v="1209" actId="1035"/>
          <ac:spMkLst>
            <pc:docMk/>
            <pc:sldMk cId="1075793544" sldId="2147378706"/>
            <ac:spMk id="15" creationId="{9CA01B65-AA7F-E153-53A0-22F4C72906C9}"/>
          </ac:spMkLst>
        </pc:spChg>
        <pc:spChg chg="mod">
          <ac:chgData name="丁野 光理" userId="53361c9a-10d0-4268-b39c-a1f4044b33f4" providerId="ADAL" clId="{5FE0A016-0A93-4063-8F08-CD48630E8DBB}" dt="2025-02-06T08:13:35.273" v="1209" actId="1035"/>
          <ac:spMkLst>
            <pc:docMk/>
            <pc:sldMk cId="1075793544" sldId="2147378706"/>
            <ac:spMk id="16" creationId="{4ED0277C-A056-D022-829C-561BA5F238E4}"/>
          </ac:spMkLst>
        </pc:spChg>
        <pc:spChg chg="mod">
          <ac:chgData name="丁野 光理" userId="53361c9a-10d0-4268-b39c-a1f4044b33f4" providerId="ADAL" clId="{5FE0A016-0A93-4063-8F08-CD48630E8DBB}" dt="2025-02-06T08:13:35.273" v="1209" actId="1035"/>
          <ac:spMkLst>
            <pc:docMk/>
            <pc:sldMk cId="1075793544" sldId="2147378706"/>
            <ac:spMk id="20" creationId="{E8836C59-B8B6-C85D-E010-EBC8663348AC}"/>
          </ac:spMkLst>
        </pc:spChg>
        <pc:spChg chg="mod">
          <ac:chgData name="丁野 光理" userId="53361c9a-10d0-4268-b39c-a1f4044b33f4" providerId="ADAL" clId="{5FE0A016-0A93-4063-8F08-CD48630E8DBB}" dt="2025-02-06T08:13:35.273" v="1209" actId="1035"/>
          <ac:spMkLst>
            <pc:docMk/>
            <pc:sldMk cId="1075793544" sldId="2147378706"/>
            <ac:spMk id="21" creationId="{8B2388F4-8880-EE2F-03BB-997FC1E6C222}"/>
          </ac:spMkLst>
        </pc:spChg>
        <pc:spChg chg="mod">
          <ac:chgData name="丁野 光理" userId="53361c9a-10d0-4268-b39c-a1f4044b33f4" providerId="ADAL" clId="{5FE0A016-0A93-4063-8F08-CD48630E8DBB}" dt="2025-02-06T08:13:35.273" v="1209" actId="1035"/>
          <ac:spMkLst>
            <pc:docMk/>
            <pc:sldMk cId="1075793544" sldId="2147378706"/>
            <ac:spMk id="22" creationId="{9D9B6B73-E941-4FB2-6F67-6D2282E2F654}"/>
          </ac:spMkLst>
        </pc:spChg>
        <pc:spChg chg="mod">
          <ac:chgData name="丁野 光理" userId="53361c9a-10d0-4268-b39c-a1f4044b33f4" providerId="ADAL" clId="{5FE0A016-0A93-4063-8F08-CD48630E8DBB}" dt="2025-02-06T08:13:35.273" v="1209" actId="1035"/>
          <ac:spMkLst>
            <pc:docMk/>
            <pc:sldMk cId="1075793544" sldId="2147378706"/>
            <ac:spMk id="23" creationId="{40803D02-B102-890E-D54A-16FBEA6E318B}"/>
          </ac:spMkLst>
        </pc:spChg>
        <pc:spChg chg="mod">
          <ac:chgData name="丁野 光理" userId="53361c9a-10d0-4268-b39c-a1f4044b33f4" providerId="ADAL" clId="{5FE0A016-0A93-4063-8F08-CD48630E8DBB}" dt="2025-02-06T08:13:35.273" v="1209" actId="1035"/>
          <ac:spMkLst>
            <pc:docMk/>
            <pc:sldMk cId="1075793544" sldId="2147378706"/>
            <ac:spMk id="24" creationId="{282F57DD-EF41-A330-6783-2B46B29B454B}"/>
          </ac:spMkLst>
        </pc:spChg>
        <pc:spChg chg="mod">
          <ac:chgData name="丁野 光理" userId="53361c9a-10d0-4268-b39c-a1f4044b33f4" providerId="ADAL" clId="{5FE0A016-0A93-4063-8F08-CD48630E8DBB}" dt="2025-02-06T08:13:35.273" v="1209" actId="1035"/>
          <ac:spMkLst>
            <pc:docMk/>
            <pc:sldMk cId="1075793544" sldId="2147378706"/>
            <ac:spMk id="25" creationId="{E4B5370A-7499-03A1-CF77-0E693D5DDE7E}"/>
          </ac:spMkLst>
        </pc:spChg>
        <pc:spChg chg="mod">
          <ac:chgData name="丁野 光理" userId="53361c9a-10d0-4268-b39c-a1f4044b33f4" providerId="ADAL" clId="{5FE0A016-0A93-4063-8F08-CD48630E8DBB}" dt="2025-02-06T08:13:35.273" v="1209" actId="1035"/>
          <ac:spMkLst>
            <pc:docMk/>
            <pc:sldMk cId="1075793544" sldId="2147378706"/>
            <ac:spMk id="26" creationId="{5E459C84-978B-D044-BE65-FCB09332A3B0}"/>
          </ac:spMkLst>
        </pc:spChg>
        <pc:spChg chg="mod">
          <ac:chgData name="丁野 光理" userId="53361c9a-10d0-4268-b39c-a1f4044b33f4" providerId="ADAL" clId="{5FE0A016-0A93-4063-8F08-CD48630E8DBB}" dt="2025-02-06T08:13:35.273" v="1209" actId="1035"/>
          <ac:spMkLst>
            <pc:docMk/>
            <pc:sldMk cId="1075793544" sldId="2147378706"/>
            <ac:spMk id="27" creationId="{C5731C2D-659C-4328-D18C-83B7B6BBC6DF}"/>
          </ac:spMkLst>
        </pc:spChg>
        <pc:spChg chg="mod">
          <ac:chgData name="丁野 光理" userId="53361c9a-10d0-4268-b39c-a1f4044b33f4" providerId="ADAL" clId="{5FE0A016-0A93-4063-8F08-CD48630E8DBB}" dt="2025-02-06T08:13:35.273" v="1209" actId="1035"/>
          <ac:spMkLst>
            <pc:docMk/>
            <pc:sldMk cId="1075793544" sldId="2147378706"/>
            <ac:spMk id="28" creationId="{55864B40-97CF-F0B3-B2B5-B6FFCF2C3E5B}"/>
          </ac:spMkLst>
        </pc:spChg>
        <pc:spChg chg="mod">
          <ac:chgData name="丁野 光理" userId="53361c9a-10d0-4268-b39c-a1f4044b33f4" providerId="ADAL" clId="{5FE0A016-0A93-4063-8F08-CD48630E8DBB}" dt="2025-02-06T08:13:35.273" v="1209" actId="1035"/>
          <ac:spMkLst>
            <pc:docMk/>
            <pc:sldMk cId="1075793544" sldId="2147378706"/>
            <ac:spMk id="29" creationId="{6066413C-AE1D-EB1F-F755-AA17280E6D6B}"/>
          </ac:spMkLst>
        </pc:spChg>
        <pc:spChg chg="mod">
          <ac:chgData name="丁野 光理" userId="53361c9a-10d0-4268-b39c-a1f4044b33f4" providerId="ADAL" clId="{5FE0A016-0A93-4063-8F08-CD48630E8DBB}" dt="2025-02-06T08:13:35.273" v="1209" actId="1035"/>
          <ac:spMkLst>
            <pc:docMk/>
            <pc:sldMk cId="1075793544" sldId="2147378706"/>
            <ac:spMk id="30" creationId="{73C2D3B9-B7E8-F47D-F1E3-D52A1C96AB7D}"/>
          </ac:spMkLst>
        </pc:spChg>
        <pc:spChg chg="mod">
          <ac:chgData name="丁野 光理" userId="53361c9a-10d0-4268-b39c-a1f4044b33f4" providerId="ADAL" clId="{5FE0A016-0A93-4063-8F08-CD48630E8DBB}" dt="2025-02-06T08:13:35.273" v="1209" actId="1035"/>
          <ac:spMkLst>
            <pc:docMk/>
            <pc:sldMk cId="1075793544" sldId="2147378706"/>
            <ac:spMk id="31" creationId="{26A09F49-1E75-5FA2-7FCE-7166D389CEA9}"/>
          </ac:spMkLst>
        </pc:spChg>
        <pc:spChg chg="mod">
          <ac:chgData name="丁野 光理" userId="53361c9a-10d0-4268-b39c-a1f4044b33f4" providerId="ADAL" clId="{5FE0A016-0A93-4063-8F08-CD48630E8DBB}" dt="2025-02-06T08:13:35.273" v="1209" actId="1035"/>
          <ac:spMkLst>
            <pc:docMk/>
            <pc:sldMk cId="1075793544" sldId="2147378706"/>
            <ac:spMk id="33" creationId="{0B64D96B-A150-F2DE-7473-4CD8D8C60016}"/>
          </ac:spMkLst>
        </pc:spChg>
        <pc:spChg chg="mod">
          <ac:chgData name="丁野 光理" userId="53361c9a-10d0-4268-b39c-a1f4044b33f4" providerId="ADAL" clId="{5FE0A016-0A93-4063-8F08-CD48630E8DBB}" dt="2025-02-06T08:13:35.273" v="1209" actId="1035"/>
          <ac:spMkLst>
            <pc:docMk/>
            <pc:sldMk cId="1075793544" sldId="2147378706"/>
            <ac:spMk id="34" creationId="{A7CA29C7-B260-867A-6467-CB38E6F69C54}"/>
          </ac:spMkLst>
        </pc:spChg>
        <pc:spChg chg="mod">
          <ac:chgData name="丁野 光理" userId="53361c9a-10d0-4268-b39c-a1f4044b33f4" providerId="ADAL" clId="{5FE0A016-0A93-4063-8F08-CD48630E8DBB}" dt="2025-02-06T08:13:35.273" v="1209" actId="1035"/>
          <ac:spMkLst>
            <pc:docMk/>
            <pc:sldMk cId="1075793544" sldId="2147378706"/>
            <ac:spMk id="36" creationId="{80884C5C-1F6D-E162-A074-F65661FD98B3}"/>
          </ac:spMkLst>
        </pc:spChg>
        <pc:spChg chg="mod">
          <ac:chgData name="丁野 光理" userId="53361c9a-10d0-4268-b39c-a1f4044b33f4" providerId="ADAL" clId="{5FE0A016-0A93-4063-8F08-CD48630E8DBB}" dt="2025-02-06T08:13:35.273" v="1209" actId="1035"/>
          <ac:spMkLst>
            <pc:docMk/>
            <pc:sldMk cId="1075793544" sldId="2147378706"/>
            <ac:spMk id="37" creationId="{1DE1309E-B0E0-21F8-EF43-640ECB6D56F5}"/>
          </ac:spMkLst>
        </pc:spChg>
        <pc:spChg chg="mod">
          <ac:chgData name="丁野 光理" userId="53361c9a-10d0-4268-b39c-a1f4044b33f4" providerId="ADAL" clId="{5FE0A016-0A93-4063-8F08-CD48630E8DBB}" dt="2025-02-06T08:13:35.273" v="1209" actId="1035"/>
          <ac:spMkLst>
            <pc:docMk/>
            <pc:sldMk cId="1075793544" sldId="2147378706"/>
            <ac:spMk id="38" creationId="{F1D12892-50BC-B332-CA0D-537FABFF159B}"/>
          </ac:spMkLst>
        </pc:spChg>
        <pc:spChg chg="mod">
          <ac:chgData name="丁野 光理" userId="53361c9a-10d0-4268-b39c-a1f4044b33f4" providerId="ADAL" clId="{5FE0A016-0A93-4063-8F08-CD48630E8DBB}" dt="2025-02-06T08:13:35.273" v="1209" actId="1035"/>
          <ac:spMkLst>
            <pc:docMk/>
            <pc:sldMk cId="1075793544" sldId="2147378706"/>
            <ac:spMk id="39" creationId="{16E41540-A219-2419-B67C-A2AE13CFB814}"/>
          </ac:spMkLst>
        </pc:spChg>
        <pc:spChg chg="mod">
          <ac:chgData name="丁野 光理" userId="53361c9a-10d0-4268-b39c-a1f4044b33f4" providerId="ADAL" clId="{5FE0A016-0A93-4063-8F08-CD48630E8DBB}" dt="2025-02-06T08:13:35.273" v="1209" actId="1035"/>
          <ac:spMkLst>
            <pc:docMk/>
            <pc:sldMk cId="1075793544" sldId="2147378706"/>
            <ac:spMk id="40" creationId="{C2888749-FFD2-DC62-AABB-61DFA8B597C7}"/>
          </ac:spMkLst>
        </pc:spChg>
        <pc:spChg chg="mod">
          <ac:chgData name="丁野 光理" userId="53361c9a-10d0-4268-b39c-a1f4044b33f4" providerId="ADAL" clId="{5FE0A016-0A93-4063-8F08-CD48630E8DBB}" dt="2025-02-06T08:13:35.273" v="1209" actId="1035"/>
          <ac:spMkLst>
            <pc:docMk/>
            <pc:sldMk cId="1075793544" sldId="2147378706"/>
            <ac:spMk id="41" creationId="{2249E747-F546-ABD1-FC84-71B243C4B29B}"/>
          </ac:spMkLst>
        </pc:spChg>
        <pc:spChg chg="mod">
          <ac:chgData name="丁野 光理" userId="53361c9a-10d0-4268-b39c-a1f4044b33f4" providerId="ADAL" clId="{5FE0A016-0A93-4063-8F08-CD48630E8DBB}" dt="2025-02-06T08:13:35.273" v="1209" actId="1035"/>
          <ac:spMkLst>
            <pc:docMk/>
            <pc:sldMk cId="1075793544" sldId="2147378706"/>
            <ac:spMk id="44" creationId="{11FC1E08-94B3-8FE9-9E3E-BC734176F0F1}"/>
          </ac:spMkLst>
        </pc:spChg>
        <pc:spChg chg="mod">
          <ac:chgData name="丁野 光理" userId="53361c9a-10d0-4268-b39c-a1f4044b33f4" providerId="ADAL" clId="{5FE0A016-0A93-4063-8F08-CD48630E8DBB}" dt="2025-02-06T08:13:35.273" v="1209" actId="1035"/>
          <ac:spMkLst>
            <pc:docMk/>
            <pc:sldMk cId="1075793544" sldId="2147378706"/>
            <ac:spMk id="45" creationId="{A34458C2-FB11-5CAF-BCC4-3B2308FFD976}"/>
          </ac:spMkLst>
        </pc:spChg>
        <pc:spChg chg="mod">
          <ac:chgData name="丁野 光理" userId="53361c9a-10d0-4268-b39c-a1f4044b33f4" providerId="ADAL" clId="{5FE0A016-0A93-4063-8F08-CD48630E8DBB}" dt="2025-02-06T08:13:35.273" v="1209" actId="1035"/>
          <ac:spMkLst>
            <pc:docMk/>
            <pc:sldMk cId="1075793544" sldId="2147378706"/>
            <ac:spMk id="46" creationId="{EAE7E9A2-9C75-5C55-3083-CF8CFC02DB28}"/>
          </ac:spMkLst>
        </pc:spChg>
        <pc:spChg chg="mod">
          <ac:chgData name="丁野 光理" userId="53361c9a-10d0-4268-b39c-a1f4044b33f4" providerId="ADAL" clId="{5FE0A016-0A93-4063-8F08-CD48630E8DBB}" dt="2025-02-06T08:13:35.273" v="1209" actId="1035"/>
          <ac:spMkLst>
            <pc:docMk/>
            <pc:sldMk cId="1075793544" sldId="2147378706"/>
            <ac:spMk id="47" creationId="{A43E12AD-B2EB-E739-14BE-B941DFF7D18A}"/>
          </ac:spMkLst>
        </pc:spChg>
        <pc:spChg chg="mod">
          <ac:chgData name="丁野 光理" userId="53361c9a-10d0-4268-b39c-a1f4044b33f4" providerId="ADAL" clId="{5FE0A016-0A93-4063-8F08-CD48630E8DBB}" dt="2025-02-06T08:13:35.273" v="1209" actId="1035"/>
          <ac:spMkLst>
            <pc:docMk/>
            <pc:sldMk cId="1075793544" sldId="2147378706"/>
            <ac:spMk id="48" creationId="{C80863E0-C0EC-A8A5-0450-8E2D5C9CF665}"/>
          </ac:spMkLst>
        </pc:spChg>
        <pc:spChg chg="mod">
          <ac:chgData name="丁野 光理" userId="53361c9a-10d0-4268-b39c-a1f4044b33f4" providerId="ADAL" clId="{5FE0A016-0A93-4063-8F08-CD48630E8DBB}" dt="2025-02-06T08:13:35.273" v="1209" actId="1035"/>
          <ac:spMkLst>
            <pc:docMk/>
            <pc:sldMk cId="1075793544" sldId="2147378706"/>
            <ac:spMk id="49" creationId="{A0D0579C-20A3-6CB7-7884-53E4873AFC1C}"/>
          </ac:spMkLst>
        </pc:spChg>
        <pc:spChg chg="mod">
          <ac:chgData name="丁野 光理" userId="53361c9a-10d0-4268-b39c-a1f4044b33f4" providerId="ADAL" clId="{5FE0A016-0A93-4063-8F08-CD48630E8DBB}" dt="2025-02-06T08:13:35.273" v="1209" actId="1035"/>
          <ac:spMkLst>
            <pc:docMk/>
            <pc:sldMk cId="1075793544" sldId="2147378706"/>
            <ac:spMk id="54" creationId="{257CE3ED-27EF-8BB9-8AC6-A65A773D1B5F}"/>
          </ac:spMkLst>
        </pc:spChg>
        <pc:spChg chg="mod">
          <ac:chgData name="丁野 光理" userId="53361c9a-10d0-4268-b39c-a1f4044b33f4" providerId="ADAL" clId="{5FE0A016-0A93-4063-8F08-CD48630E8DBB}" dt="2025-02-06T08:13:35.273" v="1209" actId="1035"/>
          <ac:spMkLst>
            <pc:docMk/>
            <pc:sldMk cId="1075793544" sldId="2147378706"/>
            <ac:spMk id="55" creationId="{3A150D87-5B38-9F6A-05D1-4FD2C26D10CF}"/>
          </ac:spMkLst>
        </pc:spChg>
        <pc:spChg chg="mod">
          <ac:chgData name="丁野 光理" userId="53361c9a-10d0-4268-b39c-a1f4044b33f4" providerId="ADAL" clId="{5FE0A016-0A93-4063-8F08-CD48630E8DBB}" dt="2025-02-06T08:13:35.273" v="1209" actId="1035"/>
          <ac:spMkLst>
            <pc:docMk/>
            <pc:sldMk cId="1075793544" sldId="2147378706"/>
            <ac:spMk id="56" creationId="{E7A256B4-413F-307C-5439-6870A4ACBCED}"/>
          </ac:spMkLst>
        </pc:spChg>
        <pc:spChg chg="mod">
          <ac:chgData name="丁野 光理" userId="53361c9a-10d0-4268-b39c-a1f4044b33f4" providerId="ADAL" clId="{5FE0A016-0A93-4063-8F08-CD48630E8DBB}" dt="2025-02-06T08:13:35.273" v="1209" actId="1035"/>
          <ac:spMkLst>
            <pc:docMk/>
            <pc:sldMk cId="1075793544" sldId="2147378706"/>
            <ac:spMk id="57" creationId="{7FADCBDB-26FF-BE72-8F14-BA953AD29C27}"/>
          </ac:spMkLst>
        </pc:spChg>
        <pc:spChg chg="mod">
          <ac:chgData name="丁野 光理" userId="53361c9a-10d0-4268-b39c-a1f4044b33f4" providerId="ADAL" clId="{5FE0A016-0A93-4063-8F08-CD48630E8DBB}" dt="2025-02-06T08:13:35.273" v="1209" actId="1035"/>
          <ac:spMkLst>
            <pc:docMk/>
            <pc:sldMk cId="1075793544" sldId="2147378706"/>
            <ac:spMk id="58" creationId="{C9BFE387-081A-F493-758E-0F6BD91A7288}"/>
          </ac:spMkLst>
        </pc:spChg>
        <pc:spChg chg="mod">
          <ac:chgData name="丁野 光理" userId="53361c9a-10d0-4268-b39c-a1f4044b33f4" providerId="ADAL" clId="{5FE0A016-0A93-4063-8F08-CD48630E8DBB}" dt="2025-02-06T08:13:35.273" v="1209" actId="1035"/>
          <ac:spMkLst>
            <pc:docMk/>
            <pc:sldMk cId="1075793544" sldId="2147378706"/>
            <ac:spMk id="59" creationId="{814DB610-F1B5-FED4-96F6-356A96984752}"/>
          </ac:spMkLst>
        </pc:spChg>
        <pc:spChg chg="mod">
          <ac:chgData name="丁野 光理" userId="53361c9a-10d0-4268-b39c-a1f4044b33f4" providerId="ADAL" clId="{5FE0A016-0A93-4063-8F08-CD48630E8DBB}" dt="2025-02-06T08:13:35.273" v="1209" actId="1035"/>
          <ac:spMkLst>
            <pc:docMk/>
            <pc:sldMk cId="1075793544" sldId="2147378706"/>
            <ac:spMk id="60" creationId="{3FBE18F8-DF94-8BCA-4933-9DC0688EE117}"/>
          </ac:spMkLst>
        </pc:spChg>
        <pc:spChg chg="del mod">
          <ac:chgData name="丁野 光理" userId="53361c9a-10d0-4268-b39c-a1f4044b33f4" providerId="ADAL" clId="{5FE0A016-0A93-4063-8F08-CD48630E8DBB}" dt="2025-01-29T13:05:00.384" v="18" actId="478"/>
          <ac:spMkLst>
            <pc:docMk/>
            <pc:sldMk cId="1075793544" sldId="2147378706"/>
            <ac:spMk id="76" creationId="{B279D241-48ED-92D0-EE51-7E1DABF5D8E2}"/>
          </ac:spMkLst>
        </pc:spChg>
        <pc:grpChg chg="mod">
          <ac:chgData name="丁野 光理" userId="53361c9a-10d0-4268-b39c-a1f4044b33f4" providerId="ADAL" clId="{5FE0A016-0A93-4063-8F08-CD48630E8DBB}" dt="2025-02-06T08:13:35.273" v="1209" actId="1035"/>
          <ac:grpSpMkLst>
            <pc:docMk/>
            <pc:sldMk cId="1075793544" sldId="2147378706"/>
            <ac:grpSpMk id="2" creationId="{372A3CF7-5B7A-0B5D-9138-971927D27558}"/>
          </ac:grpSpMkLst>
        </pc:grpChg>
        <pc:cxnChg chg="mod">
          <ac:chgData name="丁野 光理" userId="53361c9a-10d0-4268-b39c-a1f4044b33f4" providerId="ADAL" clId="{5FE0A016-0A93-4063-8F08-CD48630E8DBB}" dt="2025-02-06T08:13:35.273" v="1209" actId="1035"/>
          <ac:cxnSpMkLst>
            <pc:docMk/>
            <pc:sldMk cId="1075793544" sldId="2147378706"/>
            <ac:cxnSpMk id="7" creationId="{21A3E467-6F88-7859-37D3-00A944DAABE1}"/>
          </ac:cxnSpMkLst>
        </pc:cxnChg>
        <pc:cxnChg chg="mod">
          <ac:chgData name="丁野 光理" userId="53361c9a-10d0-4268-b39c-a1f4044b33f4" providerId="ADAL" clId="{5FE0A016-0A93-4063-8F08-CD48630E8DBB}" dt="2025-02-06T08:13:35.273" v="1209" actId="1035"/>
          <ac:cxnSpMkLst>
            <pc:docMk/>
            <pc:sldMk cId="1075793544" sldId="2147378706"/>
            <ac:cxnSpMk id="17" creationId="{B33F1110-77B4-AF22-55D7-F4851EF459EE}"/>
          </ac:cxnSpMkLst>
        </pc:cxnChg>
        <pc:cxnChg chg="mod">
          <ac:chgData name="丁野 光理" userId="53361c9a-10d0-4268-b39c-a1f4044b33f4" providerId="ADAL" clId="{5FE0A016-0A93-4063-8F08-CD48630E8DBB}" dt="2025-02-06T08:13:35.273" v="1209" actId="1035"/>
          <ac:cxnSpMkLst>
            <pc:docMk/>
            <pc:sldMk cId="1075793544" sldId="2147378706"/>
            <ac:cxnSpMk id="18" creationId="{891B5930-A38E-A0C5-BE51-42817003E8A5}"/>
          </ac:cxnSpMkLst>
        </pc:cxnChg>
        <pc:cxnChg chg="mod">
          <ac:chgData name="丁野 光理" userId="53361c9a-10d0-4268-b39c-a1f4044b33f4" providerId="ADAL" clId="{5FE0A016-0A93-4063-8F08-CD48630E8DBB}" dt="2025-02-06T08:13:35.273" v="1209" actId="1035"/>
          <ac:cxnSpMkLst>
            <pc:docMk/>
            <pc:sldMk cId="1075793544" sldId="2147378706"/>
            <ac:cxnSpMk id="19" creationId="{A844BD0C-0A40-51E8-A09A-D30427306A66}"/>
          </ac:cxnSpMkLst>
        </pc:cxnChg>
        <pc:cxnChg chg="mod">
          <ac:chgData name="丁野 光理" userId="53361c9a-10d0-4268-b39c-a1f4044b33f4" providerId="ADAL" clId="{5FE0A016-0A93-4063-8F08-CD48630E8DBB}" dt="2025-02-06T08:13:35.273" v="1209" actId="1035"/>
          <ac:cxnSpMkLst>
            <pc:docMk/>
            <pc:sldMk cId="1075793544" sldId="2147378706"/>
            <ac:cxnSpMk id="32" creationId="{E759765E-E000-B6F8-7FD9-0B57C3A2ABBD}"/>
          </ac:cxnSpMkLst>
        </pc:cxnChg>
        <pc:cxnChg chg="mod">
          <ac:chgData name="丁野 光理" userId="53361c9a-10d0-4268-b39c-a1f4044b33f4" providerId="ADAL" clId="{5FE0A016-0A93-4063-8F08-CD48630E8DBB}" dt="2025-02-06T08:13:35.273" v="1209" actId="1035"/>
          <ac:cxnSpMkLst>
            <pc:docMk/>
            <pc:sldMk cId="1075793544" sldId="2147378706"/>
            <ac:cxnSpMk id="35" creationId="{40F97130-3434-E197-FDD8-0A50B799631A}"/>
          </ac:cxnSpMkLst>
        </pc:cxnChg>
        <pc:cxnChg chg="mod">
          <ac:chgData name="丁野 光理" userId="53361c9a-10d0-4268-b39c-a1f4044b33f4" providerId="ADAL" clId="{5FE0A016-0A93-4063-8F08-CD48630E8DBB}" dt="2025-02-06T08:13:35.273" v="1209" actId="1035"/>
          <ac:cxnSpMkLst>
            <pc:docMk/>
            <pc:sldMk cId="1075793544" sldId="2147378706"/>
            <ac:cxnSpMk id="42" creationId="{9B4560C3-E523-8803-F24F-44C0F6BB8B8F}"/>
          </ac:cxnSpMkLst>
        </pc:cxnChg>
        <pc:cxnChg chg="mod">
          <ac:chgData name="丁野 光理" userId="53361c9a-10d0-4268-b39c-a1f4044b33f4" providerId="ADAL" clId="{5FE0A016-0A93-4063-8F08-CD48630E8DBB}" dt="2025-02-06T08:13:35.273" v="1209" actId="1035"/>
          <ac:cxnSpMkLst>
            <pc:docMk/>
            <pc:sldMk cId="1075793544" sldId="2147378706"/>
            <ac:cxnSpMk id="43" creationId="{C09F7C0D-715C-1DE6-CA70-0114A80EE9E6}"/>
          </ac:cxnSpMkLst>
        </pc:cxnChg>
        <pc:cxnChg chg="mod">
          <ac:chgData name="丁野 光理" userId="53361c9a-10d0-4268-b39c-a1f4044b33f4" providerId="ADAL" clId="{5FE0A016-0A93-4063-8F08-CD48630E8DBB}" dt="2025-02-06T08:13:35.273" v="1209" actId="1035"/>
          <ac:cxnSpMkLst>
            <pc:docMk/>
            <pc:sldMk cId="1075793544" sldId="2147378706"/>
            <ac:cxnSpMk id="50" creationId="{70D243EA-17DF-865D-55F4-DDB86E3FC409}"/>
          </ac:cxnSpMkLst>
        </pc:cxnChg>
        <pc:cxnChg chg="mod">
          <ac:chgData name="丁野 光理" userId="53361c9a-10d0-4268-b39c-a1f4044b33f4" providerId="ADAL" clId="{5FE0A016-0A93-4063-8F08-CD48630E8DBB}" dt="2025-02-06T08:13:35.273" v="1209" actId="1035"/>
          <ac:cxnSpMkLst>
            <pc:docMk/>
            <pc:sldMk cId="1075793544" sldId="2147378706"/>
            <ac:cxnSpMk id="51" creationId="{89F55B38-D3AD-5356-0792-1365F2725CD9}"/>
          </ac:cxnSpMkLst>
        </pc:cxnChg>
        <pc:cxnChg chg="mod">
          <ac:chgData name="丁野 光理" userId="53361c9a-10d0-4268-b39c-a1f4044b33f4" providerId="ADAL" clId="{5FE0A016-0A93-4063-8F08-CD48630E8DBB}" dt="2025-02-06T08:13:35.273" v="1209" actId="1035"/>
          <ac:cxnSpMkLst>
            <pc:docMk/>
            <pc:sldMk cId="1075793544" sldId="2147378706"/>
            <ac:cxnSpMk id="52" creationId="{66B9DD1B-C64B-4F75-5CF8-B98CD9A23B09}"/>
          </ac:cxnSpMkLst>
        </pc:cxnChg>
        <pc:cxnChg chg="mod">
          <ac:chgData name="丁野 光理" userId="53361c9a-10d0-4268-b39c-a1f4044b33f4" providerId="ADAL" clId="{5FE0A016-0A93-4063-8F08-CD48630E8DBB}" dt="2025-02-06T08:13:35.273" v="1209" actId="1035"/>
          <ac:cxnSpMkLst>
            <pc:docMk/>
            <pc:sldMk cId="1075793544" sldId="2147378706"/>
            <ac:cxnSpMk id="53" creationId="{BE418135-FB4D-DCAA-9BF1-13BC0FEA9AAB}"/>
          </ac:cxnSpMkLst>
        </pc:cxnChg>
        <pc:cxnChg chg="mod">
          <ac:chgData name="丁野 光理" userId="53361c9a-10d0-4268-b39c-a1f4044b33f4" providerId="ADAL" clId="{5FE0A016-0A93-4063-8F08-CD48630E8DBB}" dt="2025-02-06T08:13:35.273" v="1209" actId="1035"/>
          <ac:cxnSpMkLst>
            <pc:docMk/>
            <pc:sldMk cId="1075793544" sldId="2147378706"/>
            <ac:cxnSpMk id="61" creationId="{8294B53B-40A2-5BE4-9CB0-796238DAF687}"/>
          </ac:cxnSpMkLst>
        </pc:cxnChg>
        <pc:cxnChg chg="mod">
          <ac:chgData name="丁野 光理" userId="53361c9a-10d0-4268-b39c-a1f4044b33f4" providerId="ADAL" clId="{5FE0A016-0A93-4063-8F08-CD48630E8DBB}" dt="2025-02-06T08:13:35.273" v="1209" actId="1035"/>
          <ac:cxnSpMkLst>
            <pc:docMk/>
            <pc:sldMk cId="1075793544" sldId="2147378706"/>
            <ac:cxnSpMk id="62" creationId="{535A823C-A292-AD77-1929-6FC5127AA2E1}"/>
          </ac:cxnSpMkLst>
        </pc:cxnChg>
      </pc:sldChg>
      <pc:sldChg chg="addSp delSp modSp mod">
        <pc:chgData name="丁野 光理" userId="53361c9a-10d0-4268-b39c-a1f4044b33f4" providerId="ADAL" clId="{5FE0A016-0A93-4063-8F08-CD48630E8DBB}" dt="2025-02-06T13:17:48.117" v="2563"/>
        <pc:sldMkLst>
          <pc:docMk/>
          <pc:sldMk cId="1215250369" sldId="2147378707"/>
        </pc:sldMkLst>
        <pc:spChg chg="mod">
          <ac:chgData name="丁野 光理" userId="53361c9a-10d0-4268-b39c-a1f4044b33f4" providerId="ADAL" clId="{5FE0A016-0A93-4063-8F08-CD48630E8DBB}" dt="2025-02-06T13:17:48.117" v="2563"/>
          <ac:spMkLst>
            <pc:docMk/>
            <pc:sldMk cId="1215250369" sldId="2147378707"/>
            <ac:spMk id="3" creationId="{3889FB1B-DE63-B6FC-8D02-5D400D923577}"/>
          </ac:spMkLst>
        </pc:spChg>
        <pc:spChg chg="del">
          <ac:chgData name="丁野 光理" userId="53361c9a-10d0-4268-b39c-a1f4044b33f4" providerId="ADAL" clId="{5FE0A016-0A93-4063-8F08-CD48630E8DBB}" dt="2025-01-29T13:05:09.804" v="19" actId="478"/>
          <ac:spMkLst>
            <pc:docMk/>
            <pc:sldMk cId="1215250369" sldId="2147378707"/>
            <ac:spMk id="7" creationId="{2918B46C-8769-3057-DF46-3540854E5299}"/>
          </ac:spMkLst>
        </pc:spChg>
        <pc:spChg chg="add del mod">
          <ac:chgData name="丁野 光理" userId="53361c9a-10d0-4268-b39c-a1f4044b33f4" providerId="ADAL" clId="{5FE0A016-0A93-4063-8F08-CD48630E8DBB}" dt="2025-02-06T08:13:50.725" v="1210" actId="478"/>
          <ac:spMkLst>
            <pc:docMk/>
            <pc:sldMk cId="1215250369" sldId="2147378707"/>
            <ac:spMk id="7" creationId="{B72D8653-B68B-BE60-E8D5-BF7CA24DB835}"/>
          </ac:spMkLst>
        </pc:spChg>
        <pc:spChg chg="del mod">
          <ac:chgData name="丁野 光理" userId="53361c9a-10d0-4268-b39c-a1f4044b33f4" providerId="ADAL" clId="{5FE0A016-0A93-4063-8F08-CD48630E8DBB}" dt="2025-01-31T12:42:04.570" v="596" actId="478"/>
          <ac:spMkLst>
            <pc:docMk/>
            <pc:sldMk cId="1215250369" sldId="2147378707"/>
            <ac:spMk id="8" creationId="{1A7D0D46-5DEB-1E86-BAF0-1806692D1A79}"/>
          </ac:spMkLst>
        </pc:spChg>
        <pc:graphicFrameChg chg="mod modGraphic">
          <ac:chgData name="丁野 光理" userId="53361c9a-10d0-4268-b39c-a1f4044b33f4" providerId="ADAL" clId="{5FE0A016-0A93-4063-8F08-CD48630E8DBB}" dt="2025-02-06T08:13:59.197" v="1237" actId="14100"/>
          <ac:graphicFrameMkLst>
            <pc:docMk/>
            <pc:sldMk cId="1215250369" sldId="2147378707"/>
            <ac:graphicFrameMk id="2" creationId="{F9E0DDCD-6644-BE19-62E5-D3AB6A2D7C99}"/>
          </ac:graphicFrameMkLst>
        </pc:graphicFrameChg>
      </pc:sldChg>
      <pc:sldChg chg="addSp delSp modSp mod">
        <pc:chgData name="丁野 光理" userId="53361c9a-10d0-4268-b39c-a1f4044b33f4" providerId="ADAL" clId="{5FE0A016-0A93-4063-8F08-CD48630E8DBB}" dt="2025-02-07T04:18:11.877" v="22916" actId="478"/>
        <pc:sldMkLst>
          <pc:docMk/>
          <pc:sldMk cId="355750652" sldId="2147378708"/>
        </pc:sldMkLst>
        <pc:spChg chg="mod">
          <ac:chgData name="丁野 光理" userId="53361c9a-10d0-4268-b39c-a1f4044b33f4" providerId="ADAL" clId="{5FE0A016-0A93-4063-8F08-CD48630E8DBB}" dt="2025-02-06T13:17:50.707" v="2564"/>
          <ac:spMkLst>
            <pc:docMk/>
            <pc:sldMk cId="355750652" sldId="2147378708"/>
            <ac:spMk id="3" creationId="{177281CC-1855-F2DB-EAE1-E4C54E0FD7E5}"/>
          </ac:spMkLst>
        </pc:spChg>
        <pc:spChg chg="add del mod">
          <ac:chgData name="丁野 光理" userId="53361c9a-10d0-4268-b39c-a1f4044b33f4" providerId="ADAL" clId="{5FE0A016-0A93-4063-8F08-CD48630E8DBB}" dt="2025-02-07T04:17:37.687" v="22883" actId="478"/>
          <ac:spMkLst>
            <pc:docMk/>
            <pc:sldMk cId="355750652" sldId="2147378708"/>
            <ac:spMk id="6" creationId="{43CDFD17-3869-301D-1D78-2E5F39918290}"/>
          </ac:spMkLst>
        </pc:spChg>
        <pc:spChg chg="del">
          <ac:chgData name="丁野 光理" userId="53361c9a-10d0-4268-b39c-a1f4044b33f4" providerId="ADAL" clId="{5FE0A016-0A93-4063-8F08-CD48630E8DBB}" dt="2025-01-31T12:41:55.101" v="593" actId="478"/>
          <ac:spMkLst>
            <pc:docMk/>
            <pc:sldMk cId="355750652" sldId="2147378708"/>
            <ac:spMk id="6" creationId="{A8716A6B-6EAA-4A8E-9F4B-40B17BD58816}"/>
          </ac:spMkLst>
        </pc:spChg>
        <pc:spChg chg="add del mod">
          <ac:chgData name="丁野 光理" userId="53361c9a-10d0-4268-b39c-a1f4044b33f4" providerId="ADAL" clId="{5FE0A016-0A93-4063-8F08-CD48630E8DBB}" dt="2025-02-07T04:18:11.877" v="22916" actId="478"/>
          <ac:spMkLst>
            <pc:docMk/>
            <pc:sldMk cId="355750652" sldId="2147378708"/>
            <ac:spMk id="7" creationId="{DC53FFC8-568E-60D0-8ED3-2A616885B728}"/>
          </ac:spMkLst>
        </pc:spChg>
        <pc:spChg chg="add del mod">
          <ac:chgData name="丁野 光理" userId="53361c9a-10d0-4268-b39c-a1f4044b33f4" providerId="ADAL" clId="{5FE0A016-0A93-4063-8F08-CD48630E8DBB}" dt="2025-02-06T08:14:15.847" v="1238" actId="478"/>
          <ac:spMkLst>
            <pc:docMk/>
            <pc:sldMk cId="355750652" sldId="2147378708"/>
            <ac:spMk id="8" creationId="{5145873B-D96D-6647-90C2-96DE0C6F9F92}"/>
          </ac:spMkLst>
        </pc:spChg>
        <pc:spChg chg="add del mod">
          <ac:chgData name="丁野 光理" userId="53361c9a-10d0-4268-b39c-a1f4044b33f4" providerId="ADAL" clId="{5FE0A016-0A93-4063-8F08-CD48630E8DBB}" dt="2025-02-07T04:17:48.554" v="22885" actId="478"/>
          <ac:spMkLst>
            <pc:docMk/>
            <pc:sldMk cId="355750652" sldId="2147378708"/>
            <ac:spMk id="9" creationId="{A8AD75F3-D580-B0AE-0FEB-E6D8F0E56B4B}"/>
          </ac:spMkLst>
        </pc:spChg>
        <pc:spChg chg="del mod">
          <ac:chgData name="丁野 光理" userId="53361c9a-10d0-4268-b39c-a1f4044b33f4" providerId="ADAL" clId="{5FE0A016-0A93-4063-8F08-CD48630E8DBB}" dt="2025-01-31T12:42:14.080" v="598" actId="478"/>
          <ac:spMkLst>
            <pc:docMk/>
            <pc:sldMk cId="355750652" sldId="2147378708"/>
            <ac:spMk id="9" creationId="{F379F7F6-3A51-99E9-07DA-86E13F5C283A}"/>
          </ac:spMkLst>
        </pc:spChg>
        <pc:spChg chg="add mod">
          <ac:chgData name="丁野 光理" userId="53361c9a-10d0-4268-b39c-a1f4044b33f4" providerId="ADAL" clId="{5FE0A016-0A93-4063-8F08-CD48630E8DBB}" dt="2025-02-07T04:18:09.304" v="22915"/>
          <ac:spMkLst>
            <pc:docMk/>
            <pc:sldMk cId="355750652" sldId="2147378708"/>
            <ac:spMk id="10" creationId="{43D27961-B657-EEB7-4DB0-0524E5478651}"/>
          </ac:spMkLst>
        </pc:spChg>
        <pc:graphicFrameChg chg="mod modGraphic">
          <ac:chgData name="丁野 光理" userId="53361c9a-10d0-4268-b39c-a1f4044b33f4" providerId="ADAL" clId="{5FE0A016-0A93-4063-8F08-CD48630E8DBB}" dt="2025-02-07T04:17:34.537" v="22881" actId="1076"/>
          <ac:graphicFrameMkLst>
            <pc:docMk/>
            <pc:sldMk cId="355750652" sldId="2147378708"/>
            <ac:graphicFrameMk id="2" creationId="{C643ECC8-A3AC-933C-3E81-E0D6449A8658}"/>
          </ac:graphicFrameMkLst>
        </pc:graphicFrameChg>
      </pc:sldChg>
      <pc:sldChg chg="addSp delSp modSp mod ord modCm">
        <pc:chgData name="丁野 光理" userId="53361c9a-10d0-4268-b39c-a1f4044b33f4" providerId="ADAL" clId="{5FE0A016-0A93-4063-8F08-CD48630E8DBB}" dt="2025-02-07T02:36:02.285" v="20516"/>
        <pc:sldMkLst>
          <pc:docMk/>
          <pc:sldMk cId="3685116316" sldId="2147378709"/>
        </pc:sldMkLst>
        <pc:spChg chg="mod">
          <ac:chgData name="丁野 光理" userId="53361c9a-10d0-4268-b39c-a1f4044b33f4" providerId="ADAL" clId="{5FE0A016-0A93-4063-8F08-CD48630E8DBB}" dt="2025-02-06T15:06:38.709" v="7694"/>
          <ac:spMkLst>
            <pc:docMk/>
            <pc:sldMk cId="3685116316" sldId="2147378709"/>
            <ac:spMk id="2" creationId="{BDE63369-EA7E-4802-A4A3-D4010A333C66}"/>
          </ac:spMkLst>
        </pc:spChg>
        <pc:spChg chg="add del mod">
          <ac:chgData name="丁野 光理" userId="53361c9a-10d0-4268-b39c-a1f4044b33f4" providerId="ADAL" clId="{5FE0A016-0A93-4063-8F08-CD48630E8DBB}" dt="2025-02-05T11:49:03.314" v="1019" actId="478"/>
          <ac:spMkLst>
            <pc:docMk/>
            <pc:sldMk cId="3685116316" sldId="2147378709"/>
            <ac:spMk id="3" creationId="{9E42D765-C333-12DA-BB8D-799832946689}"/>
          </ac:spMkLst>
        </pc:spChg>
        <pc:spChg chg="add del mod">
          <ac:chgData name="丁野 光理" userId="53361c9a-10d0-4268-b39c-a1f4044b33f4" providerId="ADAL" clId="{5FE0A016-0A93-4063-8F08-CD48630E8DBB}" dt="2025-02-05T11:49:26.824" v="1039" actId="478"/>
          <ac:spMkLst>
            <pc:docMk/>
            <pc:sldMk cId="3685116316" sldId="2147378709"/>
            <ac:spMk id="4" creationId="{02F7DDA0-1ACD-09C3-E4E4-0A453004EFCC}"/>
          </ac:spMkLst>
        </pc:spChg>
        <pc:spChg chg="add mod">
          <ac:chgData name="丁野 光理" userId="53361c9a-10d0-4268-b39c-a1f4044b33f4" providerId="ADAL" clId="{5FE0A016-0A93-4063-8F08-CD48630E8DBB}" dt="2025-02-06T15:06:58.467" v="7750" actId="20577"/>
          <ac:spMkLst>
            <pc:docMk/>
            <pc:sldMk cId="3685116316" sldId="2147378709"/>
            <ac:spMk id="6" creationId="{06F06DD2-9B90-695B-AD25-50F75DE8988B}"/>
          </ac:spMkLst>
        </pc:spChg>
        <pc:spChg chg="mod">
          <ac:chgData name="丁野 光理" userId="53361c9a-10d0-4268-b39c-a1f4044b33f4" providerId="ADAL" clId="{5FE0A016-0A93-4063-8F08-CD48630E8DBB}" dt="2025-02-07T02:33:34.697" v="19844" actId="1076"/>
          <ac:spMkLst>
            <pc:docMk/>
            <pc:sldMk cId="3685116316" sldId="2147378709"/>
            <ac:spMk id="7" creationId="{DAEF76F3-C44B-93C1-72B8-D2D2FB9498DC}"/>
          </ac:spMkLst>
        </pc:spChg>
        <pc:spChg chg="mod">
          <ac:chgData name="丁野 光理" userId="53361c9a-10d0-4268-b39c-a1f4044b33f4" providerId="ADAL" clId="{5FE0A016-0A93-4063-8F08-CD48630E8DBB}" dt="2025-02-06T15:06:49.556" v="7746" actId="6549"/>
          <ac:spMkLst>
            <pc:docMk/>
            <pc:sldMk cId="3685116316" sldId="2147378709"/>
            <ac:spMk id="9" creationId="{D22A0A06-D5A8-4A1A-B66F-2A8EDBD644F1}"/>
          </ac:spMkLst>
        </pc:spChg>
        <pc:spChg chg="mod">
          <ac:chgData name="丁野 光理" userId="53361c9a-10d0-4268-b39c-a1f4044b33f4" providerId="ADAL" clId="{5FE0A016-0A93-4063-8F08-CD48630E8DBB}" dt="2025-02-05T11:46:32.671" v="868" actId="1036"/>
          <ac:spMkLst>
            <pc:docMk/>
            <pc:sldMk cId="3685116316" sldId="2147378709"/>
            <ac:spMk id="11" creationId="{5B8ABDA1-3D2A-BE6F-2D47-4B44E4CE9142}"/>
          </ac:spMkLst>
        </pc:spChg>
        <pc:spChg chg="mod">
          <ac:chgData name="丁野 光理" userId="53361c9a-10d0-4268-b39c-a1f4044b33f4" providerId="ADAL" clId="{5FE0A016-0A93-4063-8F08-CD48630E8DBB}" dt="2025-02-07T02:33:17.819" v="19821"/>
          <ac:spMkLst>
            <pc:docMk/>
            <pc:sldMk cId="3685116316" sldId="2147378709"/>
            <ac:spMk id="17" creationId="{53F10FF5-7C3A-04E7-4D0E-3EC2A9EB89FC}"/>
          </ac:spMkLst>
        </pc:spChg>
        <pc:spChg chg="mod">
          <ac:chgData name="丁野 光理" userId="53361c9a-10d0-4268-b39c-a1f4044b33f4" providerId="ADAL" clId="{5FE0A016-0A93-4063-8F08-CD48630E8DBB}" dt="2025-02-05T11:46:32.671" v="868" actId="1036"/>
          <ac:spMkLst>
            <pc:docMk/>
            <pc:sldMk cId="3685116316" sldId="2147378709"/>
            <ac:spMk id="18" creationId="{E9664A3C-1A6D-1DEA-5030-08206BBAF59D}"/>
          </ac:spMkLst>
        </pc:spChg>
        <pc:spChg chg="mod">
          <ac:chgData name="丁野 光理" userId="53361c9a-10d0-4268-b39c-a1f4044b33f4" providerId="ADAL" clId="{5FE0A016-0A93-4063-8F08-CD48630E8DBB}" dt="2025-02-05T11:46:32.671" v="868" actId="1036"/>
          <ac:spMkLst>
            <pc:docMk/>
            <pc:sldMk cId="3685116316" sldId="2147378709"/>
            <ac:spMk id="20" creationId="{A1D40746-BF49-AC90-B951-2E85999D00C9}"/>
          </ac:spMkLst>
        </pc:spChg>
        <pc:spChg chg="mod">
          <ac:chgData name="丁野 光理" userId="53361c9a-10d0-4268-b39c-a1f4044b33f4" providerId="ADAL" clId="{5FE0A016-0A93-4063-8F08-CD48630E8DBB}" dt="2025-02-07T02:33:23.901" v="19842"/>
          <ac:spMkLst>
            <pc:docMk/>
            <pc:sldMk cId="3685116316" sldId="2147378709"/>
            <ac:spMk id="22" creationId="{E3A53034-9097-A2B0-BA00-9805C113B3C4}"/>
          </ac:spMkLst>
        </pc:spChg>
        <pc:spChg chg="mod">
          <ac:chgData name="丁野 光理" userId="53361c9a-10d0-4268-b39c-a1f4044b33f4" providerId="ADAL" clId="{5FE0A016-0A93-4063-8F08-CD48630E8DBB}" dt="2025-02-05T11:46:32.671" v="868" actId="1036"/>
          <ac:spMkLst>
            <pc:docMk/>
            <pc:sldMk cId="3685116316" sldId="2147378709"/>
            <ac:spMk id="23" creationId="{548B53C1-9515-859C-4FF6-ED37AFEFE4B3}"/>
          </ac:spMkLst>
        </pc:spChg>
        <pc:spChg chg="mod">
          <ac:chgData name="丁野 光理" userId="53361c9a-10d0-4268-b39c-a1f4044b33f4" providerId="ADAL" clId="{5FE0A016-0A93-4063-8F08-CD48630E8DBB}" dt="2025-02-07T02:33:05.896" v="19773" actId="20577"/>
          <ac:spMkLst>
            <pc:docMk/>
            <pc:sldMk cId="3685116316" sldId="2147378709"/>
            <ac:spMk id="25" creationId="{B623064F-1224-9D0A-91B9-574A09BD6B31}"/>
          </ac:spMkLst>
        </pc:spChg>
        <pc:spChg chg="mod">
          <ac:chgData name="丁野 光理" userId="53361c9a-10d0-4268-b39c-a1f4044b33f4" providerId="ADAL" clId="{5FE0A016-0A93-4063-8F08-CD48630E8DBB}" dt="2025-02-07T02:34:20.819" v="20045"/>
          <ac:spMkLst>
            <pc:docMk/>
            <pc:sldMk cId="3685116316" sldId="2147378709"/>
            <ac:spMk id="28" creationId="{90FD0E77-3888-581E-76F2-D03B3D6A162F}"/>
          </ac:spMkLst>
        </pc:spChg>
        <pc:spChg chg="mod">
          <ac:chgData name="丁野 光理" userId="53361c9a-10d0-4268-b39c-a1f4044b33f4" providerId="ADAL" clId="{5FE0A016-0A93-4063-8F08-CD48630E8DBB}" dt="2025-02-07T02:35:12.794" v="20304"/>
          <ac:spMkLst>
            <pc:docMk/>
            <pc:sldMk cId="3685116316" sldId="2147378709"/>
            <ac:spMk id="29" creationId="{51548927-EDC2-8320-9763-1100DEEB5C3D}"/>
          </ac:spMkLst>
        </pc:spChg>
        <pc:spChg chg="mod">
          <ac:chgData name="丁野 光理" userId="53361c9a-10d0-4268-b39c-a1f4044b33f4" providerId="ADAL" clId="{5FE0A016-0A93-4063-8F08-CD48630E8DBB}" dt="2025-02-07T02:34:54.768" v="20218"/>
          <ac:spMkLst>
            <pc:docMk/>
            <pc:sldMk cId="3685116316" sldId="2147378709"/>
            <ac:spMk id="30" creationId="{ABA7E6E7-22B8-6897-CAD1-5BB1F7243A11}"/>
          </ac:spMkLst>
        </pc:spChg>
        <pc:spChg chg="mod">
          <ac:chgData name="丁野 光理" userId="53361c9a-10d0-4268-b39c-a1f4044b33f4" providerId="ADAL" clId="{5FE0A016-0A93-4063-8F08-CD48630E8DBB}" dt="2025-02-07T02:35:35.603" v="20388" actId="20577"/>
          <ac:spMkLst>
            <pc:docMk/>
            <pc:sldMk cId="3685116316" sldId="2147378709"/>
            <ac:spMk id="31" creationId="{97AC2652-6A11-4525-3831-C5116BDDAFD4}"/>
          </ac:spMkLst>
        </pc:spChg>
        <pc:spChg chg="mod">
          <ac:chgData name="丁野 光理" userId="53361c9a-10d0-4268-b39c-a1f4044b33f4" providerId="ADAL" clId="{5FE0A016-0A93-4063-8F08-CD48630E8DBB}" dt="2025-02-07T02:36:02.285" v="20516"/>
          <ac:spMkLst>
            <pc:docMk/>
            <pc:sldMk cId="3685116316" sldId="2147378709"/>
            <ac:spMk id="32" creationId="{226A0974-299A-DA5C-F13B-FA16A7D473D9}"/>
          </ac:spMkLst>
        </pc:spChg>
        <pc:spChg chg="mod">
          <ac:chgData name="丁野 光理" userId="53361c9a-10d0-4268-b39c-a1f4044b33f4" providerId="ADAL" clId="{5FE0A016-0A93-4063-8F08-CD48630E8DBB}" dt="2025-02-05T11:46:32.671" v="868" actId="1036"/>
          <ac:spMkLst>
            <pc:docMk/>
            <pc:sldMk cId="3685116316" sldId="2147378709"/>
            <ac:spMk id="33" creationId="{C9FC6D16-CAD4-5B3E-F8B5-81D2A2D8CDCA}"/>
          </ac:spMkLst>
        </pc:spChg>
        <pc:spChg chg="mod">
          <ac:chgData name="丁野 光理" userId="53361c9a-10d0-4268-b39c-a1f4044b33f4" providerId="ADAL" clId="{5FE0A016-0A93-4063-8F08-CD48630E8DBB}" dt="2025-02-05T11:46:32.671" v="868" actId="1036"/>
          <ac:spMkLst>
            <pc:docMk/>
            <pc:sldMk cId="3685116316" sldId="2147378709"/>
            <ac:spMk id="34" creationId="{C89FC4AA-2731-E92F-D907-2D16595912E8}"/>
          </ac:spMkLst>
        </pc:spChg>
        <pc:spChg chg="mod">
          <ac:chgData name="丁野 光理" userId="53361c9a-10d0-4268-b39c-a1f4044b33f4" providerId="ADAL" clId="{5FE0A016-0A93-4063-8F08-CD48630E8DBB}" dt="2025-02-05T11:46:32.671" v="868" actId="1036"/>
          <ac:spMkLst>
            <pc:docMk/>
            <pc:sldMk cId="3685116316" sldId="2147378709"/>
            <ac:spMk id="35" creationId="{708AB7D6-2CDF-65E4-DFCF-96EFAC6FF818}"/>
          </ac:spMkLst>
        </pc:spChg>
        <pc:spChg chg="add del">
          <ac:chgData name="丁野 光理" userId="53361c9a-10d0-4268-b39c-a1f4044b33f4" providerId="ADAL" clId="{5FE0A016-0A93-4063-8F08-CD48630E8DBB}" dt="2025-01-29T13:08:13.852" v="147" actId="478"/>
          <ac:spMkLst>
            <pc:docMk/>
            <pc:sldMk cId="3685116316" sldId="2147378709"/>
            <ac:spMk id="36" creationId="{833B7B3B-2AA4-02F5-9605-1CA648B26A9E}"/>
          </ac:spMkLst>
        </pc:spChg>
        <pc:cxnChg chg="mod">
          <ac:chgData name="丁野 光理" userId="53361c9a-10d0-4268-b39c-a1f4044b33f4" providerId="ADAL" clId="{5FE0A016-0A93-4063-8F08-CD48630E8DBB}" dt="2025-02-05T11:46:32.671" v="868" actId="1036"/>
          <ac:cxnSpMkLst>
            <pc:docMk/>
            <pc:sldMk cId="3685116316" sldId="2147378709"/>
            <ac:cxnSpMk id="19" creationId="{988F5D47-E5D3-5BF3-75A0-F784D65E7675}"/>
          </ac:cxnSpMkLst>
        </pc:cxnChg>
        <pc:cxnChg chg="mod">
          <ac:chgData name="丁野 光理" userId="53361c9a-10d0-4268-b39c-a1f4044b33f4" providerId="ADAL" clId="{5FE0A016-0A93-4063-8F08-CD48630E8DBB}" dt="2025-02-05T11:46:32.671" v="868" actId="1036"/>
          <ac:cxnSpMkLst>
            <pc:docMk/>
            <pc:sldMk cId="3685116316" sldId="2147378709"/>
            <ac:cxnSpMk id="21" creationId="{2C5A1D27-39E7-7A74-E0C6-11903FAA5D16}"/>
          </ac:cxnSpMkLst>
        </pc:cxnChg>
        <pc:cxnChg chg="mod">
          <ac:chgData name="丁野 光理" userId="53361c9a-10d0-4268-b39c-a1f4044b33f4" providerId="ADAL" clId="{5FE0A016-0A93-4063-8F08-CD48630E8DBB}" dt="2025-02-05T11:46:32.671" v="868" actId="1036"/>
          <ac:cxnSpMkLst>
            <pc:docMk/>
            <pc:sldMk cId="3685116316" sldId="2147378709"/>
            <ac:cxnSpMk id="24" creationId="{67CF960F-BF89-4129-340B-68AB5FDE8755}"/>
          </ac:cxnSpMkLst>
        </pc:cxnChg>
        <pc:cxnChg chg="mod">
          <ac:chgData name="丁野 光理" userId="53361c9a-10d0-4268-b39c-a1f4044b33f4" providerId="ADAL" clId="{5FE0A016-0A93-4063-8F08-CD48630E8DBB}" dt="2025-02-05T11:46:32.671" v="868" actId="1036"/>
          <ac:cxnSpMkLst>
            <pc:docMk/>
            <pc:sldMk cId="3685116316" sldId="2147378709"/>
            <ac:cxnSpMk id="26" creationId="{D275D890-34D1-720A-5568-058C5CE60E89}"/>
          </ac:cxnSpMkLst>
        </pc:cxnChg>
        <pc:cxnChg chg="mod">
          <ac:chgData name="丁野 光理" userId="53361c9a-10d0-4268-b39c-a1f4044b33f4" providerId="ADAL" clId="{5FE0A016-0A93-4063-8F08-CD48630E8DBB}" dt="2025-02-05T11:46:32.671" v="868" actId="1036"/>
          <ac:cxnSpMkLst>
            <pc:docMk/>
            <pc:sldMk cId="3685116316" sldId="2147378709"/>
            <ac:cxnSpMk id="27" creationId="{E7CB3556-2936-30A4-AEC6-65D0A1738CDB}"/>
          </ac:cxnSpMkLst>
        </pc:cxnChg>
        <pc:extLst>
          <p:ext xmlns:p="http://schemas.openxmlformats.org/presentationml/2006/main" uri="{D6D511B9-2390-475A-947B-AFAB55BFBCF1}">
            <pc226:cmChg xmlns:pc226="http://schemas.microsoft.com/office/powerpoint/2022/06/main/command" chg="mod">
              <pc226:chgData name="丁野 光理" userId="53361c9a-10d0-4268-b39c-a1f4044b33f4" providerId="ADAL" clId="{5FE0A016-0A93-4063-8F08-CD48630E8DBB}" dt="2025-02-04T13:52:53.895" v="711" actId="6549"/>
              <pc2:cmMkLst xmlns:pc2="http://schemas.microsoft.com/office/powerpoint/2019/9/main/command">
                <pc:docMk/>
                <pc:sldMk cId="3685116316" sldId="2147378709"/>
                <pc2:cmMk id="{0546C6D6-74B2-4DB4-8DCD-331FAC1E9233}"/>
              </pc2:cmMkLst>
            </pc226:cmChg>
          </p:ext>
        </pc:extLst>
      </pc:sldChg>
      <pc:sldChg chg="addSp delSp modSp mod ord">
        <pc:chgData name="丁野 光理" userId="53361c9a-10d0-4268-b39c-a1f4044b33f4" providerId="ADAL" clId="{5FE0A016-0A93-4063-8F08-CD48630E8DBB}" dt="2025-02-06T15:13:31.651" v="7982"/>
        <pc:sldMkLst>
          <pc:docMk/>
          <pc:sldMk cId="2249235288" sldId="2147378710"/>
        </pc:sldMkLst>
        <pc:spChg chg="mod">
          <ac:chgData name="丁野 光理" userId="53361c9a-10d0-4268-b39c-a1f4044b33f4" providerId="ADAL" clId="{5FE0A016-0A93-4063-8F08-CD48630E8DBB}" dt="2025-02-06T15:13:16.419" v="7978"/>
          <ac:spMkLst>
            <pc:docMk/>
            <pc:sldMk cId="2249235288" sldId="2147378710"/>
            <ac:spMk id="2" creationId="{BDE63369-EA7E-4802-A4A3-D4010A333C66}"/>
          </ac:spMkLst>
        </pc:spChg>
        <pc:spChg chg="mod">
          <ac:chgData name="丁野 光理" userId="53361c9a-10d0-4268-b39c-a1f4044b33f4" providerId="ADAL" clId="{5FE0A016-0A93-4063-8F08-CD48630E8DBB}" dt="2025-02-06T15:13:10.595" v="7977"/>
          <ac:spMkLst>
            <pc:docMk/>
            <pc:sldMk cId="2249235288" sldId="2147378710"/>
            <ac:spMk id="9" creationId="{D22A0A06-D5A8-4A1A-B66F-2A8EDBD644F1}"/>
          </ac:spMkLst>
        </pc:spChg>
        <pc:spChg chg="mod">
          <ac:chgData name="丁野 光理" userId="53361c9a-10d0-4268-b39c-a1f4044b33f4" providerId="ADAL" clId="{5FE0A016-0A93-4063-8F08-CD48630E8DBB}" dt="2025-02-05T11:46:37.770" v="869" actId="1076"/>
          <ac:spMkLst>
            <pc:docMk/>
            <pc:sldMk cId="2249235288" sldId="2147378710"/>
            <ac:spMk id="11" creationId="{5B8ABDA1-3D2A-BE6F-2D47-4B44E4CE9142}"/>
          </ac:spMkLst>
        </pc:spChg>
        <pc:spChg chg="del">
          <ac:chgData name="丁野 光理" userId="53361c9a-10d0-4268-b39c-a1f4044b33f4" providerId="ADAL" clId="{5FE0A016-0A93-4063-8F08-CD48630E8DBB}" dt="2025-01-29T13:08:11.509" v="146" actId="478"/>
          <ac:spMkLst>
            <pc:docMk/>
            <pc:sldMk cId="2249235288" sldId="2147378710"/>
            <ac:spMk id="15" creationId="{023910BE-64AD-C23C-E1DF-2E35F066FA1D}"/>
          </ac:spMkLst>
        </pc:spChg>
        <pc:spChg chg="add del mod">
          <ac:chgData name="丁野 光理" userId="53361c9a-10d0-4268-b39c-a1f4044b33f4" providerId="ADAL" clId="{5FE0A016-0A93-4063-8F08-CD48630E8DBB}" dt="2025-02-05T11:49:07.219" v="1021" actId="478"/>
          <ac:spMkLst>
            <pc:docMk/>
            <pc:sldMk cId="2249235288" sldId="2147378710"/>
            <ac:spMk id="15" creationId="{377C740A-031B-4D41-00E8-3A150421DA8B}"/>
          </ac:spMkLst>
        </pc:spChg>
        <pc:spChg chg="add del mod">
          <ac:chgData name="丁野 光理" userId="53361c9a-10d0-4268-b39c-a1f4044b33f4" providerId="ADAL" clId="{5FE0A016-0A93-4063-8F08-CD48630E8DBB}" dt="2025-02-05T11:49:33.103" v="1041" actId="478"/>
          <ac:spMkLst>
            <pc:docMk/>
            <pc:sldMk cId="2249235288" sldId="2147378710"/>
            <ac:spMk id="16" creationId="{138B2495-A6D4-2514-6B67-13A081976AD1}"/>
          </ac:spMkLst>
        </pc:spChg>
        <pc:spChg chg="add mod">
          <ac:chgData name="丁野 光理" userId="53361c9a-10d0-4268-b39c-a1f4044b33f4" providerId="ADAL" clId="{5FE0A016-0A93-4063-8F08-CD48630E8DBB}" dt="2025-02-06T15:13:31.651" v="7982"/>
          <ac:spMkLst>
            <pc:docMk/>
            <pc:sldMk cId="2249235288" sldId="2147378710"/>
            <ac:spMk id="17" creationId="{CF45C799-184A-B9A1-3984-069F4A38D270}"/>
          </ac:spMkLst>
        </pc:spChg>
      </pc:sldChg>
      <pc:sldChg chg="addSp delSp modSp mod ord">
        <pc:chgData name="丁野 光理" userId="53361c9a-10d0-4268-b39c-a1f4044b33f4" providerId="ADAL" clId="{5FE0A016-0A93-4063-8F08-CD48630E8DBB}" dt="2025-02-07T01:45:07.923" v="19676"/>
        <pc:sldMkLst>
          <pc:docMk/>
          <pc:sldMk cId="1302942433" sldId="2147378711"/>
        </pc:sldMkLst>
        <pc:spChg chg="mod">
          <ac:chgData name="丁野 光理" userId="53361c9a-10d0-4268-b39c-a1f4044b33f4" providerId="ADAL" clId="{5FE0A016-0A93-4063-8F08-CD48630E8DBB}" dt="2025-02-06T15:14:22.363" v="7989"/>
          <ac:spMkLst>
            <pc:docMk/>
            <pc:sldMk cId="1302942433" sldId="2147378711"/>
            <ac:spMk id="2" creationId="{BDE63369-EA7E-4802-A4A3-D4010A333C66}"/>
          </ac:spMkLst>
        </pc:spChg>
        <pc:spChg chg="mod">
          <ac:chgData name="丁野 光理" userId="53361c9a-10d0-4268-b39c-a1f4044b33f4" providerId="ADAL" clId="{5FE0A016-0A93-4063-8F08-CD48630E8DBB}" dt="2025-02-05T11:46:47.369" v="884" actId="1036"/>
          <ac:spMkLst>
            <pc:docMk/>
            <pc:sldMk cId="1302942433" sldId="2147378711"/>
            <ac:spMk id="7" creationId="{081FA0EF-B0D7-A6B9-D177-CBA186431769}"/>
          </ac:spMkLst>
        </pc:spChg>
        <pc:spChg chg="mod">
          <ac:chgData name="丁野 光理" userId="53361c9a-10d0-4268-b39c-a1f4044b33f4" providerId="ADAL" clId="{5FE0A016-0A93-4063-8F08-CD48630E8DBB}" dt="2025-02-06T15:14:28.347" v="7990"/>
          <ac:spMkLst>
            <pc:docMk/>
            <pc:sldMk cId="1302942433" sldId="2147378711"/>
            <ac:spMk id="9" creationId="{D22A0A06-D5A8-4A1A-B66F-2A8EDBD644F1}"/>
          </ac:spMkLst>
        </pc:spChg>
        <pc:spChg chg="mod">
          <ac:chgData name="丁野 光理" userId="53361c9a-10d0-4268-b39c-a1f4044b33f4" providerId="ADAL" clId="{5FE0A016-0A93-4063-8F08-CD48630E8DBB}" dt="2025-02-07T01:45:07.923" v="19676"/>
          <ac:spMkLst>
            <pc:docMk/>
            <pc:sldMk cId="1302942433" sldId="2147378711"/>
            <ac:spMk id="10" creationId="{1A383005-B1A5-AD52-BAD8-1851206F59CA}"/>
          </ac:spMkLst>
        </pc:spChg>
        <pc:spChg chg="del">
          <ac:chgData name="丁野 光理" userId="53361c9a-10d0-4268-b39c-a1f4044b33f4" providerId="ADAL" clId="{5FE0A016-0A93-4063-8F08-CD48630E8DBB}" dt="2025-02-05T11:46:58.533" v="886" actId="478"/>
          <ac:spMkLst>
            <pc:docMk/>
            <pc:sldMk cId="1302942433" sldId="2147378711"/>
            <ac:spMk id="11" creationId="{5B8ABDA1-3D2A-BE6F-2D47-4B44E4CE9142}"/>
          </ac:spMkLst>
        </pc:spChg>
        <pc:spChg chg="mod">
          <ac:chgData name="丁野 光理" userId="53361c9a-10d0-4268-b39c-a1f4044b33f4" providerId="ADAL" clId="{5FE0A016-0A93-4063-8F08-CD48630E8DBB}" dt="2025-02-05T11:46:47.369" v="884" actId="1036"/>
          <ac:spMkLst>
            <pc:docMk/>
            <pc:sldMk cId="1302942433" sldId="2147378711"/>
            <ac:spMk id="13" creationId="{EDAD2185-EC0D-868E-795C-E7F2FB4ACC64}"/>
          </ac:spMkLst>
        </pc:spChg>
        <pc:spChg chg="add mod">
          <ac:chgData name="丁野 光理" userId="53361c9a-10d0-4268-b39c-a1f4044b33f4" providerId="ADAL" clId="{5FE0A016-0A93-4063-8F08-CD48630E8DBB}" dt="2025-02-05T11:46:47.369" v="884" actId="1036"/>
          <ac:spMkLst>
            <pc:docMk/>
            <pc:sldMk cId="1302942433" sldId="2147378711"/>
            <ac:spMk id="14" creationId="{18C1D74E-EB9E-1CE0-ED28-285496344003}"/>
          </ac:spMkLst>
        </pc:spChg>
        <pc:spChg chg="del mod">
          <ac:chgData name="丁野 光理" userId="53361c9a-10d0-4268-b39c-a1f4044b33f4" providerId="ADAL" clId="{5FE0A016-0A93-4063-8F08-CD48630E8DBB}" dt="2025-01-30T11:11:57.172" v="258" actId="478"/>
          <ac:spMkLst>
            <pc:docMk/>
            <pc:sldMk cId="1302942433" sldId="2147378711"/>
            <ac:spMk id="15" creationId="{023910BE-64AD-C23C-E1DF-2E35F066FA1D}"/>
          </ac:spMkLst>
        </pc:spChg>
        <pc:spChg chg="add mod">
          <ac:chgData name="丁野 光理" userId="53361c9a-10d0-4268-b39c-a1f4044b33f4" providerId="ADAL" clId="{5FE0A016-0A93-4063-8F08-CD48630E8DBB}" dt="2025-02-05T11:46:56.781" v="885"/>
          <ac:spMkLst>
            <pc:docMk/>
            <pc:sldMk cId="1302942433" sldId="2147378711"/>
            <ac:spMk id="15" creationId="{A297BE6E-52F9-8183-AA90-19F0C17C5E07}"/>
          </ac:spMkLst>
        </pc:spChg>
        <pc:spChg chg="del">
          <ac:chgData name="丁野 光理" userId="53361c9a-10d0-4268-b39c-a1f4044b33f4" providerId="ADAL" clId="{5FE0A016-0A93-4063-8F08-CD48630E8DBB}" dt="2025-01-29T13:07:55.451" v="144" actId="478"/>
          <ac:spMkLst>
            <pc:docMk/>
            <pc:sldMk cId="1302942433" sldId="2147378711"/>
            <ac:spMk id="16" creationId="{9BE531E5-4F22-4DE9-B6DB-7FD8253B5070}"/>
          </ac:spMkLst>
        </pc:spChg>
        <pc:spChg chg="add del mod">
          <ac:chgData name="丁野 光理" userId="53361c9a-10d0-4268-b39c-a1f4044b33f4" providerId="ADAL" clId="{5FE0A016-0A93-4063-8F08-CD48630E8DBB}" dt="2025-02-05T11:47:03.915" v="888" actId="478"/>
          <ac:spMkLst>
            <pc:docMk/>
            <pc:sldMk cId="1302942433" sldId="2147378711"/>
            <ac:spMk id="17" creationId="{D490E296-A487-85A5-B17B-BD7ED71D5F5D}"/>
          </ac:spMkLst>
        </pc:spChg>
        <pc:spChg chg="add del mod">
          <ac:chgData name="丁野 光理" userId="53361c9a-10d0-4268-b39c-a1f4044b33f4" providerId="ADAL" clId="{5FE0A016-0A93-4063-8F08-CD48630E8DBB}" dt="2025-02-05T11:49:11.488" v="1023" actId="478"/>
          <ac:spMkLst>
            <pc:docMk/>
            <pc:sldMk cId="1302942433" sldId="2147378711"/>
            <ac:spMk id="18" creationId="{AA2C3771-52EB-156C-0945-A9BFAB147270}"/>
          </ac:spMkLst>
        </pc:spChg>
        <pc:spChg chg="add del mod">
          <ac:chgData name="丁野 光理" userId="53361c9a-10d0-4268-b39c-a1f4044b33f4" providerId="ADAL" clId="{5FE0A016-0A93-4063-8F08-CD48630E8DBB}" dt="2025-02-05T11:49:41.872" v="1043" actId="478"/>
          <ac:spMkLst>
            <pc:docMk/>
            <pc:sldMk cId="1302942433" sldId="2147378711"/>
            <ac:spMk id="19" creationId="{C22C6EEB-32E9-5AD8-1AB2-C70BB3280E27}"/>
          </ac:spMkLst>
        </pc:spChg>
        <pc:spChg chg="add mod">
          <ac:chgData name="丁野 光理" userId="53361c9a-10d0-4268-b39c-a1f4044b33f4" providerId="ADAL" clId="{5FE0A016-0A93-4063-8F08-CD48630E8DBB}" dt="2025-02-06T15:15:01.062" v="8003" actId="20577"/>
          <ac:spMkLst>
            <pc:docMk/>
            <pc:sldMk cId="1302942433" sldId="2147378711"/>
            <ac:spMk id="20" creationId="{94800FDA-81F1-3586-866D-A519778D8DB8}"/>
          </ac:spMkLst>
        </pc:spChg>
        <pc:grpChg chg="mod">
          <ac:chgData name="丁野 光理" userId="53361c9a-10d0-4268-b39c-a1f4044b33f4" providerId="ADAL" clId="{5FE0A016-0A93-4063-8F08-CD48630E8DBB}" dt="2025-02-05T11:46:47.369" v="884" actId="1036"/>
          <ac:grpSpMkLst>
            <pc:docMk/>
            <pc:sldMk cId="1302942433" sldId="2147378711"/>
            <ac:grpSpMk id="3" creationId="{F85333DF-4E5C-DAEA-926C-1A154E2103A9}"/>
          </ac:grpSpMkLst>
        </pc:grpChg>
        <pc:grpChg chg="mod">
          <ac:chgData name="丁野 光理" userId="53361c9a-10d0-4268-b39c-a1f4044b33f4" providerId="ADAL" clId="{5FE0A016-0A93-4063-8F08-CD48630E8DBB}" dt="2025-02-05T11:46:47.369" v="884" actId="1036"/>
          <ac:grpSpMkLst>
            <pc:docMk/>
            <pc:sldMk cId="1302942433" sldId="2147378711"/>
            <ac:grpSpMk id="4" creationId="{EAB62C42-9CF0-6E2B-28F8-CFEDB26FC1DD}"/>
          </ac:grpSpMkLst>
        </pc:grpChg>
        <pc:grpChg chg="mod">
          <ac:chgData name="丁野 光理" userId="53361c9a-10d0-4268-b39c-a1f4044b33f4" providerId="ADAL" clId="{5FE0A016-0A93-4063-8F08-CD48630E8DBB}" dt="2025-02-05T11:46:47.369" v="884" actId="1036"/>
          <ac:grpSpMkLst>
            <pc:docMk/>
            <pc:sldMk cId="1302942433" sldId="2147378711"/>
            <ac:grpSpMk id="6" creationId="{A2007A34-9A61-3C01-D672-C413701B3445}"/>
          </ac:grpSpMkLst>
        </pc:grpChg>
        <pc:cxnChg chg="mod">
          <ac:chgData name="丁野 光理" userId="53361c9a-10d0-4268-b39c-a1f4044b33f4" providerId="ADAL" clId="{5FE0A016-0A93-4063-8F08-CD48630E8DBB}" dt="2025-02-05T11:46:47.369" v="884" actId="1036"/>
          <ac:cxnSpMkLst>
            <pc:docMk/>
            <pc:sldMk cId="1302942433" sldId="2147378711"/>
            <ac:cxnSpMk id="8" creationId="{99FBEF6F-94C3-52B0-FA40-DD378C8E4F64}"/>
          </ac:cxnSpMkLst>
        </pc:cxnChg>
        <pc:cxnChg chg="mod">
          <ac:chgData name="丁野 光理" userId="53361c9a-10d0-4268-b39c-a1f4044b33f4" providerId="ADAL" clId="{5FE0A016-0A93-4063-8F08-CD48630E8DBB}" dt="2025-02-05T11:46:47.369" v="884" actId="1036"/>
          <ac:cxnSpMkLst>
            <pc:docMk/>
            <pc:sldMk cId="1302942433" sldId="2147378711"/>
            <ac:cxnSpMk id="12" creationId="{3653E4DF-7A5D-EE67-D31F-6D64D03C04E6}"/>
          </ac:cxnSpMkLst>
        </pc:cxnChg>
      </pc:sldChg>
      <pc:sldChg chg="addSp delSp modSp del mod ord">
        <pc:chgData name="丁野 光理" userId="53361c9a-10d0-4268-b39c-a1f4044b33f4" providerId="ADAL" clId="{5FE0A016-0A93-4063-8F08-CD48630E8DBB}" dt="2025-02-07T11:21:40.947" v="24493" actId="47"/>
        <pc:sldMkLst>
          <pc:docMk/>
          <pc:sldMk cId="958813593" sldId="2147378712"/>
        </pc:sldMkLst>
        <pc:spChg chg="mod">
          <ac:chgData name="丁野 光理" userId="53361c9a-10d0-4268-b39c-a1f4044b33f4" providerId="ADAL" clId="{5FE0A016-0A93-4063-8F08-CD48630E8DBB}" dt="2025-02-06T15:15:45.846" v="8008"/>
          <ac:spMkLst>
            <pc:docMk/>
            <pc:sldMk cId="958813593" sldId="2147378712"/>
            <ac:spMk id="2" creationId="{BDE63369-EA7E-4802-A4A3-D4010A333C66}"/>
          </ac:spMkLst>
        </pc:spChg>
        <pc:spChg chg="add mod">
          <ac:chgData name="丁野 光理" userId="53361c9a-10d0-4268-b39c-a1f4044b33f4" providerId="ADAL" clId="{5FE0A016-0A93-4063-8F08-CD48630E8DBB}" dt="2025-02-06T15:16:05.845" v="8012"/>
          <ac:spMkLst>
            <pc:docMk/>
            <pc:sldMk cId="958813593" sldId="2147378712"/>
            <ac:spMk id="3" creationId="{91EE754F-8C87-1B2E-0787-5CD75A67D43F}"/>
          </ac:spMkLst>
        </pc:spChg>
        <pc:spChg chg="add mod">
          <ac:chgData name="丁野 光理" userId="53361c9a-10d0-4268-b39c-a1f4044b33f4" providerId="ADAL" clId="{5FE0A016-0A93-4063-8F08-CD48630E8DBB}" dt="2025-02-06T16:18:31.900" v="11559" actId="1076"/>
          <ac:spMkLst>
            <pc:docMk/>
            <pc:sldMk cId="958813593" sldId="2147378712"/>
            <ac:spMk id="6" creationId="{09D775EB-351B-C236-C043-A7DD108D7C85}"/>
          </ac:spMkLst>
        </pc:spChg>
        <pc:spChg chg="add del mod">
          <ac:chgData name="丁野 光理" userId="53361c9a-10d0-4268-b39c-a1f4044b33f4" providerId="ADAL" clId="{5FE0A016-0A93-4063-8F08-CD48630E8DBB}" dt="2025-02-05T11:49:59.021" v="1074" actId="478"/>
          <ac:spMkLst>
            <pc:docMk/>
            <pc:sldMk cId="958813593" sldId="2147378712"/>
            <ac:spMk id="6" creationId="{71AA0A7F-8AA3-BDE5-0597-47F6E56C89D4}"/>
          </ac:spMkLst>
        </pc:spChg>
        <pc:spChg chg="add del mod">
          <ac:chgData name="丁野 光理" userId="53361c9a-10d0-4268-b39c-a1f4044b33f4" providerId="ADAL" clId="{5FE0A016-0A93-4063-8F08-CD48630E8DBB}" dt="2025-02-06T16:10:44.012" v="10815" actId="478"/>
          <ac:spMkLst>
            <pc:docMk/>
            <pc:sldMk cId="958813593" sldId="2147378712"/>
            <ac:spMk id="7" creationId="{3691CDB4-58BB-E579-BB19-C14A7E95B4EB}"/>
          </ac:spMkLst>
        </pc:spChg>
        <pc:spChg chg="mod">
          <ac:chgData name="丁野 光理" userId="53361c9a-10d0-4268-b39c-a1f4044b33f4" providerId="ADAL" clId="{5FE0A016-0A93-4063-8F08-CD48630E8DBB}" dt="2025-02-06T15:15:52.140" v="8009"/>
          <ac:spMkLst>
            <pc:docMk/>
            <pc:sldMk cId="958813593" sldId="2147378712"/>
            <ac:spMk id="9" creationId="{D22A0A06-D5A8-4A1A-B66F-2A8EDBD644F1}"/>
          </ac:spMkLst>
        </pc:spChg>
        <pc:spChg chg="del mod">
          <ac:chgData name="丁野 光理" userId="53361c9a-10d0-4268-b39c-a1f4044b33f4" providerId="ADAL" clId="{5FE0A016-0A93-4063-8F08-CD48630E8DBB}" dt="2025-02-05T11:49:57.052" v="1072" actId="478"/>
          <ac:spMkLst>
            <pc:docMk/>
            <pc:sldMk cId="958813593" sldId="2147378712"/>
            <ac:spMk id="11" creationId="{5B8ABDA1-3D2A-BE6F-2D47-4B44E4CE9142}"/>
          </ac:spMkLst>
        </pc:spChg>
        <pc:spChg chg="del">
          <ac:chgData name="丁野 光理" userId="53361c9a-10d0-4268-b39c-a1f4044b33f4" providerId="ADAL" clId="{5FE0A016-0A93-4063-8F08-CD48630E8DBB}" dt="2025-01-29T13:07:51.381" v="143" actId="478"/>
          <ac:spMkLst>
            <pc:docMk/>
            <pc:sldMk cId="958813593" sldId="2147378712"/>
            <ac:spMk id="17" creationId="{8E12BC20-AEA4-4454-E75A-D818ACE447A8}"/>
          </ac:spMkLst>
        </pc:spChg>
        <pc:graphicFrameChg chg="add mod modGraphic">
          <ac:chgData name="丁野 光理" userId="53361c9a-10d0-4268-b39c-a1f4044b33f4" providerId="ADAL" clId="{5FE0A016-0A93-4063-8F08-CD48630E8DBB}" dt="2025-02-06T16:17:55.447" v="11469"/>
          <ac:graphicFrameMkLst>
            <pc:docMk/>
            <pc:sldMk cId="958813593" sldId="2147378712"/>
            <ac:graphicFrameMk id="4" creationId="{7E0BF0E4-B5DA-4811-4F9E-6C1AC2614AA5}"/>
          </ac:graphicFrameMkLst>
        </pc:graphicFrameChg>
        <pc:graphicFrameChg chg="del mod modGraphic">
          <ac:chgData name="丁野 光理" userId="53361c9a-10d0-4268-b39c-a1f4044b33f4" providerId="ADAL" clId="{5FE0A016-0A93-4063-8F08-CD48630E8DBB}" dt="2025-02-06T16:11:07.435" v="10821" actId="478"/>
          <ac:graphicFrameMkLst>
            <pc:docMk/>
            <pc:sldMk cId="958813593" sldId="2147378712"/>
            <ac:graphicFrameMk id="14" creationId="{9887595F-90B6-1EDC-9BF9-62AD79C17B7E}"/>
          </ac:graphicFrameMkLst>
        </pc:graphicFrameChg>
      </pc:sldChg>
      <pc:sldChg chg="addSp delSp modSp mod delCm">
        <pc:chgData name="丁野 光理" userId="53361c9a-10d0-4268-b39c-a1f4044b33f4" providerId="ADAL" clId="{5FE0A016-0A93-4063-8F08-CD48630E8DBB}" dt="2025-02-07T12:19:22.108" v="26228" actId="27636"/>
        <pc:sldMkLst>
          <pc:docMk/>
          <pc:sldMk cId="2848558883" sldId="2147378713"/>
        </pc:sldMkLst>
        <pc:spChg chg="mod">
          <ac:chgData name="丁野 光理" userId="53361c9a-10d0-4268-b39c-a1f4044b33f4" providerId="ADAL" clId="{5FE0A016-0A93-4063-8F08-CD48630E8DBB}" dt="2025-02-07T11:36:49.386" v="24798" actId="20577"/>
          <ac:spMkLst>
            <pc:docMk/>
            <pc:sldMk cId="2848558883" sldId="2147378713"/>
            <ac:spMk id="4" creationId="{29DB748F-EFF5-4509-B381-6B8D73B31303}"/>
          </ac:spMkLst>
        </pc:spChg>
        <pc:spChg chg="add mod">
          <ac:chgData name="丁野 光理" userId="53361c9a-10d0-4268-b39c-a1f4044b33f4" providerId="ADAL" clId="{5FE0A016-0A93-4063-8F08-CD48630E8DBB}" dt="2025-02-06T15:38:18.997" v="8936"/>
          <ac:spMkLst>
            <pc:docMk/>
            <pc:sldMk cId="2848558883" sldId="2147378713"/>
            <ac:spMk id="6" creationId="{6AA70187-F136-66C7-03A4-86FA183915B9}"/>
          </ac:spMkLst>
        </pc:spChg>
        <pc:spChg chg="del">
          <ac:chgData name="丁野 光理" userId="53361c9a-10d0-4268-b39c-a1f4044b33f4" providerId="ADAL" clId="{5FE0A016-0A93-4063-8F08-CD48630E8DBB}" dt="2025-01-29T13:07:34.024" v="138" actId="478"/>
          <ac:spMkLst>
            <pc:docMk/>
            <pc:sldMk cId="2848558883" sldId="2147378713"/>
            <ac:spMk id="6" creationId="{9E4631E7-964D-E009-B2BB-C8E7CB208D67}"/>
          </ac:spMkLst>
        </pc:spChg>
        <pc:spChg chg="del mod">
          <ac:chgData name="丁野 光理" userId="53361c9a-10d0-4268-b39c-a1f4044b33f4" providerId="ADAL" clId="{5FE0A016-0A93-4063-8F08-CD48630E8DBB}" dt="2025-01-29T13:07:33.027" v="137" actId="478"/>
          <ac:spMkLst>
            <pc:docMk/>
            <pc:sldMk cId="2848558883" sldId="2147378713"/>
            <ac:spMk id="7" creationId="{44C5D2AE-5A67-8B16-4D64-05BEA1BC14F5}"/>
          </ac:spMkLst>
        </pc:spChg>
        <pc:spChg chg="add mod">
          <ac:chgData name="丁野 光理" userId="53361c9a-10d0-4268-b39c-a1f4044b33f4" providerId="ADAL" clId="{5FE0A016-0A93-4063-8F08-CD48630E8DBB}" dt="2025-02-06T15:38:41.826" v="8972" actId="1076"/>
          <ac:spMkLst>
            <pc:docMk/>
            <pc:sldMk cId="2848558883" sldId="2147378713"/>
            <ac:spMk id="7" creationId="{7A4B5C97-0EFD-66A6-AD4E-37C25AAED383}"/>
          </ac:spMkLst>
        </pc:spChg>
        <pc:spChg chg="mod">
          <ac:chgData name="丁野 光理" userId="53361c9a-10d0-4268-b39c-a1f4044b33f4" providerId="ADAL" clId="{5FE0A016-0A93-4063-8F08-CD48630E8DBB}" dt="2025-02-07T12:19:22.108" v="26228" actId="27636"/>
          <ac:spMkLst>
            <pc:docMk/>
            <pc:sldMk cId="2848558883" sldId="2147378713"/>
            <ac:spMk id="8" creationId="{9D610DBF-17F7-608B-8680-1CFA54E54E02}"/>
          </ac:spMkLst>
        </pc:spChg>
        <pc:spChg chg="add mod">
          <ac:chgData name="丁野 光理" userId="53361c9a-10d0-4268-b39c-a1f4044b33f4" providerId="ADAL" clId="{5FE0A016-0A93-4063-8F08-CD48630E8DBB}" dt="2025-02-06T15:38:53.867" v="8989" actId="14100"/>
          <ac:spMkLst>
            <pc:docMk/>
            <pc:sldMk cId="2848558883" sldId="2147378713"/>
            <ac:spMk id="9" creationId="{1262904C-D38A-3D7B-A122-60E3E02CC0F6}"/>
          </ac:spMkLst>
        </pc:spChg>
        <pc:spChg chg="add mod">
          <ac:chgData name="丁野 光理" userId="53361c9a-10d0-4268-b39c-a1f4044b33f4" providerId="ADAL" clId="{5FE0A016-0A93-4063-8F08-CD48630E8DBB}" dt="2025-02-06T15:39:31.502" v="9028" actId="14100"/>
          <ac:spMkLst>
            <pc:docMk/>
            <pc:sldMk cId="2848558883" sldId="2147378713"/>
            <ac:spMk id="10" creationId="{19A85C70-63B1-FB56-AF72-EE2FC15CE64C}"/>
          </ac:spMkLst>
        </pc:spChg>
        <pc:spChg chg="add mod">
          <ac:chgData name="丁野 光理" userId="53361c9a-10d0-4268-b39c-a1f4044b33f4" providerId="ADAL" clId="{5FE0A016-0A93-4063-8F08-CD48630E8DBB}" dt="2025-02-06T15:39:41.998" v="9034" actId="1076"/>
          <ac:spMkLst>
            <pc:docMk/>
            <pc:sldMk cId="2848558883" sldId="2147378713"/>
            <ac:spMk id="11" creationId="{049F750A-FABA-8AB3-5381-7032A796023D}"/>
          </ac:spMkLst>
        </pc:spChg>
        <pc:spChg chg="add mod">
          <ac:chgData name="丁野 光理" userId="53361c9a-10d0-4268-b39c-a1f4044b33f4" providerId="ADAL" clId="{5FE0A016-0A93-4063-8F08-CD48630E8DBB}" dt="2025-02-06T15:39:39.108" v="9033" actId="1076"/>
          <ac:spMkLst>
            <pc:docMk/>
            <pc:sldMk cId="2848558883" sldId="2147378713"/>
            <ac:spMk id="12" creationId="{28B77D76-A8D6-74E7-5ECE-0E247E056990}"/>
          </ac:spMkLst>
        </pc:spChg>
        <pc:spChg chg="add mod">
          <ac:chgData name="丁野 光理" userId="53361c9a-10d0-4268-b39c-a1f4044b33f4" providerId="ADAL" clId="{5FE0A016-0A93-4063-8F08-CD48630E8DBB}" dt="2025-02-06T15:39:36.898" v="9032" actId="1076"/>
          <ac:spMkLst>
            <pc:docMk/>
            <pc:sldMk cId="2848558883" sldId="2147378713"/>
            <ac:spMk id="13" creationId="{B61B5B02-FFAE-760A-3D1D-4EB78FF2F69B}"/>
          </ac:spMkLst>
        </pc:spChg>
        <pc:spChg chg="add mod">
          <ac:chgData name="丁野 光理" userId="53361c9a-10d0-4268-b39c-a1f4044b33f4" providerId="ADAL" clId="{5FE0A016-0A93-4063-8F08-CD48630E8DBB}" dt="2025-02-06T15:40:07.453" v="9086" actId="20577"/>
          <ac:spMkLst>
            <pc:docMk/>
            <pc:sldMk cId="2848558883" sldId="2147378713"/>
            <ac:spMk id="14" creationId="{61134609-B34B-C071-0971-B496E138A26B}"/>
          </ac:spMkLst>
        </pc:spChg>
        <pc:spChg chg="add mod">
          <ac:chgData name="丁野 光理" userId="53361c9a-10d0-4268-b39c-a1f4044b33f4" providerId="ADAL" clId="{5FE0A016-0A93-4063-8F08-CD48630E8DBB}" dt="2025-02-06T15:40:03.987" v="9079"/>
          <ac:spMkLst>
            <pc:docMk/>
            <pc:sldMk cId="2848558883" sldId="2147378713"/>
            <ac:spMk id="15" creationId="{5CF442C1-D88A-0582-DFB1-3CCBF4972E67}"/>
          </ac:spMkLst>
        </pc:spChg>
        <pc:spChg chg="add mod">
          <ac:chgData name="丁野 光理" userId="53361c9a-10d0-4268-b39c-a1f4044b33f4" providerId="ADAL" clId="{5FE0A016-0A93-4063-8F08-CD48630E8DBB}" dt="2025-02-06T15:40:29.054" v="9145" actId="1076"/>
          <ac:spMkLst>
            <pc:docMk/>
            <pc:sldMk cId="2848558883" sldId="2147378713"/>
            <ac:spMk id="16" creationId="{3A3F5415-1FFB-D6D9-160C-1802DCBD2D2F}"/>
          </ac:spMkLst>
        </pc:spChg>
        <pc:spChg chg="add mod">
          <ac:chgData name="丁野 光理" userId="53361c9a-10d0-4268-b39c-a1f4044b33f4" providerId="ADAL" clId="{5FE0A016-0A93-4063-8F08-CD48630E8DBB}" dt="2025-02-06T15:40:35.861" v="9148" actId="14100"/>
          <ac:spMkLst>
            <pc:docMk/>
            <pc:sldMk cId="2848558883" sldId="2147378713"/>
            <ac:spMk id="17" creationId="{B85BA7A7-2EA0-C463-9B8C-957DD967155F}"/>
          </ac:spMkLst>
        </pc:spChg>
        <pc:spChg chg="add mod">
          <ac:chgData name="丁野 光理" userId="53361c9a-10d0-4268-b39c-a1f4044b33f4" providerId="ADAL" clId="{5FE0A016-0A93-4063-8F08-CD48630E8DBB}" dt="2025-02-06T15:40:44.077" v="9183"/>
          <ac:spMkLst>
            <pc:docMk/>
            <pc:sldMk cId="2848558883" sldId="2147378713"/>
            <ac:spMk id="18" creationId="{6235923C-BA68-BA6E-257A-9E82D27E5AA7}"/>
          </ac:spMkLst>
        </pc:spChg>
        <pc:spChg chg="add mod">
          <ac:chgData name="丁野 光理" userId="53361c9a-10d0-4268-b39c-a1f4044b33f4" providerId="ADAL" clId="{5FE0A016-0A93-4063-8F08-CD48630E8DBB}" dt="2025-02-06T15:40:57.748" v="9189" actId="1076"/>
          <ac:spMkLst>
            <pc:docMk/>
            <pc:sldMk cId="2848558883" sldId="2147378713"/>
            <ac:spMk id="19" creationId="{469BFAF2-628C-FBCC-FD7A-0B8149791F4E}"/>
          </ac:spMkLst>
        </pc:spChg>
        <pc:spChg chg="add mod">
          <ac:chgData name="丁野 光理" userId="53361c9a-10d0-4268-b39c-a1f4044b33f4" providerId="ADAL" clId="{5FE0A016-0A93-4063-8F08-CD48630E8DBB}" dt="2025-02-06T15:40:52.405" v="9188" actId="1076"/>
          <ac:spMkLst>
            <pc:docMk/>
            <pc:sldMk cId="2848558883" sldId="2147378713"/>
            <ac:spMk id="20" creationId="{DE66E234-02F7-8887-E31C-7AAE4EF35330}"/>
          </ac:spMkLst>
        </pc:spChg>
        <pc:spChg chg="add mod">
          <ac:chgData name="丁野 光理" userId="53361c9a-10d0-4268-b39c-a1f4044b33f4" providerId="ADAL" clId="{5FE0A016-0A93-4063-8F08-CD48630E8DBB}" dt="2025-02-06T15:40:49.565" v="9187" actId="1076"/>
          <ac:spMkLst>
            <pc:docMk/>
            <pc:sldMk cId="2848558883" sldId="2147378713"/>
            <ac:spMk id="21" creationId="{7B93A854-DC48-AED7-A346-154AC8853A28}"/>
          </ac:spMkLst>
        </pc:spChg>
        <pc:spChg chg="add mod">
          <ac:chgData name="丁野 光理" userId="53361c9a-10d0-4268-b39c-a1f4044b33f4" providerId="ADAL" clId="{5FE0A016-0A93-4063-8F08-CD48630E8DBB}" dt="2025-02-06T15:41:25.107" v="9236" actId="1076"/>
          <ac:spMkLst>
            <pc:docMk/>
            <pc:sldMk cId="2848558883" sldId="2147378713"/>
            <ac:spMk id="22" creationId="{44DF471C-9AAC-DB64-4328-E8760C32D421}"/>
          </ac:spMkLst>
        </pc:spChg>
        <pc:spChg chg="add mod">
          <ac:chgData name="丁野 光理" userId="53361c9a-10d0-4268-b39c-a1f4044b33f4" providerId="ADAL" clId="{5FE0A016-0A93-4063-8F08-CD48630E8DBB}" dt="2025-02-06T15:41:23.221" v="9235" actId="1076"/>
          <ac:spMkLst>
            <pc:docMk/>
            <pc:sldMk cId="2848558883" sldId="2147378713"/>
            <ac:spMk id="23" creationId="{AC63DED8-5731-AEB2-36A6-67E86BEB5A06}"/>
          </ac:spMkLst>
        </pc:spChg>
        <pc:spChg chg="add mod">
          <ac:chgData name="丁野 光理" userId="53361c9a-10d0-4268-b39c-a1f4044b33f4" providerId="ADAL" clId="{5FE0A016-0A93-4063-8F08-CD48630E8DBB}" dt="2025-02-06T15:41:32.909" v="9265"/>
          <ac:spMkLst>
            <pc:docMk/>
            <pc:sldMk cId="2848558883" sldId="2147378713"/>
            <ac:spMk id="24" creationId="{CFC44A63-66E8-5CD7-0521-1345E270BA00}"/>
          </ac:spMkLst>
        </pc:spChg>
        <pc:spChg chg="add mod">
          <ac:chgData name="丁野 光理" userId="53361c9a-10d0-4268-b39c-a1f4044b33f4" providerId="ADAL" clId="{5FE0A016-0A93-4063-8F08-CD48630E8DBB}" dt="2025-02-06T15:42:30.448" v="9354"/>
          <ac:spMkLst>
            <pc:docMk/>
            <pc:sldMk cId="2848558883" sldId="2147378713"/>
            <ac:spMk id="25" creationId="{07937947-7B48-7450-CDCD-777D869D6830}"/>
          </ac:spMkLst>
        </pc:spChg>
        <pc:spChg chg="add mod">
          <ac:chgData name="丁野 光理" userId="53361c9a-10d0-4268-b39c-a1f4044b33f4" providerId="ADAL" clId="{5FE0A016-0A93-4063-8F08-CD48630E8DBB}" dt="2025-02-06T15:41:48.911" v="9289"/>
          <ac:spMkLst>
            <pc:docMk/>
            <pc:sldMk cId="2848558883" sldId="2147378713"/>
            <ac:spMk id="26" creationId="{2F6AF554-EDFB-F82C-BFD7-DE574ED43D6D}"/>
          </ac:spMkLst>
        </pc:spChg>
        <pc:spChg chg="add mod">
          <ac:chgData name="丁野 光理" userId="53361c9a-10d0-4268-b39c-a1f4044b33f4" providerId="ADAL" clId="{5FE0A016-0A93-4063-8F08-CD48630E8DBB}" dt="2025-02-06T15:41:57.145" v="9291" actId="1076"/>
          <ac:spMkLst>
            <pc:docMk/>
            <pc:sldMk cId="2848558883" sldId="2147378713"/>
            <ac:spMk id="27" creationId="{D10C4D59-BCEC-32AB-FAB5-DE853C32AF83}"/>
          </ac:spMkLst>
        </pc:spChg>
        <pc:spChg chg="add mod">
          <ac:chgData name="丁野 光理" userId="53361c9a-10d0-4268-b39c-a1f4044b33f4" providerId="ADAL" clId="{5FE0A016-0A93-4063-8F08-CD48630E8DBB}" dt="2025-02-06T15:43:58.183" v="9461" actId="1076"/>
          <ac:spMkLst>
            <pc:docMk/>
            <pc:sldMk cId="2848558883" sldId="2147378713"/>
            <ac:spMk id="28" creationId="{A80A63E8-101E-C7BE-1DA8-BB3E4E888AC9}"/>
          </ac:spMkLst>
        </pc:spChg>
        <pc:spChg chg="add mod">
          <ac:chgData name="丁野 光理" userId="53361c9a-10d0-4268-b39c-a1f4044b33f4" providerId="ADAL" clId="{5FE0A016-0A93-4063-8F08-CD48630E8DBB}" dt="2025-02-06T15:42:25.704" v="9332" actId="1076"/>
          <ac:spMkLst>
            <pc:docMk/>
            <pc:sldMk cId="2848558883" sldId="2147378713"/>
            <ac:spMk id="29" creationId="{4DC9EA2B-70C8-CE8B-702F-2C923A14941C}"/>
          </ac:spMkLst>
        </pc:spChg>
        <pc:spChg chg="add mod">
          <ac:chgData name="丁野 光理" userId="53361c9a-10d0-4268-b39c-a1f4044b33f4" providerId="ADAL" clId="{5FE0A016-0A93-4063-8F08-CD48630E8DBB}" dt="2025-02-06T15:42:55.108" v="9405" actId="1076"/>
          <ac:spMkLst>
            <pc:docMk/>
            <pc:sldMk cId="2848558883" sldId="2147378713"/>
            <ac:spMk id="30" creationId="{15AC59DB-470C-6246-6A5B-408588E4DF75}"/>
          </ac:spMkLst>
        </pc:spChg>
        <pc:spChg chg="add mod">
          <ac:chgData name="丁野 光理" userId="53361c9a-10d0-4268-b39c-a1f4044b33f4" providerId="ADAL" clId="{5FE0A016-0A93-4063-8F08-CD48630E8DBB}" dt="2025-02-06T15:42:51.807" v="9404" actId="1076"/>
          <ac:spMkLst>
            <pc:docMk/>
            <pc:sldMk cId="2848558883" sldId="2147378713"/>
            <ac:spMk id="31" creationId="{D28EA95D-6341-19CA-E53B-79BE26918EA2}"/>
          </ac:spMkLst>
        </pc:spChg>
        <pc:spChg chg="add mod">
          <ac:chgData name="丁野 光理" userId="53361c9a-10d0-4268-b39c-a1f4044b33f4" providerId="ADAL" clId="{5FE0A016-0A93-4063-8F08-CD48630E8DBB}" dt="2025-02-06T15:43:04.510" v="9437"/>
          <ac:spMkLst>
            <pc:docMk/>
            <pc:sldMk cId="2848558883" sldId="2147378713"/>
            <ac:spMk id="32" creationId="{20E73144-A11D-C133-1423-7BCE773C1286}"/>
          </ac:spMkLst>
        </pc:spChg>
        <pc:spChg chg="add mod">
          <ac:chgData name="丁野 光理" userId="53361c9a-10d0-4268-b39c-a1f4044b33f4" providerId="ADAL" clId="{5FE0A016-0A93-4063-8F08-CD48630E8DBB}" dt="2025-02-06T15:43:13.812" v="9440" actId="14100"/>
          <ac:spMkLst>
            <pc:docMk/>
            <pc:sldMk cId="2848558883" sldId="2147378713"/>
            <ac:spMk id="33" creationId="{BB054CD1-4184-7D70-69D3-8CBAF55A4175}"/>
          </ac:spMkLst>
        </pc:spChg>
        <pc:spChg chg="add mod">
          <ac:chgData name="丁野 光理" userId="53361c9a-10d0-4268-b39c-a1f4044b33f4" providerId="ADAL" clId="{5FE0A016-0A93-4063-8F08-CD48630E8DBB}" dt="2025-02-06T15:43:27.343" v="9443" actId="14100"/>
          <ac:spMkLst>
            <pc:docMk/>
            <pc:sldMk cId="2848558883" sldId="2147378713"/>
            <ac:spMk id="34" creationId="{57EBBC6A-CCB1-EB90-5276-3B8DC6664F99}"/>
          </ac:spMkLst>
        </pc:spChg>
        <pc:spChg chg="add mod">
          <ac:chgData name="丁野 光理" userId="53361c9a-10d0-4268-b39c-a1f4044b33f4" providerId="ADAL" clId="{5FE0A016-0A93-4063-8F08-CD48630E8DBB}" dt="2025-02-06T15:43:36.226" v="9449" actId="1076"/>
          <ac:spMkLst>
            <pc:docMk/>
            <pc:sldMk cId="2848558883" sldId="2147378713"/>
            <ac:spMk id="35" creationId="{D0E7E626-9876-56D7-4D65-DFBA3A799233}"/>
          </ac:spMkLst>
        </pc:spChg>
        <pc:spChg chg="add mod">
          <ac:chgData name="丁野 光理" userId="53361c9a-10d0-4268-b39c-a1f4044b33f4" providerId="ADAL" clId="{5FE0A016-0A93-4063-8F08-CD48630E8DBB}" dt="2025-02-06T15:43:33.778" v="9448" actId="1076"/>
          <ac:spMkLst>
            <pc:docMk/>
            <pc:sldMk cId="2848558883" sldId="2147378713"/>
            <ac:spMk id="36" creationId="{7304849B-2D24-E196-8765-CC111C170B10}"/>
          </ac:spMkLst>
        </pc:spChg>
        <pc:spChg chg="add mod">
          <ac:chgData name="丁野 光理" userId="53361c9a-10d0-4268-b39c-a1f4044b33f4" providerId="ADAL" clId="{5FE0A016-0A93-4063-8F08-CD48630E8DBB}" dt="2025-02-06T15:43:31.018" v="9447" actId="1076"/>
          <ac:spMkLst>
            <pc:docMk/>
            <pc:sldMk cId="2848558883" sldId="2147378713"/>
            <ac:spMk id="37" creationId="{B2979A79-5767-E595-00BC-C154FE6FC162}"/>
          </ac:spMkLst>
        </pc:spChg>
        <pc:spChg chg="add mod">
          <ac:chgData name="丁野 光理" userId="53361c9a-10d0-4268-b39c-a1f4044b33f4" providerId="ADAL" clId="{5FE0A016-0A93-4063-8F08-CD48630E8DBB}" dt="2025-02-06T15:43:45.526" v="9455" actId="1076"/>
          <ac:spMkLst>
            <pc:docMk/>
            <pc:sldMk cId="2848558883" sldId="2147378713"/>
            <ac:spMk id="38" creationId="{CA99034F-71F3-EBA0-DBFB-277203A9F25A}"/>
          </ac:spMkLst>
        </pc:spChg>
        <pc:spChg chg="add mod">
          <ac:chgData name="丁野 光理" userId="53361c9a-10d0-4268-b39c-a1f4044b33f4" providerId="ADAL" clId="{5FE0A016-0A93-4063-8F08-CD48630E8DBB}" dt="2025-02-06T15:43:43.394" v="9454" actId="1076"/>
          <ac:spMkLst>
            <pc:docMk/>
            <pc:sldMk cId="2848558883" sldId="2147378713"/>
            <ac:spMk id="39" creationId="{47B976B8-5854-FC8C-BE76-29FE53F8CD8D}"/>
          </ac:spMkLst>
        </pc:spChg>
        <pc:spChg chg="add mod">
          <ac:chgData name="丁野 光理" userId="53361c9a-10d0-4268-b39c-a1f4044b33f4" providerId="ADAL" clId="{5FE0A016-0A93-4063-8F08-CD48630E8DBB}" dt="2025-02-06T15:43:41.404" v="9453" actId="1076"/>
          <ac:spMkLst>
            <pc:docMk/>
            <pc:sldMk cId="2848558883" sldId="2147378713"/>
            <ac:spMk id="40" creationId="{3E775684-8E54-AAF4-F2FD-C3059CD88844}"/>
          </ac:spMkLst>
        </pc:spChg>
        <pc:spChg chg="add mod">
          <ac:chgData name="丁野 光理" userId="53361c9a-10d0-4268-b39c-a1f4044b33f4" providerId="ADAL" clId="{5FE0A016-0A93-4063-8F08-CD48630E8DBB}" dt="2025-02-06T15:43:48.584" v="9457" actId="1076"/>
          <ac:spMkLst>
            <pc:docMk/>
            <pc:sldMk cId="2848558883" sldId="2147378713"/>
            <ac:spMk id="41" creationId="{613709A8-6958-FD46-DC29-4DC38282F35E}"/>
          </ac:spMkLst>
        </pc:spChg>
        <pc:spChg chg="add mod">
          <ac:chgData name="丁野 光理" userId="53361c9a-10d0-4268-b39c-a1f4044b33f4" providerId="ADAL" clId="{5FE0A016-0A93-4063-8F08-CD48630E8DBB}" dt="2025-02-06T15:43:54.390" v="9459" actId="1076"/>
          <ac:spMkLst>
            <pc:docMk/>
            <pc:sldMk cId="2848558883" sldId="2147378713"/>
            <ac:spMk id="42" creationId="{0A9DE8D6-28B1-E795-A32E-286911EF3E75}"/>
          </ac:spMkLst>
        </pc:spChg>
        <pc:spChg chg="add mod">
          <ac:chgData name="丁野 光理" userId="53361c9a-10d0-4268-b39c-a1f4044b33f4" providerId="ADAL" clId="{5FE0A016-0A93-4063-8F08-CD48630E8DBB}" dt="2025-02-06T15:43:54.640" v="9460"/>
          <ac:spMkLst>
            <pc:docMk/>
            <pc:sldMk cId="2848558883" sldId="2147378713"/>
            <ac:spMk id="43" creationId="{A3891C73-48A8-3284-BBF5-E709A5EB507D}"/>
          </ac:spMkLst>
        </pc:spChg>
        <pc:spChg chg="add mod">
          <ac:chgData name="丁野 光理" userId="53361c9a-10d0-4268-b39c-a1f4044b33f4" providerId="ADAL" clId="{5FE0A016-0A93-4063-8F08-CD48630E8DBB}" dt="2025-02-06T15:44:02.431" v="9463" actId="1076"/>
          <ac:spMkLst>
            <pc:docMk/>
            <pc:sldMk cId="2848558883" sldId="2147378713"/>
            <ac:spMk id="44" creationId="{56B1FE61-8765-B41E-97E1-71821D77D11D}"/>
          </ac:spMkLst>
        </pc:spChg>
        <pc:spChg chg="add mod">
          <ac:chgData name="丁野 光理" userId="53361c9a-10d0-4268-b39c-a1f4044b33f4" providerId="ADAL" clId="{5FE0A016-0A93-4063-8F08-CD48630E8DBB}" dt="2025-02-06T15:44:05.367" v="9465" actId="1076"/>
          <ac:spMkLst>
            <pc:docMk/>
            <pc:sldMk cId="2848558883" sldId="2147378713"/>
            <ac:spMk id="45" creationId="{6AB4E816-CB11-35AA-5A71-1E40283D38C1}"/>
          </ac:spMkLst>
        </pc:spChg>
        <pc:spChg chg="add">
          <ac:chgData name="丁野 光理" userId="53361c9a-10d0-4268-b39c-a1f4044b33f4" providerId="ADAL" clId="{5FE0A016-0A93-4063-8F08-CD48630E8DBB}" dt="2025-02-07T01:21:37.680" v="18375" actId="22"/>
          <ac:spMkLst>
            <pc:docMk/>
            <pc:sldMk cId="2848558883" sldId="2147378713"/>
            <ac:spMk id="47" creationId="{6112EF6B-0D9B-1C27-A257-DDA1B2585EC3}"/>
          </ac:spMkLst>
        </pc:spChg>
        <pc:spChg chg="add">
          <ac:chgData name="丁野 光理" userId="53361c9a-10d0-4268-b39c-a1f4044b33f4" providerId="ADAL" clId="{5FE0A016-0A93-4063-8F08-CD48630E8DBB}" dt="2025-02-07T01:21:39.036" v="18376" actId="22"/>
          <ac:spMkLst>
            <pc:docMk/>
            <pc:sldMk cId="2848558883" sldId="2147378713"/>
            <ac:spMk id="49" creationId="{70638649-A132-E070-8B0B-BCD9CE1380AC}"/>
          </ac:spMkLst>
        </pc:spChg>
        <pc:spChg chg="add">
          <ac:chgData name="丁野 光理" userId="53361c9a-10d0-4268-b39c-a1f4044b33f4" providerId="ADAL" clId="{5FE0A016-0A93-4063-8F08-CD48630E8DBB}" dt="2025-02-07T01:21:40.668" v="18377" actId="22"/>
          <ac:spMkLst>
            <pc:docMk/>
            <pc:sldMk cId="2848558883" sldId="2147378713"/>
            <ac:spMk id="51" creationId="{043C0BE9-E83F-1E13-1256-F9126DC7516B}"/>
          </ac:spMkLst>
        </pc:spChg>
        <pc:graphicFrameChg chg="add mod modGraphic">
          <ac:chgData name="丁野 光理" userId="53361c9a-10d0-4268-b39c-a1f4044b33f4" providerId="ADAL" clId="{5FE0A016-0A93-4063-8F08-CD48630E8DBB}" dt="2025-02-06T15:34:16.746" v="8935" actId="1076"/>
          <ac:graphicFrameMkLst>
            <pc:docMk/>
            <pc:sldMk cId="2848558883" sldId="2147378713"/>
            <ac:graphicFrameMk id="2" creationId="{6E528808-E1DF-11C3-55C9-83EB5CBB52C8}"/>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42.603" v="22922"/>
              <pc2:cmMkLst xmlns:pc2="http://schemas.microsoft.com/office/powerpoint/2019/9/main/command">
                <pc:docMk/>
                <pc:sldMk cId="2848558883" sldId="2147378713"/>
                <pc2:cmMk id="{23F7B8DB-7C63-4858-99AA-7F159A9B9412}"/>
              </pc2:cmMkLst>
            </pc226:cmChg>
          </p:ext>
        </pc:extLst>
      </pc:sldChg>
      <pc:sldChg chg="delSp modSp add del mod ord modShow">
        <pc:chgData name="丁野 光理" userId="53361c9a-10d0-4268-b39c-a1f4044b33f4" providerId="ADAL" clId="{5FE0A016-0A93-4063-8F08-CD48630E8DBB}" dt="2025-02-07T10:26:07.280" v="22943" actId="47"/>
        <pc:sldMkLst>
          <pc:docMk/>
          <pc:sldMk cId="3334367261" sldId="2147378714"/>
        </pc:sldMkLst>
        <pc:spChg chg="del">
          <ac:chgData name="丁野 光理" userId="53361c9a-10d0-4268-b39c-a1f4044b33f4" providerId="ADAL" clId="{5FE0A016-0A93-4063-8F08-CD48630E8DBB}" dt="2025-01-29T13:07:21.848" v="133" actId="478"/>
          <ac:spMkLst>
            <pc:docMk/>
            <pc:sldMk cId="3334367261" sldId="2147378714"/>
            <ac:spMk id="4" creationId="{2D9DF4BF-A6B4-F174-8EB6-98CC10E01A36}"/>
          </ac:spMkLst>
        </pc:spChg>
        <pc:spChg chg="mod">
          <ac:chgData name="丁野 光理" userId="53361c9a-10d0-4268-b39c-a1f4044b33f4" providerId="ADAL" clId="{5FE0A016-0A93-4063-8F08-CD48630E8DBB}" dt="2025-01-31T01:54:19.163" v="363" actId="20577"/>
          <ac:spMkLst>
            <pc:docMk/>
            <pc:sldMk cId="3334367261" sldId="2147378714"/>
            <ac:spMk id="8" creationId="{E5452BB1-3ED0-4261-B76D-A910259B86CD}"/>
          </ac:spMkLst>
        </pc:spChg>
      </pc:sldChg>
      <pc:sldChg chg="addSp delSp modSp del mod">
        <pc:chgData name="丁野 光理" userId="53361c9a-10d0-4268-b39c-a1f4044b33f4" providerId="ADAL" clId="{5FE0A016-0A93-4063-8F08-CD48630E8DBB}" dt="2025-02-06T15:25:20.336" v="8077" actId="47"/>
        <pc:sldMkLst>
          <pc:docMk/>
          <pc:sldMk cId="89963991" sldId="2147378715"/>
        </pc:sldMkLst>
        <pc:spChg chg="add mod">
          <ac:chgData name="丁野 光理" userId="53361c9a-10d0-4268-b39c-a1f4044b33f4" providerId="ADAL" clId="{5FE0A016-0A93-4063-8F08-CD48630E8DBB}" dt="2025-01-31T12:40:32.582" v="530"/>
          <ac:spMkLst>
            <pc:docMk/>
            <pc:sldMk cId="89963991" sldId="2147378715"/>
            <ac:spMk id="3" creationId="{564B8093-4C76-84FC-9FFB-6B5460E1262B}"/>
          </ac:spMkLst>
        </pc:spChg>
        <pc:spChg chg="del">
          <ac:chgData name="丁野 光理" userId="53361c9a-10d0-4268-b39c-a1f4044b33f4" providerId="ADAL" clId="{5FE0A016-0A93-4063-8F08-CD48630E8DBB}" dt="2025-01-29T13:06:14.209" v="121" actId="478"/>
          <ac:spMkLst>
            <pc:docMk/>
            <pc:sldMk cId="89963991" sldId="2147378715"/>
            <ac:spMk id="4" creationId="{9986CF63-9F4F-EEC8-16B1-03EAAE162369}"/>
          </ac:spMkLst>
        </pc:spChg>
      </pc:sldChg>
      <pc:sldChg chg="addSp delSp modSp mod ord">
        <pc:chgData name="丁野 光理" userId="53361c9a-10d0-4268-b39c-a1f4044b33f4" providerId="ADAL" clId="{5FE0A016-0A93-4063-8F08-CD48630E8DBB}" dt="2025-02-07T11:29:26.377" v="24612" actId="20577"/>
        <pc:sldMkLst>
          <pc:docMk/>
          <pc:sldMk cId="1575785639" sldId="2147378716"/>
        </pc:sldMkLst>
        <pc:spChg chg="add mod">
          <ac:chgData name="丁野 光理" userId="53361c9a-10d0-4268-b39c-a1f4044b33f4" providerId="ADAL" clId="{5FE0A016-0A93-4063-8F08-CD48630E8DBB}" dt="2025-01-31T12:40:29.263" v="529"/>
          <ac:spMkLst>
            <pc:docMk/>
            <pc:sldMk cId="1575785639" sldId="2147378716"/>
            <ac:spMk id="3" creationId="{6D8BE3DE-8ABE-633A-41E7-260D52926EB8}"/>
          </ac:spMkLst>
        </pc:spChg>
        <pc:spChg chg="del mod">
          <ac:chgData name="丁野 光理" userId="53361c9a-10d0-4268-b39c-a1f4044b33f4" providerId="ADAL" clId="{5FE0A016-0A93-4063-8F08-CD48630E8DBB}" dt="2025-01-29T13:06:11.889" v="120" actId="478"/>
          <ac:spMkLst>
            <pc:docMk/>
            <pc:sldMk cId="1575785639" sldId="2147378716"/>
            <ac:spMk id="4" creationId="{9986CF63-9F4F-EEC8-16B1-03EAAE162369}"/>
          </ac:spMkLst>
        </pc:spChg>
        <pc:spChg chg="mod">
          <ac:chgData name="丁野 光理" userId="53361c9a-10d0-4268-b39c-a1f4044b33f4" providerId="ADAL" clId="{5FE0A016-0A93-4063-8F08-CD48630E8DBB}" dt="2025-02-07T11:29:26.377" v="24612" actId="20577"/>
          <ac:spMkLst>
            <pc:docMk/>
            <pc:sldMk cId="1575785639" sldId="2147378716"/>
            <ac:spMk id="9" creationId="{F7DA7227-3724-60C8-1F06-5A8A2F4AF1F8}"/>
          </ac:spMkLst>
        </pc:spChg>
      </pc:sldChg>
      <pc:sldChg chg="addSp delSp modSp mod ord">
        <pc:chgData name="丁野 光理" userId="53361c9a-10d0-4268-b39c-a1f4044b33f4" providerId="ADAL" clId="{5FE0A016-0A93-4063-8F08-CD48630E8DBB}" dt="2025-02-07T11:27:22.756" v="24596" actId="20577"/>
        <pc:sldMkLst>
          <pc:docMk/>
          <pc:sldMk cId="1334307493" sldId="2147378717"/>
        </pc:sldMkLst>
        <pc:spChg chg="mod">
          <ac:chgData name="丁野 光理" userId="53361c9a-10d0-4268-b39c-a1f4044b33f4" providerId="ADAL" clId="{5FE0A016-0A93-4063-8F08-CD48630E8DBB}" dt="2025-02-06T16:02:57.650" v="10755"/>
          <ac:spMkLst>
            <pc:docMk/>
            <pc:sldMk cId="1334307493" sldId="2147378717"/>
            <ac:spMk id="3" creationId="{417A18CA-0059-03EF-FE57-D2DBA870D210}"/>
          </ac:spMkLst>
        </pc:spChg>
        <pc:spChg chg="mod">
          <ac:chgData name="丁野 光理" userId="53361c9a-10d0-4268-b39c-a1f4044b33f4" providerId="ADAL" clId="{5FE0A016-0A93-4063-8F08-CD48630E8DBB}" dt="2025-02-07T11:27:22.756" v="24596" actId="20577"/>
          <ac:spMkLst>
            <pc:docMk/>
            <pc:sldMk cId="1334307493" sldId="2147378717"/>
            <ac:spMk id="4" creationId="{4F1B8C31-A2AA-E8B5-6842-B8CA68666E37}"/>
          </ac:spMkLst>
        </pc:spChg>
        <pc:spChg chg="add mod">
          <ac:chgData name="丁野 光理" userId="53361c9a-10d0-4268-b39c-a1f4044b33f4" providerId="ADAL" clId="{5FE0A016-0A93-4063-8F08-CD48630E8DBB}" dt="2025-02-07T01:14:20.852" v="18079" actId="1076"/>
          <ac:spMkLst>
            <pc:docMk/>
            <pc:sldMk cId="1334307493" sldId="2147378717"/>
            <ac:spMk id="5" creationId="{21EA35D0-DCC8-BFE4-AD90-F5D44368584E}"/>
          </ac:spMkLst>
        </pc:spChg>
        <pc:spChg chg="del">
          <ac:chgData name="丁野 光理" userId="53361c9a-10d0-4268-b39c-a1f4044b33f4" providerId="ADAL" clId="{5FE0A016-0A93-4063-8F08-CD48630E8DBB}" dt="2025-01-29T13:05:31.173" v="25" actId="478"/>
          <ac:spMkLst>
            <pc:docMk/>
            <pc:sldMk cId="1334307493" sldId="2147378717"/>
            <ac:spMk id="13" creationId="{ED88E5C2-1CEC-3507-1A41-A32A9F740D09}"/>
          </ac:spMkLst>
        </pc:spChg>
        <pc:graphicFrameChg chg="mod modGraphic">
          <ac:chgData name="丁野 光理" userId="53361c9a-10d0-4268-b39c-a1f4044b33f4" providerId="ADAL" clId="{5FE0A016-0A93-4063-8F08-CD48630E8DBB}" dt="2025-02-07T01:14:18.195" v="18078"/>
          <ac:graphicFrameMkLst>
            <pc:docMk/>
            <pc:sldMk cId="1334307493" sldId="2147378717"/>
            <ac:graphicFrameMk id="8" creationId="{1E5897B3-2F6F-760C-55F3-ADE995C99D64}"/>
          </ac:graphicFrameMkLst>
        </pc:graphicFrameChg>
      </pc:sldChg>
      <pc:sldChg chg="delSp modSp mod addCm delCm modCm">
        <pc:chgData name="丁野 光理" userId="53361c9a-10d0-4268-b39c-a1f4044b33f4" providerId="ADAL" clId="{5FE0A016-0A93-4063-8F08-CD48630E8DBB}" dt="2025-02-06T14:11:48.655" v="3828"/>
        <pc:sldMkLst>
          <pc:docMk/>
          <pc:sldMk cId="2574112575" sldId="2147378718"/>
        </pc:sldMkLst>
        <pc:spChg chg="mod">
          <ac:chgData name="丁野 光理" userId="53361c9a-10d0-4268-b39c-a1f4044b33f4" providerId="ADAL" clId="{5FE0A016-0A93-4063-8F08-CD48630E8DBB}" dt="2025-02-06T13:17:39.550" v="2560"/>
          <ac:spMkLst>
            <pc:docMk/>
            <pc:sldMk cId="2574112575" sldId="2147378718"/>
            <ac:spMk id="3" creationId="{3889FB1B-DE63-B6FC-8D02-5D400D923577}"/>
          </ac:spMkLst>
        </pc:spChg>
        <pc:spChg chg="del">
          <ac:chgData name="丁野 光理" userId="53361c9a-10d0-4268-b39c-a1f4044b33f4" providerId="ADAL" clId="{5FE0A016-0A93-4063-8F08-CD48630E8DBB}" dt="2025-01-29T13:05:24.747" v="23" actId="478"/>
          <ac:spMkLst>
            <pc:docMk/>
            <pc:sldMk cId="2574112575" sldId="2147378718"/>
            <ac:spMk id="7" creationId="{91D9460F-1390-32F5-1B0E-70693C6D1EFA}"/>
          </ac:spMkLst>
        </pc:spChg>
        <pc:graphicFrameChg chg="modGraphic">
          <ac:chgData name="丁野 光理" userId="53361c9a-10d0-4268-b39c-a1f4044b33f4" providerId="ADAL" clId="{5FE0A016-0A93-4063-8F08-CD48630E8DBB}" dt="2025-02-06T14:11:43.787" v="3826" actId="2162"/>
          <ac:graphicFrameMkLst>
            <pc:docMk/>
            <pc:sldMk cId="2574112575" sldId="2147378718"/>
            <ac:graphicFrameMk id="6" creationId="{D49F8818-13D5-031F-17C9-B075602B9F36}"/>
          </ac:graphicFrameMkLst>
        </pc:graphicFrameChg>
        <pc:extLst>
          <p:ext xmlns:p="http://schemas.openxmlformats.org/presentationml/2006/main" uri="{D6D511B9-2390-475A-947B-AFAB55BFBCF1}">
            <pc226:cmChg xmlns:pc226="http://schemas.microsoft.com/office/powerpoint/2022/06/main/command" chg="add del mod">
              <pc226:chgData name="丁野 光理" userId="53361c9a-10d0-4268-b39c-a1f4044b33f4" providerId="ADAL" clId="{5FE0A016-0A93-4063-8F08-CD48630E8DBB}" dt="2025-02-06T14:11:48.655" v="3828"/>
              <pc2:cmMkLst xmlns:pc2="http://schemas.microsoft.com/office/powerpoint/2019/9/main/command">
                <pc:docMk/>
                <pc:sldMk cId="2574112575" sldId="2147378718"/>
                <pc2:cmMk id="{7F79AFD5-0B14-480D-9BF6-5553745FBADC}"/>
              </pc2:cmMkLst>
            </pc226:cmChg>
          </p:ext>
        </pc:extLst>
      </pc:sldChg>
      <pc:sldChg chg="delSp modSp mod">
        <pc:chgData name="丁野 光理" userId="53361c9a-10d0-4268-b39c-a1f4044b33f4" providerId="ADAL" clId="{5FE0A016-0A93-4063-8F08-CD48630E8DBB}" dt="2025-02-06T13:17:56.752" v="2566"/>
        <pc:sldMkLst>
          <pc:docMk/>
          <pc:sldMk cId="2029142166" sldId="2147378719"/>
        </pc:sldMkLst>
        <pc:spChg chg="mod">
          <ac:chgData name="丁野 光理" userId="53361c9a-10d0-4268-b39c-a1f4044b33f4" providerId="ADAL" clId="{5FE0A016-0A93-4063-8F08-CD48630E8DBB}" dt="2025-02-06T13:17:56.752" v="2566"/>
          <ac:spMkLst>
            <pc:docMk/>
            <pc:sldMk cId="2029142166" sldId="2147378719"/>
            <ac:spMk id="3" creationId="{177281CC-1855-F2DB-EAE1-E4C54E0FD7E5}"/>
          </ac:spMkLst>
        </pc:spChg>
        <pc:spChg chg="del mod">
          <ac:chgData name="丁野 光理" userId="53361c9a-10d0-4268-b39c-a1f4044b33f4" providerId="ADAL" clId="{5FE0A016-0A93-4063-8F08-CD48630E8DBB}" dt="2025-01-29T13:05:17.074" v="21" actId="478"/>
          <ac:spMkLst>
            <pc:docMk/>
            <pc:sldMk cId="2029142166" sldId="2147378719"/>
            <ac:spMk id="7" creationId="{788BF72B-2A40-D353-4A4A-032265572BA3}"/>
          </ac:spMkLst>
        </pc:spChg>
        <pc:spChg chg="del">
          <ac:chgData name="丁野 光理" userId="53361c9a-10d0-4268-b39c-a1f4044b33f4" providerId="ADAL" clId="{5FE0A016-0A93-4063-8F08-CD48630E8DBB}" dt="2025-02-06T08:15:27.310" v="1291" actId="478"/>
          <ac:spMkLst>
            <pc:docMk/>
            <pc:sldMk cId="2029142166" sldId="2147378719"/>
            <ac:spMk id="9" creationId="{F379F7F6-3A51-99E9-07DA-86E13F5C283A}"/>
          </ac:spMkLst>
        </pc:spChg>
      </pc:sldChg>
      <pc:sldChg chg="addSp delSp modSp mod addCm delCm">
        <pc:chgData name="丁野 光理" userId="53361c9a-10d0-4268-b39c-a1f4044b33f4" providerId="ADAL" clId="{5FE0A016-0A93-4063-8F08-CD48630E8DBB}" dt="2025-02-07T10:26:02.437" v="22942"/>
        <pc:sldMkLst>
          <pc:docMk/>
          <pc:sldMk cId="1590769032" sldId="2147378721"/>
        </pc:sldMkLst>
        <pc:spChg chg="add mod">
          <ac:chgData name="丁野 光理" userId="53361c9a-10d0-4268-b39c-a1f4044b33f4" providerId="ADAL" clId="{5FE0A016-0A93-4063-8F08-CD48630E8DBB}" dt="2025-02-06T08:14:51.175" v="1288"/>
          <ac:spMkLst>
            <pc:docMk/>
            <pc:sldMk cId="1590769032" sldId="2147378721"/>
            <ac:spMk id="2" creationId="{E565772E-5CBB-663B-1A9B-A0EA8AF57C37}"/>
          </ac:spMkLst>
        </pc:spChg>
        <pc:spChg chg="mod">
          <ac:chgData name="丁野 光理" userId="53361c9a-10d0-4268-b39c-a1f4044b33f4" providerId="ADAL" clId="{5FE0A016-0A93-4063-8F08-CD48630E8DBB}" dt="2025-02-06T13:17:53.285" v="2565"/>
          <ac:spMkLst>
            <pc:docMk/>
            <pc:sldMk cId="1590769032" sldId="2147378721"/>
            <ac:spMk id="3" creationId="{177281CC-1855-F2DB-EAE1-E4C54E0FD7E5}"/>
          </ac:spMkLst>
        </pc:spChg>
        <pc:spChg chg="add del mod">
          <ac:chgData name="丁野 光理" userId="53361c9a-10d0-4268-b39c-a1f4044b33f4" providerId="ADAL" clId="{5FE0A016-0A93-4063-8F08-CD48630E8DBB}" dt="2025-02-06T08:14:35.061" v="1265" actId="478"/>
          <ac:spMkLst>
            <pc:docMk/>
            <pc:sldMk cId="1590769032" sldId="2147378721"/>
            <ac:spMk id="6" creationId="{72E123AE-485B-1180-D6A7-1FE200F06A9B}"/>
          </ac:spMkLst>
        </pc:spChg>
        <pc:spChg chg="del">
          <ac:chgData name="丁野 光理" userId="53361c9a-10d0-4268-b39c-a1f4044b33f4" providerId="ADAL" clId="{5FE0A016-0A93-4063-8F08-CD48630E8DBB}" dt="2025-01-29T13:05:13.774" v="20" actId="478"/>
          <ac:spMkLst>
            <pc:docMk/>
            <pc:sldMk cId="1590769032" sldId="2147378721"/>
            <ac:spMk id="8" creationId="{1F7B5859-1E66-F963-5C70-1C8AFDBB7C58}"/>
          </ac:spMkLst>
        </pc:spChg>
        <pc:spChg chg="add mod">
          <ac:chgData name="丁野 光理" userId="53361c9a-10d0-4268-b39c-a1f4044b33f4" providerId="ADAL" clId="{5FE0A016-0A93-4063-8F08-CD48630E8DBB}" dt="2025-02-06T13:52:30.163" v="3584"/>
          <ac:spMkLst>
            <pc:docMk/>
            <pc:sldMk cId="1590769032" sldId="2147378721"/>
            <ac:spMk id="8" creationId="{C7306795-FA4C-4798-C6D2-630820907D06}"/>
          </ac:spMkLst>
        </pc:spChg>
        <pc:spChg chg="del mod">
          <ac:chgData name="丁野 光理" userId="53361c9a-10d0-4268-b39c-a1f4044b33f4" providerId="ADAL" clId="{5FE0A016-0A93-4063-8F08-CD48630E8DBB}" dt="2025-01-31T12:42:11.418" v="597" actId="478"/>
          <ac:spMkLst>
            <pc:docMk/>
            <pc:sldMk cId="1590769032" sldId="2147378721"/>
            <ac:spMk id="9" creationId="{F379F7F6-3A51-99E9-07DA-86E13F5C283A}"/>
          </ac:spMkLst>
        </pc:spChg>
        <pc:graphicFrameChg chg="mod modGraphic">
          <ac:chgData name="丁野 光理" userId="53361c9a-10d0-4268-b39c-a1f4044b33f4" providerId="ADAL" clId="{5FE0A016-0A93-4063-8F08-CD48630E8DBB}" dt="2025-02-06T14:09:56.233" v="3822" actId="2161"/>
          <ac:graphicFrameMkLst>
            <pc:docMk/>
            <pc:sldMk cId="1590769032" sldId="2147378721"/>
            <ac:graphicFrameMk id="7" creationId="{D27285E1-CFEC-7133-4B2F-3A60A9DA58C6}"/>
          </ac:graphicFrameMkLst>
        </pc:graphicFrameChg>
        <pc:extLst>
          <p:ext xmlns:p="http://schemas.openxmlformats.org/presentationml/2006/main" uri="{D6D511B9-2390-475A-947B-AFAB55BFBCF1}">
            <pc226:cmChg xmlns:pc226="http://schemas.microsoft.com/office/powerpoint/2022/06/main/command" chg="add del">
              <pc226:chgData name="丁野 光理" userId="53361c9a-10d0-4268-b39c-a1f4044b33f4" providerId="ADAL" clId="{5FE0A016-0A93-4063-8F08-CD48630E8DBB}" dt="2025-02-07T10:26:02.437" v="22942"/>
              <pc2:cmMkLst xmlns:pc2="http://schemas.microsoft.com/office/powerpoint/2019/9/main/command">
                <pc:docMk/>
                <pc:sldMk cId="1590769032" sldId="2147378721"/>
                <pc2:cmMk id="{01AB7CAF-180E-4420-AC2C-8FDDC4C13595}"/>
              </pc2:cmMkLst>
            </pc226:cmChg>
          </p:ext>
        </pc:extLst>
      </pc:sldChg>
      <pc:sldChg chg="modSp add del mod">
        <pc:chgData name="丁野 光理" userId="53361c9a-10d0-4268-b39c-a1f4044b33f4" providerId="ADAL" clId="{5FE0A016-0A93-4063-8F08-CD48630E8DBB}" dt="2025-02-07T01:21:36.107" v="18374" actId="47"/>
        <pc:sldMkLst>
          <pc:docMk/>
          <pc:sldMk cId="3448258732" sldId="2147378722"/>
        </pc:sldMkLst>
        <pc:spChg chg="mod">
          <ac:chgData name="丁野 光理" userId="53361c9a-10d0-4268-b39c-a1f4044b33f4" providerId="ADAL" clId="{5FE0A016-0A93-4063-8F08-CD48630E8DBB}" dt="2025-02-05T11:26:27.635" v="804" actId="14100"/>
          <ac:spMkLst>
            <pc:docMk/>
            <pc:sldMk cId="3448258732" sldId="2147378722"/>
            <ac:spMk id="9" creationId="{67FD600D-F712-D335-9DCD-5DDA57077E60}"/>
          </ac:spMkLst>
        </pc:spChg>
      </pc:sldChg>
      <pc:sldChg chg="modSp add del mod">
        <pc:chgData name="丁野 光理" userId="53361c9a-10d0-4268-b39c-a1f4044b33f4" providerId="ADAL" clId="{5FE0A016-0A93-4063-8F08-CD48630E8DBB}" dt="2025-02-07T01:21:50.041" v="18379" actId="47"/>
        <pc:sldMkLst>
          <pc:docMk/>
          <pc:sldMk cId="1353841146" sldId="2147378723"/>
        </pc:sldMkLst>
        <pc:spChg chg="mod">
          <ac:chgData name="丁野 光理" userId="53361c9a-10d0-4268-b39c-a1f4044b33f4" providerId="ADAL" clId="{5FE0A016-0A93-4063-8F08-CD48630E8DBB}" dt="2025-02-05T11:26:49.880" v="809" actId="1076"/>
          <ac:spMkLst>
            <pc:docMk/>
            <pc:sldMk cId="1353841146" sldId="2147378723"/>
            <ac:spMk id="9" creationId="{67FD600D-F712-D335-9DCD-5DDA57077E60}"/>
          </ac:spMkLst>
        </pc:spChg>
      </pc:sldChg>
      <pc:sldChg chg="modSp add del mod">
        <pc:chgData name="丁野 光理" userId="53361c9a-10d0-4268-b39c-a1f4044b33f4" providerId="ADAL" clId="{5FE0A016-0A93-4063-8F08-CD48630E8DBB}" dt="2025-02-07T01:22:02.120" v="18384" actId="47"/>
        <pc:sldMkLst>
          <pc:docMk/>
          <pc:sldMk cId="3748599133" sldId="2147378724"/>
        </pc:sldMkLst>
        <pc:spChg chg="mod">
          <ac:chgData name="丁野 光理" userId="53361c9a-10d0-4268-b39c-a1f4044b33f4" providerId="ADAL" clId="{5FE0A016-0A93-4063-8F08-CD48630E8DBB}" dt="2025-02-05T11:27:10.379" v="815" actId="1076"/>
          <ac:spMkLst>
            <pc:docMk/>
            <pc:sldMk cId="3748599133" sldId="2147378724"/>
            <ac:spMk id="9" creationId="{67FD600D-F712-D335-9DCD-5DDA57077E60}"/>
          </ac:spMkLst>
        </pc:spChg>
        <pc:spChg chg="mod">
          <ac:chgData name="丁野 光理" userId="53361c9a-10d0-4268-b39c-a1f4044b33f4" providerId="ADAL" clId="{5FE0A016-0A93-4063-8F08-CD48630E8DBB}" dt="2025-02-05T11:27:06.028" v="814" actId="1076"/>
          <ac:spMkLst>
            <pc:docMk/>
            <pc:sldMk cId="3748599133" sldId="2147378724"/>
            <ac:spMk id="10" creationId="{80E6EF29-A9F8-46B2-8DDE-5092A65E485F}"/>
          </ac:spMkLst>
        </pc:spChg>
      </pc:sldChg>
      <pc:sldChg chg="del">
        <pc:chgData name="丁野 光理" userId="53361c9a-10d0-4268-b39c-a1f4044b33f4" providerId="ADAL" clId="{5FE0A016-0A93-4063-8F08-CD48630E8DBB}" dt="2025-02-06T15:05:48.116" v="7659" actId="47"/>
        <pc:sldMkLst>
          <pc:docMk/>
          <pc:sldMk cId="2274346092" sldId="2147378725"/>
        </pc:sldMkLst>
      </pc:sldChg>
      <pc:sldChg chg="del ord">
        <pc:chgData name="丁野 光理" userId="53361c9a-10d0-4268-b39c-a1f4044b33f4" providerId="ADAL" clId="{5FE0A016-0A93-4063-8F08-CD48630E8DBB}" dt="2025-02-06T15:11:53.717" v="7903" actId="47"/>
        <pc:sldMkLst>
          <pc:docMk/>
          <pc:sldMk cId="684831738" sldId="2147378726"/>
        </pc:sldMkLst>
      </pc:sldChg>
      <pc:sldChg chg="add del">
        <pc:chgData name="丁野 光理" userId="53361c9a-10d0-4268-b39c-a1f4044b33f4" providerId="ADAL" clId="{5FE0A016-0A93-4063-8F08-CD48630E8DBB}" dt="2025-02-06T13:11:44.910" v="2507" actId="47"/>
        <pc:sldMkLst>
          <pc:docMk/>
          <pc:sldMk cId="1240128556" sldId="2147378726"/>
        </pc:sldMkLst>
      </pc:sldChg>
      <pc:sldChg chg="modSp add mod delCm">
        <pc:chgData name="丁野 光理" userId="53361c9a-10d0-4268-b39c-a1f4044b33f4" providerId="ADAL" clId="{5FE0A016-0A93-4063-8F08-CD48630E8DBB}" dt="2025-02-07T10:22:48.221" v="22924"/>
        <pc:sldMkLst>
          <pc:docMk/>
          <pc:sldMk cId="2425091294" sldId="2147378727"/>
        </pc:sldMkLst>
        <pc:spChg chg="mod">
          <ac:chgData name="丁野 光理" userId="53361c9a-10d0-4268-b39c-a1f4044b33f4" providerId="ADAL" clId="{5FE0A016-0A93-4063-8F08-CD48630E8DBB}" dt="2025-02-06T15:05:08.384" v="7586"/>
          <ac:spMkLst>
            <pc:docMk/>
            <pc:sldMk cId="2425091294" sldId="2147378727"/>
            <ac:spMk id="2" creationId="{BDE63369-EA7E-4802-A4A3-D4010A333C66}"/>
          </ac:spMkLst>
        </pc:spChg>
        <pc:spChg chg="mod">
          <ac:chgData name="丁野 光理" userId="53361c9a-10d0-4268-b39c-a1f4044b33f4" providerId="ADAL" clId="{5FE0A016-0A93-4063-8F08-CD48630E8DBB}" dt="2025-02-06T15:05:30.377" v="7658" actId="20577"/>
          <ac:spMkLst>
            <pc:docMk/>
            <pc:sldMk cId="2425091294" sldId="2147378727"/>
            <ac:spMk id="6" creationId="{95B7D5A6-3733-419F-5F47-1323A3D8D852}"/>
          </ac:spMkLst>
        </pc:spChg>
        <pc:spChg chg="mod">
          <ac:chgData name="丁野 光理" userId="53361c9a-10d0-4268-b39c-a1f4044b33f4" providerId="ADAL" clId="{5FE0A016-0A93-4063-8F08-CD48630E8DBB}" dt="2025-02-06T15:04:50.767" v="7531"/>
          <ac:spMkLst>
            <pc:docMk/>
            <pc:sldMk cId="2425091294" sldId="2147378727"/>
            <ac:spMk id="9" creationId="{D22A0A06-D5A8-4A1A-B66F-2A8EDBD644F1}"/>
          </ac:spMkLst>
        </pc:spChg>
        <pc:spChg chg="mod">
          <ac:chgData name="丁野 光理" userId="53361c9a-10d0-4268-b39c-a1f4044b33f4" providerId="ADAL" clId="{5FE0A016-0A93-4063-8F08-CD48630E8DBB}" dt="2025-02-07T01:24:22.950" v="18420" actId="20577"/>
          <ac:spMkLst>
            <pc:docMk/>
            <pc:sldMk cId="2425091294" sldId="2147378727"/>
            <ac:spMk id="12" creationId="{0885EF34-1A86-AA39-1A1A-5F99ABF6B7EF}"/>
          </ac:spMkLst>
        </pc:spChg>
        <pc:spChg chg="mod">
          <ac:chgData name="丁野 光理" userId="53361c9a-10d0-4268-b39c-a1f4044b33f4" providerId="ADAL" clId="{5FE0A016-0A93-4063-8F08-CD48630E8DBB}" dt="2025-02-06T15:04:07.426" v="7487" actId="1076"/>
          <ac:spMkLst>
            <pc:docMk/>
            <pc:sldMk cId="2425091294" sldId="2147378727"/>
            <ac:spMk id="53" creationId="{600AE28E-2F7C-E1F6-5796-97DD1A8A0830}"/>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46.941" v="22923"/>
              <pc2:cmMkLst xmlns:pc2="http://schemas.microsoft.com/office/powerpoint/2019/9/main/command">
                <pc:docMk/>
                <pc:sldMk cId="2425091294" sldId="2147378727"/>
                <pc2:cmMk id="{0BFBE9B0-0CD3-4A65-BF3B-37E7D3B6C62C}"/>
              </pc2:cmMkLst>
            </pc226:cmChg>
            <pc226:cmChg xmlns:pc226="http://schemas.microsoft.com/office/powerpoint/2022/06/main/command" chg="del">
              <pc226:chgData name="丁野 光理" userId="53361c9a-10d0-4268-b39c-a1f4044b33f4" providerId="ADAL" clId="{5FE0A016-0A93-4063-8F08-CD48630E8DBB}" dt="2025-02-07T10:22:48.221" v="22924"/>
              <pc2:cmMkLst xmlns:pc2="http://schemas.microsoft.com/office/powerpoint/2019/9/main/command">
                <pc:docMk/>
                <pc:sldMk cId="2425091294" sldId="2147378727"/>
                <pc2:cmMk id="{2C5BFDD4-68F9-4ACA-817A-D5AF1EDEBA17}"/>
              </pc2:cmMkLst>
            </pc226:cmChg>
          </p:ext>
        </pc:extLst>
      </pc:sldChg>
      <pc:sldChg chg="modSp add mod">
        <pc:chgData name="丁野 光理" userId="53361c9a-10d0-4268-b39c-a1f4044b33f4" providerId="ADAL" clId="{5FE0A016-0A93-4063-8F08-CD48630E8DBB}" dt="2025-02-06T15:07:13.050" v="7753"/>
        <pc:sldMkLst>
          <pc:docMk/>
          <pc:sldMk cId="1108136930" sldId="2147378728"/>
        </pc:sldMkLst>
        <pc:spChg chg="mod">
          <ac:chgData name="丁野 光理" userId="53361c9a-10d0-4268-b39c-a1f4044b33f4" providerId="ADAL" clId="{5FE0A016-0A93-4063-8F08-CD48630E8DBB}" dt="2025-02-06T15:07:13.050" v="7753"/>
          <ac:spMkLst>
            <pc:docMk/>
            <pc:sldMk cId="1108136930" sldId="2147378728"/>
            <ac:spMk id="6" creationId="{06F06DD2-9B90-695B-AD25-50F75DE8988B}"/>
          </ac:spMkLst>
        </pc:spChg>
      </pc:sldChg>
      <pc:sldChg chg="modSp add mod">
        <pc:chgData name="丁野 光理" userId="53361c9a-10d0-4268-b39c-a1f4044b33f4" providerId="ADAL" clId="{5FE0A016-0A93-4063-8F08-CD48630E8DBB}" dt="2025-02-06T15:07:22.195" v="7754"/>
        <pc:sldMkLst>
          <pc:docMk/>
          <pc:sldMk cId="2933890016" sldId="2147378729"/>
        </pc:sldMkLst>
        <pc:spChg chg="mod">
          <ac:chgData name="丁野 光理" userId="53361c9a-10d0-4268-b39c-a1f4044b33f4" providerId="ADAL" clId="{5FE0A016-0A93-4063-8F08-CD48630E8DBB}" dt="2025-02-06T15:07:22.195" v="7754"/>
          <ac:spMkLst>
            <pc:docMk/>
            <pc:sldMk cId="2933890016" sldId="2147378729"/>
            <ac:spMk id="6" creationId="{06F06DD2-9B90-695B-AD25-50F75DE8988B}"/>
          </ac:spMkLst>
        </pc:spChg>
      </pc:sldChg>
      <pc:sldChg chg="addSp delSp modSp add mod delCm">
        <pc:chgData name="丁野 光理" userId="53361c9a-10d0-4268-b39c-a1f4044b33f4" providerId="ADAL" clId="{5FE0A016-0A93-4063-8F08-CD48630E8DBB}" dt="2025-02-07T10:23:07.982" v="22928"/>
        <pc:sldMkLst>
          <pc:docMk/>
          <pc:sldMk cId="2433251148" sldId="2147378730"/>
        </pc:sldMkLst>
        <pc:spChg chg="del">
          <ac:chgData name="丁野 光理" userId="53361c9a-10d0-4268-b39c-a1f4044b33f4" providerId="ADAL" clId="{5FE0A016-0A93-4063-8F08-CD48630E8DBB}" dt="2025-02-06T16:57:38.923" v="15297" actId="478"/>
          <ac:spMkLst>
            <pc:docMk/>
            <pc:sldMk cId="2433251148" sldId="2147378730"/>
            <ac:spMk id="6" creationId="{95B7D5A6-3733-419F-5F47-1323A3D8D852}"/>
          </ac:spMkLst>
        </pc:spChg>
        <pc:spChg chg="mod">
          <ac:chgData name="丁野 光理" userId="53361c9a-10d0-4268-b39c-a1f4044b33f4" providerId="ADAL" clId="{5FE0A016-0A93-4063-8F08-CD48630E8DBB}" dt="2025-02-06T15:09:09.117" v="7816"/>
          <ac:spMkLst>
            <pc:docMk/>
            <pc:sldMk cId="2433251148" sldId="2147378730"/>
            <ac:spMk id="9" creationId="{D22A0A06-D5A8-4A1A-B66F-2A8EDBD644F1}"/>
          </ac:spMkLst>
        </pc:spChg>
        <pc:spChg chg="add mod">
          <ac:chgData name="丁野 光理" userId="53361c9a-10d0-4268-b39c-a1f4044b33f4" providerId="ADAL" clId="{5FE0A016-0A93-4063-8F08-CD48630E8DBB}" dt="2025-02-06T16:57:19.746" v="15295"/>
          <ac:spMkLst>
            <pc:docMk/>
            <pc:sldMk cId="2433251148" sldId="2147378730"/>
            <ac:spMk id="11" creationId="{962E5203-2DFF-C1A0-2F9F-F26700D05F5E}"/>
          </ac:spMkLst>
        </pc:spChg>
        <pc:spChg chg="add mod">
          <ac:chgData name="丁野 光理" userId="53361c9a-10d0-4268-b39c-a1f4044b33f4" providerId="ADAL" clId="{5FE0A016-0A93-4063-8F08-CD48630E8DBB}" dt="2025-02-06T16:57:41.093" v="15300"/>
          <ac:spMkLst>
            <pc:docMk/>
            <pc:sldMk cId="2433251148" sldId="2147378730"/>
            <ac:spMk id="14" creationId="{809AC18F-D5FE-3C72-5544-1B110534011E}"/>
          </ac:spMkLst>
        </pc:spChg>
        <pc:spChg chg="del">
          <ac:chgData name="丁野 光理" userId="53361c9a-10d0-4268-b39c-a1f4044b33f4" providerId="ADAL" clId="{5FE0A016-0A93-4063-8F08-CD48630E8DBB}" dt="2025-02-06T16:57:19.746" v="15295"/>
          <ac:spMkLst>
            <pc:docMk/>
            <pc:sldMk cId="2433251148" sldId="2147378730"/>
            <ac:spMk id="17" creationId="{ED5B4037-6A33-091F-CAB0-26A3BC43E5EE}"/>
          </ac:spMkLst>
        </pc:spChg>
        <pc:spChg chg="mod">
          <ac:chgData name="丁野 光理" userId="53361c9a-10d0-4268-b39c-a1f4044b33f4" providerId="ADAL" clId="{5FE0A016-0A93-4063-8F08-CD48630E8DBB}" dt="2025-02-06T16:57:41.093" v="15300"/>
          <ac:spMkLst>
            <pc:docMk/>
            <pc:sldMk cId="2433251148" sldId="2147378730"/>
            <ac:spMk id="18" creationId="{AAE1EC4C-A410-12F6-31D5-01D0898060F7}"/>
          </ac:spMkLst>
        </pc:spChg>
        <pc:spChg chg="mod">
          <ac:chgData name="丁野 光理" userId="53361c9a-10d0-4268-b39c-a1f4044b33f4" providerId="ADAL" clId="{5FE0A016-0A93-4063-8F08-CD48630E8DBB}" dt="2025-02-06T16:57:41.093" v="15300"/>
          <ac:spMkLst>
            <pc:docMk/>
            <pc:sldMk cId="2433251148" sldId="2147378730"/>
            <ac:spMk id="19" creationId="{D55A85E9-1DAB-F31B-2167-FDD0DCB52F08}"/>
          </ac:spMkLst>
        </pc:spChg>
        <pc:spChg chg="add mod">
          <ac:chgData name="丁野 光理" userId="53361c9a-10d0-4268-b39c-a1f4044b33f4" providerId="ADAL" clId="{5FE0A016-0A93-4063-8F08-CD48630E8DBB}" dt="2025-02-06T16:57:41.093" v="15300"/>
          <ac:spMkLst>
            <pc:docMk/>
            <pc:sldMk cId="2433251148" sldId="2147378730"/>
            <ac:spMk id="23" creationId="{640650BB-38DB-9A28-326A-F76FD158E165}"/>
          </ac:spMkLst>
        </pc:spChg>
        <pc:spChg chg="add mod">
          <ac:chgData name="丁野 光理" userId="53361c9a-10d0-4268-b39c-a1f4044b33f4" providerId="ADAL" clId="{5FE0A016-0A93-4063-8F08-CD48630E8DBB}" dt="2025-02-06T16:57:41.093" v="15300"/>
          <ac:spMkLst>
            <pc:docMk/>
            <pc:sldMk cId="2433251148" sldId="2147378730"/>
            <ac:spMk id="24" creationId="{E3D7E46F-442C-2DCF-F9BD-A5EA74C74BC8}"/>
          </ac:spMkLst>
        </pc:spChg>
        <pc:spChg chg="add mod">
          <ac:chgData name="丁野 光理" userId="53361c9a-10d0-4268-b39c-a1f4044b33f4" providerId="ADAL" clId="{5FE0A016-0A93-4063-8F08-CD48630E8DBB}" dt="2025-02-06T16:57:41.093" v="15300"/>
          <ac:spMkLst>
            <pc:docMk/>
            <pc:sldMk cId="2433251148" sldId="2147378730"/>
            <ac:spMk id="25" creationId="{DAD42860-4181-BA27-F5D0-EE00C97A146F}"/>
          </ac:spMkLst>
        </pc:spChg>
        <pc:spChg chg="add mod">
          <ac:chgData name="丁野 光理" userId="53361c9a-10d0-4268-b39c-a1f4044b33f4" providerId="ADAL" clId="{5FE0A016-0A93-4063-8F08-CD48630E8DBB}" dt="2025-02-06T16:58:03.146" v="15305" actId="20577"/>
          <ac:spMkLst>
            <pc:docMk/>
            <pc:sldMk cId="2433251148" sldId="2147378730"/>
            <ac:spMk id="26" creationId="{E79CF6B0-5AD5-B0A6-5A82-B2F5A3B16A53}"/>
          </ac:spMkLst>
        </pc:spChg>
        <pc:spChg chg="mod">
          <ac:chgData name="丁野 光理" userId="53361c9a-10d0-4268-b39c-a1f4044b33f4" providerId="ADAL" clId="{5FE0A016-0A93-4063-8F08-CD48630E8DBB}" dt="2025-02-06T16:57:44.190" v="15301"/>
          <ac:spMkLst>
            <pc:docMk/>
            <pc:sldMk cId="2433251148" sldId="2147378730"/>
            <ac:spMk id="29" creationId="{042D8203-2A92-407B-6CF8-1ACB91F74A43}"/>
          </ac:spMkLst>
        </pc:spChg>
        <pc:spChg chg="mod">
          <ac:chgData name="丁野 光理" userId="53361c9a-10d0-4268-b39c-a1f4044b33f4" providerId="ADAL" clId="{5FE0A016-0A93-4063-8F08-CD48630E8DBB}" dt="2025-02-06T16:57:44.190" v="15301"/>
          <ac:spMkLst>
            <pc:docMk/>
            <pc:sldMk cId="2433251148" sldId="2147378730"/>
            <ac:spMk id="30" creationId="{D1646857-08AE-2E7D-72B6-A356987D54FB}"/>
          </ac:spMkLst>
        </pc:spChg>
        <pc:spChg chg="add del mod">
          <ac:chgData name="丁野 光理" userId="53361c9a-10d0-4268-b39c-a1f4044b33f4" providerId="ADAL" clId="{5FE0A016-0A93-4063-8F08-CD48630E8DBB}" dt="2025-02-06T16:58:10.236" v="15308" actId="478"/>
          <ac:spMkLst>
            <pc:docMk/>
            <pc:sldMk cId="2433251148" sldId="2147378730"/>
            <ac:spMk id="34" creationId="{FB17A079-9EC3-2EBA-57C6-4CEAC7E461C5}"/>
          </ac:spMkLst>
        </pc:spChg>
        <pc:spChg chg="add mod">
          <ac:chgData name="丁野 光理" userId="53361c9a-10d0-4268-b39c-a1f4044b33f4" providerId="ADAL" clId="{5FE0A016-0A93-4063-8F08-CD48630E8DBB}" dt="2025-02-06T16:58:44.471" v="15320" actId="1076"/>
          <ac:spMkLst>
            <pc:docMk/>
            <pc:sldMk cId="2433251148" sldId="2147378730"/>
            <ac:spMk id="35" creationId="{031691BD-8701-682B-2568-3E02BCFA60E2}"/>
          </ac:spMkLst>
        </pc:spChg>
        <pc:spChg chg="add mod">
          <ac:chgData name="丁野 光理" userId="53361c9a-10d0-4268-b39c-a1f4044b33f4" providerId="ADAL" clId="{5FE0A016-0A93-4063-8F08-CD48630E8DBB}" dt="2025-02-06T16:58:40.329" v="15319" actId="1076"/>
          <ac:spMkLst>
            <pc:docMk/>
            <pc:sldMk cId="2433251148" sldId="2147378730"/>
            <ac:spMk id="36" creationId="{7EE4361D-BD43-605B-F877-5947AB823C05}"/>
          </ac:spMkLst>
        </pc:spChg>
        <pc:spChg chg="del mod">
          <ac:chgData name="丁野 光理" userId="53361c9a-10d0-4268-b39c-a1f4044b33f4" providerId="ADAL" clId="{5FE0A016-0A93-4063-8F08-CD48630E8DBB}" dt="2025-02-06T16:57:39.862" v="15299" actId="478"/>
          <ac:spMkLst>
            <pc:docMk/>
            <pc:sldMk cId="2433251148" sldId="2147378730"/>
            <ac:spMk id="50" creationId="{5B635FEA-2811-3A33-A6E6-95440B42D811}"/>
          </ac:spMkLst>
        </pc:spChg>
        <pc:spChg chg="del mod">
          <ac:chgData name="丁野 光理" userId="53361c9a-10d0-4268-b39c-a1f4044b33f4" providerId="ADAL" clId="{5FE0A016-0A93-4063-8F08-CD48630E8DBB}" dt="2025-02-06T16:57:38.923" v="15297" actId="478"/>
          <ac:spMkLst>
            <pc:docMk/>
            <pc:sldMk cId="2433251148" sldId="2147378730"/>
            <ac:spMk id="53" creationId="{600AE28E-2F7C-E1F6-5796-97DD1A8A0830}"/>
          </ac:spMkLst>
        </pc:spChg>
        <pc:grpChg chg="del">
          <ac:chgData name="丁野 光理" userId="53361c9a-10d0-4268-b39c-a1f4044b33f4" providerId="ADAL" clId="{5FE0A016-0A93-4063-8F08-CD48630E8DBB}" dt="2025-02-06T16:57:36.815" v="15296" actId="478"/>
          <ac:grpSpMkLst>
            <pc:docMk/>
            <pc:sldMk cId="2433251148" sldId="2147378730"/>
            <ac:grpSpMk id="3" creationId="{EBC23DA4-F36B-555D-CA5C-39F94E08823F}"/>
          </ac:grpSpMkLst>
        </pc:grpChg>
        <pc:grpChg chg="add mod">
          <ac:chgData name="丁野 光理" userId="53361c9a-10d0-4268-b39c-a1f4044b33f4" providerId="ADAL" clId="{5FE0A016-0A93-4063-8F08-CD48630E8DBB}" dt="2025-02-06T16:57:41.093" v="15300"/>
          <ac:grpSpMkLst>
            <pc:docMk/>
            <pc:sldMk cId="2433251148" sldId="2147378730"/>
            <ac:grpSpMk id="15" creationId="{4F3B7F64-F0F3-8BED-19C0-22D7D3D03A69}"/>
          </ac:grpSpMkLst>
        </pc:grpChg>
        <pc:grpChg chg="mod">
          <ac:chgData name="丁野 光理" userId="53361c9a-10d0-4268-b39c-a1f4044b33f4" providerId="ADAL" clId="{5FE0A016-0A93-4063-8F08-CD48630E8DBB}" dt="2025-02-06T16:57:41.093" v="15300"/>
          <ac:grpSpMkLst>
            <pc:docMk/>
            <pc:sldMk cId="2433251148" sldId="2147378730"/>
            <ac:grpSpMk id="16" creationId="{4A15A5E4-85A5-C396-1892-B1F5BDCEF708}"/>
          </ac:grpSpMkLst>
        </pc:grpChg>
        <pc:grpChg chg="add del mod">
          <ac:chgData name="丁野 光理" userId="53361c9a-10d0-4268-b39c-a1f4044b33f4" providerId="ADAL" clId="{5FE0A016-0A93-4063-8F08-CD48630E8DBB}" dt="2025-02-06T16:57:52.568" v="15302" actId="478"/>
          <ac:grpSpMkLst>
            <pc:docMk/>
            <pc:sldMk cId="2433251148" sldId="2147378730"/>
            <ac:grpSpMk id="27" creationId="{E64455CB-ADC2-36E6-ED2B-E0084CA1FD5E}"/>
          </ac:grpSpMkLst>
        </pc:grpChg>
        <pc:grpChg chg="mod">
          <ac:chgData name="丁野 光理" userId="53361c9a-10d0-4268-b39c-a1f4044b33f4" providerId="ADAL" clId="{5FE0A016-0A93-4063-8F08-CD48630E8DBB}" dt="2025-02-06T16:57:44.190" v="15301"/>
          <ac:grpSpMkLst>
            <pc:docMk/>
            <pc:sldMk cId="2433251148" sldId="2147378730"/>
            <ac:grpSpMk id="28" creationId="{611D63BB-878F-CCB9-35AE-7A20D8EA0582}"/>
          </ac:grpSpMkLst>
        </pc:grpChg>
        <pc:graphicFrameChg chg="add mod">
          <ac:chgData name="丁野 光理" userId="53361c9a-10d0-4268-b39c-a1f4044b33f4" providerId="ADAL" clId="{5FE0A016-0A93-4063-8F08-CD48630E8DBB}" dt="2025-02-06T16:57:41.093" v="15300"/>
          <ac:graphicFrameMkLst>
            <pc:docMk/>
            <pc:sldMk cId="2433251148" sldId="2147378730"/>
            <ac:graphicFrameMk id="21" creationId="{C00E8BD2-6C17-25F2-0776-B6AF759D3E09}"/>
          </ac:graphicFrameMkLst>
        </pc:graphicFrameChg>
        <pc:graphicFrameChg chg="add mod">
          <ac:chgData name="丁野 光理" userId="53361c9a-10d0-4268-b39c-a1f4044b33f4" providerId="ADAL" clId="{5FE0A016-0A93-4063-8F08-CD48630E8DBB}" dt="2025-02-06T16:57:41.093" v="15300"/>
          <ac:graphicFrameMkLst>
            <pc:docMk/>
            <pc:sldMk cId="2433251148" sldId="2147378730"/>
            <ac:graphicFrameMk id="22" creationId="{D061F593-7493-2CF5-669D-20E838D94823}"/>
          </ac:graphicFrameMkLst>
        </pc:graphicFrameChg>
        <pc:graphicFrameChg chg="add mod modGraphic">
          <ac:chgData name="丁野 光理" userId="53361c9a-10d0-4268-b39c-a1f4044b33f4" providerId="ADAL" clId="{5FE0A016-0A93-4063-8F08-CD48630E8DBB}" dt="2025-02-06T16:58:34.552" v="15317" actId="14100"/>
          <ac:graphicFrameMkLst>
            <pc:docMk/>
            <pc:sldMk cId="2433251148" sldId="2147378730"/>
            <ac:graphicFrameMk id="32" creationId="{3B80BC24-01AA-213D-76FD-38F653AD9B7C}"/>
          </ac:graphicFrameMkLst>
        </pc:graphicFrameChg>
        <pc:graphicFrameChg chg="add mod">
          <ac:chgData name="丁野 光理" userId="53361c9a-10d0-4268-b39c-a1f4044b33f4" providerId="ADAL" clId="{5FE0A016-0A93-4063-8F08-CD48630E8DBB}" dt="2025-02-06T16:58:22.733" v="15312" actId="1076"/>
          <ac:graphicFrameMkLst>
            <pc:docMk/>
            <pc:sldMk cId="2433251148" sldId="2147378730"/>
            <ac:graphicFrameMk id="33" creationId="{579C0925-57A0-3030-666F-7E61FE13005C}"/>
          </ac:graphicFrameMkLst>
        </pc:graphicFrameChg>
        <pc:cxnChg chg="mod">
          <ac:chgData name="丁野 光理" userId="53361c9a-10d0-4268-b39c-a1f4044b33f4" providerId="ADAL" clId="{5FE0A016-0A93-4063-8F08-CD48630E8DBB}" dt="2025-02-06T16:57:41.093" v="15300"/>
          <ac:cxnSpMkLst>
            <pc:docMk/>
            <pc:sldMk cId="2433251148" sldId="2147378730"/>
            <ac:cxnSpMk id="20" creationId="{357CBE30-709F-A567-9754-4214A2D73A19}"/>
          </ac:cxnSpMkLst>
        </pc:cxnChg>
        <pc:cxnChg chg="mod">
          <ac:chgData name="丁野 光理" userId="53361c9a-10d0-4268-b39c-a1f4044b33f4" providerId="ADAL" clId="{5FE0A016-0A93-4063-8F08-CD48630E8DBB}" dt="2025-02-06T16:57:44.190" v="15301"/>
          <ac:cxnSpMkLst>
            <pc:docMk/>
            <pc:sldMk cId="2433251148" sldId="2147378730"/>
            <ac:cxnSpMk id="31" creationId="{9F6E2EFA-D15E-8FC8-632C-7C677DF4836B}"/>
          </ac:cxnSpMkLst>
        </pc:cxn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3:06.690" v="22927"/>
              <pc2:cmMkLst xmlns:pc2="http://schemas.microsoft.com/office/powerpoint/2019/9/main/command">
                <pc:docMk/>
                <pc:sldMk cId="2433251148" sldId="2147378730"/>
                <pc2:cmMk id="{FA0A7B1F-99D6-4949-AE3E-EB42B41255B6}"/>
              </pc2:cmMkLst>
            </pc226:cmChg>
            <pc226:cmChg xmlns:pc226="http://schemas.microsoft.com/office/powerpoint/2022/06/main/command" chg="del">
              <pc226:chgData name="丁野 光理" userId="53361c9a-10d0-4268-b39c-a1f4044b33f4" providerId="ADAL" clId="{5FE0A016-0A93-4063-8F08-CD48630E8DBB}" dt="2025-02-07T10:23:07.982" v="22928"/>
              <pc2:cmMkLst xmlns:pc2="http://schemas.microsoft.com/office/powerpoint/2019/9/main/command">
                <pc:docMk/>
                <pc:sldMk cId="2433251148" sldId="2147378730"/>
                <pc2:cmMk id="{C4C270B4-7D2E-4D10-AF74-4EA1E8129E94}"/>
              </pc2:cmMkLst>
            </pc226:cmChg>
          </p:ext>
        </pc:extLst>
      </pc:sldChg>
      <pc:sldChg chg="modSp add mod">
        <pc:chgData name="丁野 光理" userId="53361c9a-10d0-4268-b39c-a1f4044b33f4" providerId="ADAL" clId="{5FE0A016-0A93-4063-8F08-CD48630E8DBB}" dt="2025-02-06T15:13:48.787" v="7984"/>
        <pc:sldMkLst>
          <pc:docMk/>
          <pc:sldMk cId="866572055" sldId="2147378731"/>
        </pc:sldMkLst>
        <pc:spChg chg="mod">
          <ac:chgData name="丁野 光理" userId="53361c9a-10d0-4268-b39c-a1f4044b33f4" providerId="ADAL" clId="{5FE0A016-0A93-4063-8F08-CD48630E8DBB}" dt="2025-02-06T15:13:48.787" v="7984"/>
          <ac:spMkLst>
            <pc:docMk/>
            <pc:sldMk cId="866572055" sldId="2147378731"/>
            <ac:spMk id="17" creationId="{CF45C799-184A-B9A1-3984-069F4A38D270}"/>
          </ac:spMkLst>
        </pc:spChg>
      </pc:sldChg>
      <pc:sldChg chg="modSp add mod">
        <pc:chgData name="丁野 光理" userId="53361c9a-10d0-4268-b39c-a1f4044b33f4" providerId="ADAL" clId="{5FE0A016-0A93-4063-8F08-CD48630E8DBB}" dt="2025-02-06T15:14:09.412" v="7988" actId="6549"/>
        <pc:sldMkLst>
          <pc:docMk/>
          <pc:sldMk cId="2588649303" sldId="2147378732"/>
        </pc:sldMkLst>
        <pc:spChg chg="mod">
          <ac:chgData name="丁野 光理" userId="53361c9a-10d0-4268-b39c-a1f4044b33f4" providerId="ADAL" clId="{5FE0A016-0A93-4063-8F08-CD48630E8DBB}" dt="2025-02-06T15:14:09.412" v="7988" actId="6549"/>
          <ac:spMkLst>
            <pc:docMk/>
            <pc:sldMk cId="2588649303" sldId="2147378732"/>
            <ac:spMk id="17" creationId="{CF45C799-184A-B9A1-3984-069F4A38D270}"/>
          </ac:spMkLst>
        </pc:spChg>
      </pc:sldChg>
      <pc:sldChg chg="modSp add mod">
        <pc:chgData name="丁野 光理" userId="53361c9a-10d0-4268-b39c-a1f4044b33f4" providerId="ADAL" clId="{5FE0A016-0A93-4063-8F08-CD48630E8DBB}" dt="2025-02-07T01:45:10.898" v="19677"/>
        <pc:sldMkLst>
          <pc:docMk/>
          <pc:sldMk cId="1978006436" sldId="2147378733"/>
        </pc:sldMkLst>
        <pc:spChg chg="mod">
          <ac:chgData name="丁野 光理" userId="53361c9a-10d0-4268-b39c-a1f4044b33f4" providerId="ADAL" clId="{5FE0A016-0A93-4063-8F08-CD48630E8DBB}" dt="2025-02-07T01:45:10.898" v="19677"/>
          <ac:spMkLst>
            <pc:docMk/>
            <pc:sldMk cId="1978006436" sldId="2147378733"/>
            <ac:spMk id="10" creationId="{1A383005-B1A5-AD52-BAD8-1851206F59CA}"/>
          </ac:spMkLst>
        </pc:spChg>
        <pc:spChg chg="mod">
          <ac:chgData name="丁野 光理" userId="53361c9a-10d0-4268-b39c-a1f4044b33f4" providerId="ADAL" clId="{5FE0A016-0A93-4063-8F08-CD48630E8DBB}" dt="2025-02-06T15:14:57.475" v="8002"/>
          <ac:spMkLst>
            <pc:docMk/>
            <pc:sldMk cId="1978006436" sldId="2147378733"/>
            <ac:spMk id="20" creationId="{94800FDA-81F1-3586-866D-A519778D8DB8}"/>
          </ac:spMkLst>
        </pc:spChg>
      </pc:sldChg>
      <pc:sldChg chg="modSp add mod">
        <pc:chgData name="丁野 光理" userId="53361c9a-10d0-4268-b39c-a1f4044b33f4" providerId="ADAL" clId="{5FE0A016-0A93-4063-8F08-CD48630E8DBB}" dt="2025-02-07T01:45:13.135" v="19678"/>
        <pc:sldMkLst>
          <pc:docMk/>
          <pc:sldMk cId="1849280669" sldId="2147378734"/>
        </pc:sldMkLst>
        <pc:spChg chg="mod">
          <ac:chgData name="丁野 光理" userId="53361c9a-10d0-4268-b39c-a1f4044b33f4" providerId="ADAL" clId="{5FE0A016-0A93-4063-8F08-CD48630E8DBB}" dt="2025-02-07T01:45:13.135" v="19678"/>
          <ac:spMkLst>
            <pc:docMk/>
            <pc:sldMk cId="1849280669" sldId="2147378734"/>
            <ac:spMk id="10" creationId="{1A383005-B1A5-AD52-BAD8-1851206F59CA}"/>
          </ac:spMkLst>
        </pc:spChg>
        <pc:spChg chg="mod">
          <ac:chgData name="丁野 光理" userId="53361c9a-10d0-4268-b39c-a1f4044b33f4" providerId="ADAL" clId="{5FE0A016-0A93-4063-8F08-CD48630E8DBB}" dt="2025-02-06T15:15:14.287" v="8005"/>
          <ac:spMkLst>
            <pc:docMk/>
            <pc:sldMk cId="1849280669" sldId="2147378734"/>
            <ac:spMk id="20" creationId="{94800FDA-81F1-3586-866D-A519778D8DB8}"/>
          </ac:spMkLst>
        </pc:spChg>
      </pc:sldChg>
      <pc:sldChg chg="addSp delSp modSp add del mod ord">
        <pc:chgData name="丁野 光理" userId="53361c9a-10d0-4268-b39c-a1f4044b33f4" providerId="ADAL" clId="{5FE0A016-0A93-4063-8F08-CD48630E8DBB}" dt="2025-02-07T11:21:41.669" v="24494" actId="47"/>
        <pc:sldMkLst>
          <pc:docMk/>
          <pc:sldMk cId="4041357983" sldId="2147378735"/>
        </pc:sldMkLst>
        <pc:spChg chg="mod">
          <ac:chgData name="丁野 光理" userId="53361c9a-10d0-4268-b39c-a1f4044b33f4" providerId="ADAL" clId="{5FE0A016-0A93-4063-8F08-CD48630E8DBB}" dt="2025-02-06T15:16:15.175" v="8013"/>
          <ac:spMkLst>
            <pc:docMk/>
            <pc:sldMk cId="4041357983" sldId="2147378735"/>
            <ac:spMk id="3" creationId="{91EE754F-8C87-1B2E-0787-5CD75A67D43F}"/>
          </ac:spMkLst>
        </pc:spChg>
        <pc:spChg chg="add mod">
          <ac:chgData name="丁野 光理" userId="53361c9a-10d0-4268-b39c-a1f4044b33f4" providerId="ADAL" clId="{5FE0A016-0A93-4063-8F08-CD48630E8DBB}" dt="2025-02-06T16:18:34.845" v="11560"/>
          <ac:spMkLst>
            <pc:docMk/>
            <pc:sldMk cId="4041357983" sldId="2147378735"/>
            <ac:spMk id="6" creationId="{37429402-B7AC-B439-B2D0-65A1A7C50A8B}"/>
          </ac:spMkLst>
        </pc:spChg>
        <pc:spChg chg="del">
          <ac:chgData name="丁野 光理" userId="53361c9a-10d0-4268-b39c-a1f4044b33f4" providerId="ADAL" clId="{5FE0A016-0A93-4063-8F08-CD48630E8DBB}" dt="2025-02-06T16:11:21.039" v="10826" actId="478"/>
          <ac:spMkLst>
            <pc:docMk/>
            <pc:sldMk cId="4041357983" sldId="2147378735"/>
            <ac:spMk id="7" creationId="{3691CDB4-58BB-E579-BB19-C14A7E95B4EB}"/>
          </ac:spMkLst>
        </pc:spChg>
        <pc:graphicFrameChg chg="add mod modGraphic">
          <ac:chgData name="丁野 光理" userId="53361c9a-10d0-4268-b39c-a1f4044b33f4" providerId="ADAL" clId="{5FE0A016-0A93-4063-8F08-CD48630E8DBB}" dt="2025-02-06T16:18:02.420" v="11489"/>
          <ac:graphicFrameMkLst>
            <pc:docMk/>
            <pc:sldMk cId="4041357983" sldId="2147378735"/>
            <ac:graphicFrameMk id="4" creationId="{4BA2F80E-3360-EFE5-E6DF-7F5C6AC57C83}"/>
          </ac:graphicFrameMkLst>
        </pc:graphicFrameChg>
        <pc:graphicFrameChg chg="del">
          <ac:chgData name="丁野 光理" userId="53361c9a-10d0-4268-b39c-a1f4044b33f4" providerId="ADAL" clId="{5FE0A016-0A93-4063-8F08-CD48630E8DBB}" dt="2025-02-06T16:11:23.174" v="10827" actId="478"/>
          <ac:graphicFrameMkLst>
            <pc:docMk/>
            <pc:sldMk cId="4041357983" sldId="2147378735"/>
            <ac:graphicFrameMk id="14" creationId="{9887595F-90B6-1EDC-9BF9-62AD79C17B7E}"/>
          </ac:graphicFrameMkLst>
        </pc:graphicFrameChg>
      </pc:sldChg>
      <pc:sldChg chg="addSp delSp modSp add del mod ord">
        <pc:chgData name="丁野 光理" userId="53361c9a-10d0-4268-b39c-a1f4044b33f4" providerId="ADAL" clId="{5FE0A016-0A93-4063-8F08-CD48630E8DBB}" dt="2025-02-07T11:21:42.295" v="24495" actId="47"/>
        <pc:sldMkLst>
          <pc:docMk/>
          <pc:sldMk cId="662189618" sldId="2147378736"/>
        </pc:sldMkLst>
        <pc:spChg chg="mod">
          <ac:chgData name="丁野 光理" userId="53361c9a-10d0-4268-b39c-a1f4044b33f4" providerId="ADAL" clId="{5FE0A016-0A93-4063-8F08-CD48630E8DBB}" dt="2025-02-06T15:16:28.437" v="8016" actId="6549"/>
          <ac:spMkLst>
            <pc:docMk/>
            <pc:sldMk cId="662189618" sldId="2147378736"/>
            <ac:spMk id="3" creationId="{91EE754F-8C87-1B2E-0787-5CD75A67D43F}"/>
          </ac:spMkLst>
        </pc:spChg>
        <pc:spChg chg="add mod">
          <ac:chgData name="丁野 光理" userId="53361c9a-10d0-4268-b39c-a1f4044b33f4" providerId="ADAL" clId="{5FE0A016-0A93-4063-8F08-CD48630E8DBB}" dt="2025-02-06T16:18:36.315" v="11561"/>
          <ac:spMkLst>
            <pc:docMk/>
            <pc:sldMk cId="662189618" sldId="2147378736"/>
            <ac:spMk id="6" creationId="{6A50203E-2E08-24A5-1C8C-6821C3AA528E}"/>
          </ac:spMkLst>
        </pc:spChg>
        <pc:spChg chg="del">
          <ac:chgData name="丁野 光理" userId="53361c9a-10d0-4268-b39c-a1f4044b33f4" providerId="ADAL" clId="{5FE0A016-0A93-4063-8F08-CD48630E8DBB}" dt="2025-02-06T16:11:31.608" v="10830" actId="478"/>
          <ac:spMkLst>
            <pc:docMk/>
            <pc:sldMk cId="662189618" sldId="2147378736"/>
            <ac:spMk id="7" creationId="{3691CDB4-58BB-E579-BB19-C14A7E95B4EB}"/>
          </ac:spMkLst>
        </pc:spChg>
        <pc:graphicFrameChg chg="add mod modGraphic">
          <ac:chgData name="丁野 光理" userId="53361c9a-10d0-4268-b39c-a1f4044b33f4" providerId="ADAL" clId="{5FE0A016-0A93-4063-8F08-CD48630E8DBB}" dt="2025-02-06T16:18:07.663" v="11506"/>
          <ac:graphicFrameMkLst>
            <pc:docMk/>
            <pc:sldMk cId="662189618" sldId="2147378736"/>
            <ac:graphicFrameMk id="4" creationId="{F8CA079C-CE67-1600-8D79-9B8C6FEC7D1B}"/>
          </ac:graphicFrameMkLst>
        </pc:graphicFrameChg>
        <pc:graphicFrameChg chg="del">
          <ac:chgData name="丁野 光理" userId="53361c9a-10d0-4268-b39c-a1f4044b33f4" providerId="ADAL" clId="{5FE0A016-0A93-4063-8F08-CD48630E8DBB}" dt="2025-02-06T16:11:29.776" v="10829" actId="478"/>
          <ac:graphicFrameMkLst>
            <pc:docMk/>
            <pc:sldMk cId="662189618" sldId="2147378736"/>
            <ac:graphicFrameMk id="14" creationId="{9887595F-90B6-1EDC-9BF9-62AD79C17B7E}"/>
          </ac:graphicFrameMkLst>
        </pc:graphicFrameChg>
      </pc:sldChg>
      <pc:sldChg chg="add del">
        <pc:chgData name="丁野 光理" userId="53361c9a-10d0-4268-b39c-a1f4044b33f4" providerId="ADAL" clId="{5FE0A016-0A93-4063-8F08-CD48630E8DBB}" dt="2025-02-06T16:59:56.340" v="15327" actId="47"/>
        <pc:sldMkLst>
          <pc:docMk/>
          <pc:sldMk cId="3126563558" sldId="2147378737"/>
        </pc:sldMkLst>
      </pc:sldChg>
      <pc:sldChg chg="add del">
        <pc:chgData name="丁野 光理" userId="53361c9a-10d0-4268-b39c-a1f4044b33f4" providerId="ADAL" clId="{5FE0A016-0A93-4063-8F08-CD48630E8DBB}" dt="2025-02-06T16:59:57.346" v="15328" actId="47"/>
        <pc:sldMkLst>
          <pc:docMk/>
          <pc:sldMk cId="1476667708" sldId="2147378738"/>
        </pc:sldMkLst>
      </pc:sldChg>
      <pc:sldChg chg="modSp add mod">
        <pc:chgData name="丁野 光理" userId="53361c9a-10d0-4268-b39c-a1f4044b33f4" providerId="ADAL" clId="{5FE0A016-0A93-4063-8F08-CD48630E8DBB}" dt="2025-02-07T11:24:42.892" v="24507" actId="20577"/>
        <pc:sldMkLst>
          <pc:docMk/>
          <pc:sldMk cId="2642190918" sldId="2147378739"/>
        </pc:sldMkLst>
        <pc:spChg chg="mod">
          <ac:chgData name="丁野 光理" userId="53361c9a-10d0-4268-b39c-a1f4044b33f4" providerId="ADAL" clId="{5FE0A016-0A93-4063-8F08-CD48630E8DBB}" dt="2025-02-06T15:18:36.513" v="8031" actId="20577"/>
          <ac:spMkLst>
            <pc:docMk/>
            <pc:sldMk cId="2642190918" sldId="2147378739"/>
            <ac:spMk id="2" creationId="{CBF10691-58CC-75D5-EA23-B36D933D90D3}"/>
          </ac:spMkLst>
        </pc:spChg>
        <pc:spChg chg="mod">
          <ac:chgData name="丁野 光理" userId="53361c9a-10d0-4268-b39c-a1f4044b33f4" providerId="ADAL" clId="{5FE0A016-0A93-4063-8F08-CD48630E8DBB}" dt="2025-02-07T11:24:42.892" v="24507" actId="20577"/>
          <ac:spMkLst>
            <pc:docMk/>
            <pc:sldMk cId="2642190918" sldId="2147378739"/>
            <ac:spMk id="9" creationId="{F7DA7227-3724-60C8-1F06-5A8A2F4AF1F8}"/>
          </ac:spMkLst>
        </pc:spChg>
      </pc:sldChg>
      <pc:sldChg chg="modSp add mod">
        <pc:chgData name="丁野 光理" userId="53361c9a-10d0-4268-b39c-a1f4044b33f4" providerId="ADAL" clId="{5FE0A016-0A93-4063-8F08-CD48630E8DBB}" dt="2025-02-07T11:24:51.630" v="24510" actId="20577"/>
        <pc:sldMkLst>
          <pc:docMk/>
          <pc:sldMk cId="165971776" sldId="2147378740"/>
        </pc:sldMkLst>
        <pc:spChg chg="mod">
          <ac:chgData name="丁野 光理" userId="53361c9a-10d0-4268-b39c-a1f4044b33f4" providerId="ADAL" clId="{5FE0A016-0A93-4063-8F08-CD48630E8DBB}" dt="2025-02-07T11:24:51.630" v="24510" actId="20577"/>
          <ac:spMkLst>
            <pc:docMk/>
            <pc:sldMk cId="165971776" sldId="2147378740"/>
            <ac:spMk id="9" creationId="{D22A0A06-D5A8-4A1A-B66F-2A8EDBD644F1}"/>
          </ac:spMkLst>
        </pc:spChg>
        <pc:spChg chg="mod">
          <ac:chgData name="丁野 光理" userId="53361c9a-10d0-4268-b39c-a1f4044b33f4" providerId="ADAL" clId="{5FE0A016-0A93-4063-8F08-CD48630E8DBB}" dt="2025-02-06T15:18:41.442" v="8032"/>
          <ac:spMkLst>
            <pc:docMk/>
            <pc:sldMk cId="165971776" sldId="2147378740"/>
            <ac:spMk id="14" creationId="{B82535D0-8503-64C9-D7C5-6527643FF688}"/>
          </ac:spMkLst>
        </pc:spChg>
      </pc:sldChg>
      <pc:sldChg chg="addSp modSp add mod">
        <pc:chgData name="丁野 光理" userId="53361c9a-10d0-4268-b39c-a1f4044b33f4" providerId="ADAL" clId="{5FE0A016-0A93-4063-8F08-CD48630E8DBB}" dt="2025-02-07T11:24:54.170" v="24513" actId="20577"/>
        <pc:sldMkLst>
          <pc:docMk/>
          <pc:sldMk cId="3556400781" sldId="2147378741"/>
        </pc:sldMkLst>
        <pc:spChg chg="mod">
          <ac:chgData name="丁野 光理" userId="53361c9a-10d0-4268-b39c-a1f4044b33f4" providerId="ADAL" clId="{5FE0A016-0A93-4063-8F08-CD48630E8DBB}" dt="2025-02-06T15:18:48.192" v="8033"/>
          <ac:spMkLst>
            <pc:docMk/>
            <pc:sldMk cId="3556400781" sldId="2147378741"/>
            <ac:spMk id="2" creationId="{A45FDDD5-9A42-423D-9ED3-F19DD3567786}"/>
          </ac:spMkLst>
        </pc:spChg>
        <pc:spChg chg="add mod">
          <ac:chgData name="丁野 光理" userId="53361c9a-10d0-4268-b39c-a1f4044b33f4" providerId="ADAL" clId="{5FE0A016-0A93-4063-8F08-CD48630E8DBB}" dt="2025-02-07T01:07:04.250" v="17154"/>
          <ac:spMkLst>
            <pc:docMk/>
            <pc:sldMk cId="3556400781" sldId="2147378741"/>
            <ac:spMk id="4" creationId="{A1277F05-26FA-BC40-8E8E-34D0007C0DF7}"/>
          </ac:spMkLst>
        </pc:spChg>
        <pc:spChg chg="mod">
          <ac:chgData name="丁野 光理" userId="53361c9a-10d0-4268-b39c-a1f4044b33f4" providerId="ADAL" clId="{5FE0A016-0A93-4063-8F08-CD48630E8DBB}" dt="2025-02-07T11:24:54.170" v="24513" actId="20577"/>
          <ac:spMkLst>
            <pc:docMk/>
            <pc:sldMk cId="3556400781" sldId="2147378741"/>
            <ac:spMk id="9" creationId="{D22A0A06-D5A8-4A1A-B66F-2A8EDBD644F1}"/>
          </ac:spMkLst>
        </pc:spChg>
      </pc:sldChg>
      <pc:sldChg chg="modSp add mod delCm">
        <pc:chgData name="丁野 光理" userId="53361c9a-10d0-4268-b39c-a1f4044b33f4" providerId="ADAL" clId="{5FE0A016-0A93-4063-8F08-CD48630E8DBB}" dt="2025-02-07T10:23:50.953" v="22934"/>
        <pc:sldMkLst>
          <pc:docMk/>
          <pc:sldMk cId="4237138605" sldId="2147378742"/>
        </pc:sldMkLst>
        <pc:spChg chg="mod">
          <ac:chgData name="丁野 光理" userId="53361c9a-10d0-4268-b39c-a1f4044b33f4" providerId="ADAL" clId="{5FE0A016-0A93-4063-8F08-CD48630E8DBB}" dt="2025-02-06T16:02:02.575" v="10743"/>
          <ac:spMkLst>
            <pc:docMk/>
            <pc:sldMk cId="4237138605" sldId="2147378742"/>
            <ac:spMk id="2" creationId="{BDE63369-EA7E-4802-A4A3-D4010A333C66}"/>
          </ac:spMkLst>
        </pc:spChg>
        <pc:spChg chg="mod">
          <ac:chgData name="丁野 光理" userId="53361c9a-10d0-4268-b39c-a1f4044b33f4" providerId="ADAL" clId="{5FE0A016-0A93-4063-8F08-CD48630E8DBB}" dt="2025-02-06T17:04:03.298" v="15474"/>
          <ac:spMkLst>
            <pc:docMk/>
            <pc:sldMk cId="4237138605" sldId="2147378742"/>
            <ac:spMk id="6" creationId="{95B7D5A6-3733-419F-5F47-1323A3D8D852}"/>
          </ac:spMkLst>
        </pc:spChg>
        <pc:spChg chg="mod">
          <ac:chgData name="丁野 光理" userId="53361c9a-10d0-4268-b39c-a1f4044b33f4" providerId="ADAL" clId="{5FE0A016-0A93-4063-8F08-CD48630E8DBB}" dt="2025-02-07T01:24:15.080" v="18409" actId="20577"/>
          <ac:spMkLst>
            <pc:docMk/>
            <pc:sldMk cId="4237138605" sldId="2147378742"/>
            <ac:spMk id="12" creationId="{0885EF34-1A86-AA39-1A1A-5F99ABF6B7EF}"/>
          </ac:spMkLst>
        </pc:spChg>
        <pc:spChg chg="mod">
          <ac:chgData name="丁野 光理" userId="53361c9a-10d0-4268-b39c-a1f4044b33f4" providerId="ADAL" clId="{5FE0A016-0A93-4063-8F08-CD48630E8DBB}" dt="2025-02-06T17:03:35.127" v="15401" actId="1076"/>
          <ac:spMkLst>
            <pc:docMk/>
            <pc:sldMk cId="4237138605" sldId="2147378742"/>
            <ac:spMk id="53" creationId="{600AE28E-2F7C-E1F6-5796-97DD1A8A0830}"/>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3:50.953" v="22934"/>
              <pc2:cmMkLst xmlns:pc2="http://schemas.microsoft.com/office/powerpoint/2019/9/main/command">
                <pc:docMk/>
                <pc:sldMk cId="4237138605" sldId="2147378742"/>
                <pc2:cmMk id="{C15A465C-7547-42C3-B058-3450B8EA0A80}"/>
              </pc2:cmMkLst>
            </pc226:cmChg>
            <pc226:cmChg xmlns:pc226="http://schemas.microsoft.com/office/powerpoint/2022/06/main/command" chg="del">
              <pc226:chgData name="丁野 光理" userId="53361c9a-10d0-4268-b39c-a1f4044b33f4" providerId="ADAL" clId="{5FE0A016-0A93-4063-8F08-CD48630E8DBB}" dt="2025-02-07T10:23:49.435" v="22933"/>
              <pc2:cmMkLst xmlns:pc2="http://schemas.microsoft.com/office/powerpoint/2019/9/main/command">
                <pc:docMk/>
                <pc:sldMk cId="4237138605" sldId="2147378742"/>
                <pc2:cmMk id="{863940B0-6DF7-4828-BC9A-9FD3A80F5C90}"/>
              </pc2:cmMkLst>
            </pc226:cmChg>
          </p:ext>
        </pc:extLst>
      </pc:sldChg>
      <pc:sldChg chg="addSp delSp modSp add mod">
        <pc:chgData name="丁野 光理" userId="53361c9a-10d0-4268-b39c-a1f4044b33f4" providerId="ADAL" clId="{5FE0A016-0A93-4063-8F08-CD48630E8DBB}" dt="2025-02-07T11:39:14.485" v="24931" actId="20577"/>
        <pc:sldMkLst>
          <pc:docMk/>
          <pc:sldMk cId="3931455884" sldId="2147378743"/>
        </pc:sldMkLst>
        <pc:spChg chg="mod">
          <ac:chgData name="丁野 光理" userId="53361c9a-10d0-4268-b39c-a1f4044b33f4" providerId="ADAL" clId="{5FE0A016-0A93-4063-8F08-CD48630E8DBB}" dt="2025-02-06T16:02:16.044" v="10745"/>
          <ac:spMkLst>
            <pc:docMk/>
            <pc:sldMk cId="3931455884" sldId="2147378743"/>
            <ac:spMk id="2" creationId="{BDE63369-EA7E-4802-A4A3-D4010A333C66}"/>
          </ac:spMkLst>
        </pc:spChg>
        <pc:spChg chg="add mod">
          <ac:chgData name="丁野 光理" userId="53361c9a-10d0-4268-b39c-a1f4044b33f4" providerId="ADAL" clId="{5FE0A016-0A93-4063-8F08-CD48630E8DBB}" dt="2025-02-07T03:36:31.025" v="21200"/>
          <ac:spMkLst>
            <pc:docMk/>
            <pc:sldMk cId="3931455884" sldId="2147378743"/>
            <ac:spMk id="3" creationId="{8E5E4177-0D4C-66AC-D184-5C97EB519BCC}"/>
          </ac:spMkLst>
        </pc:spChg>
        <pc:spChg chg="add mod">
          <ac:chgData name="丁野 光理" userId="53361c9a-10d0-4268-b39c-a1f4044b33f4" providerId="ADAL" clId="{5FE0A016-0A93-4063-8F08-CD48630E8DBB}" dt="2025-02-07T03:37:04.235" v="21390"/>
          <ac:spMkLst>
            <pc:docMk/>
            <pc:sldMk cId="3931455884" sldId="2147378743"/>
            <ac:spMk id="4" creationId="{4FFEC03F-A8BC-90E2-69BF-5162E610D075}"/>
          </ac:spMkLst>
        </pc:spChg>
        <pc:spChg chg="mod">
          <ac:chgData name="丁野 光理" userId="53361c9a-10d0-4268-b39c-a1f4044b33f4" providerId="ADAL" clId="{5FE0A016-0A93-4063-8F08-CD48630E8DBB}" dt="2025-02-06T16:33:40.341" v="12713"/>
          <ac:spMkLst>
            <pc:docMk/>
            <pc:sldMk cId="3931455884" sldId="2147378743"/>
            <ac:spMk id="6" creationId="{06F06DD2-9B90-695B-AD25-50F75DE8988B}"/>
          </ac:spMkLst>
        </pc:spChg>
        <pc:spChg chg="mod">
          <ac:chgData name="丁野 光理" userId="53361c9a-10d0-4268-b39c-a1f4044b33f4" providerId="ADAL" clId="{5FE0A016-0A93-4063-8F08-CD48630E8DBB}" dt="2025-02-07T11:39:14.485" v="24931" actId="20577"/>
          <ac:spMkLst>
            <pc:docMk/>
            <pc:sldMk cId="3931455884" sldId="2147378743"/>
            <ac:spMk id="9" creationId="{D22A0A06-D5A8-4A1A-B66F-2A8EDBD644F1}"/>
          </ac:spMkLst>
        </pc:spChg>
        <pc:spChg chg="mod">
          <ac:chgData name="丁野 光理" userId="53361c9a-10d0-4268-b39c-a1f4044b33f4" providerId="ADAL" clId="{5FE0A016-0A93-4063-8F08-CD48630E8DBB}" dt="2025-02-06T16:52:35.896" v="14641" actId="207"/>
          <ac:spMkLst>
            <pc:docMk/>
            <pc:sldMk cId="3931455884" sldId="2147378743"/>
            <ac:spMk id="17" creationId="{53F10FF5-7C3A-04E7-4D0E-3EC2A9EB89FC}"/>
          </ac:spMkLst>
        </pc:spChg>
        <pc:spChg chg="mod">
          <ac:chgData name="丁野 光理" userId="53361c9a-10d0-4268-b39c-a1f4044b33f4" providerId="ADAL" clId="{5FE0A016-0A93-4063-8F08-CD48630E8DBB}" dt="2025-02-07T03:35:27.523" v="21109" actId="207"/>
          <ac:spMkLst>
            <pc:docMk/>
            <pc:sldMk cId="3931455884" sldId="2147378743"/>
            <ac:spMk id="20" creationId="{A1D40746-BF49-AC90-B951-2E85999D00C9}"/>
          </ac:spMkLst>
        </pc:spChg>
        <pc:spChg chg="mod">
          <ac:chgData name="丁野 光理" userId="53361c9a-10d0-4268-b39c-a1f4044b33f4" providerId="ADAL" clId="{5FE0A016-0A93-4063-8F08-CD48630E8DBB}" dt="2025-02-07T03:36:19.405" v="21130" actId="20577"/>
          <ac:spMkLst>
            <pc:docMk/>
            <pc:sldMk cId="3931455884" sldId="2147378743"/>
            <ac:spMk id="22" creationId="{E3A53034-9097-A2B0-BA00-9805C113B3C4}"/>
          </ac:spMkLst>
        </pc:spChg>
        <pc:spChg chg="del">
          <ac:chgData name="丁野 光理" userId="53361c9a-10d0-4268-b39c-a1f4044b33f4" providerId="ADAL" clId="{5FE0A016-0A93-4063-8F08-CD48630E8DBB}" dt="2025-02-06T16:52:24.645" v="14636" actId="478"/>
          <ac:spMkLst>
            <pc:docMk/>
            <pc:sldMk cId="3931455884" sldId="2147378743"/>
            <ac:spMk id="23" creationId="{548B53C1-9515-859C-4FF6-ED37AFEFE4B3}"/>
          </ac:spMkLst>
        </pc:spChg>
        <pc:spChg chg="mod">
          <ac:chgData name="丁野 光理" userId="53361c9a-10d0-4268-b39c-a1f4044b33f4" providerId="ADAL" clId="{5FE0A016-0A93-4063-8F08-CD48630E8DBB}" dt="2025-02-06T16:52:33.733" v="14640" actId="207"/>
          <ac:spMkLst>
            <pc:docMk/>
            <pc:sldMk cId="3931455884" sldId="2147378743"/>
            <ac:spMk id="25" creationId="{B623064F-1224-9D0A-91B9-574A09BD6B31}"/>
          </ac:spMkLst>
        </pc:spChg>
        <pc:spChg chg="mod">
          <ac:chgData name="丁野 光理" userId="53361c9a-10d0-4268-b39c-a1f4044b33f4" providerId="ADAL" clId="{5FE0A016-0A93-4063-8F08-CD48630E8DBB}" dt="2025-02-07T03:33:28.109" v="20852" actId="207"/>
          <ac:spMkLst>
            <pc:docMk/>
            <pc:sldMk cId="3931455884" sldId="2147378743"/>
            <ac:spMk id="28" creationId="{90FD0E77-3888-581E-76F2-D03B3D6A162F}"/>
          </ac:spMkLst>
        </pc:spChg>
        <pc:spChg chg="mod">
          <ac:chgData name="丁野 光理" userId="53361c9a-10d0-4268-b39c-a1f4044b33f4" providerId="ADAL" clId="{5FE0A016-0A93-4063-8F08-CD48630E8DBB}" dt="2025-02-07T03:33:28.109" v="20852" actId="207"/>
          <ac:spMkLst>
            <pc:docMk/>
            <pc:sldMk cId="3931455884" sldId="2147378743"/>
            <ac:spMk id="29" creationId="{51548927-EDC2-8320-9763-1100DEEB5C3D}"/>
          </ac:spMkLst>
        </pc:spChg>
        <pc:spChg chg="mod">
          <ac:chgData name="丁野 光理" userId="53361c9a-10d0-4268-b39c-a1f4044b33f4" providerId="ADAL" clId="{5FE0A016-0A93-4063-8F08-CD48630E8DBB}" dt="2025-02-07T03:34:47.646" v="21013"/>
          <ac:spMkLst>
            <pc:docMk/>
            <pc:sldMk cId="3931455884" sldId="2147378743"/>
            <ac:spMk id="30" creationId="{ABA7E6E7-22B8-6897-CAD1-5BB1F7243A11}"/>
          </ac:spMkLst>
        </pc:spChg>
        <pc:spChg chg="mod">
          <ac:chgData name="丁野 光理" userId="53361c9a-10d0-4268-b39c-a1f4044b33f4" providerId="ADAL" clId="{5FE0A016-0A93-4063-8F08-CD48630E8DBB}" dt="2025-02-07T03:42:29.269" v="21424"/>
          <ac:spMkLst>
            <pc:docMk/>
            <pc:sldMk cId="3931455884" sldId="2147378743"/>
            <ac:spMk id="31" creationId="{97AC2652-6A11-4525-3831-C5116BDDAFD4}"/>
          </ac:spMkLst>
        </pc:spChg>
        <pc:spChg chg="mod">
          <ac:chgData name="丁野 光理" userId="53361c9a-10d0-4268-b39c-a1f4044b33f4" providerId="ADAL" clId="{5FE0A016-0A93-4063-8F08-CD48630E8DBB}" dt="2025-02-07T03:33:28.109" v="20852" actId="207"/>
          <ac:spMkLst>
            <pc:docMk/>
            <pc:sldMk cId="3931455884" sldId="2147378743"/>
            <ac:spMk id="32" creationId="{226A0974-299A-DA5C-F13B-FA16A7D473D9}"/>
          </ac:spMkLst>
        </pc:spChg>
        <pc:spChg chg="mod">
          <ac:chgData name="丁野 光理" userId="53361c9a-10d0-4268-b39c-a1f4044b33f4" providerId="ADAL" clId="{5FE0A016-0A93-4063-8F08-CD48630E8DBB}" dt="2025-02-07T03:33:28.109" v="20852" actId="207"/>
          <ac:spMkLst>
            <pc:docMk/>
            <pc:sldMk cId="3931455884" sldId="2147378743"/>
            <ac:spMk id="33" creationId="{C9FC6D16-CAD4-5B3E-F8B5-81D2A2D8CDCA}"/>
          </ac:spMkLst>
        </pc:spChg>
        <pc:spChg chg="del">
          <ac:chgData name="丁野 光理" userId="53361c9a-10d0-4268-b39c-a1f4044b33f4" providerId="ADAL" clId="{5FE0A016-0A93-4063-8F08-CD48630E8DBB}" dt="2025-02-06T16:52:26.659" v="14637" actId="478"/>
          <ac:spMkLst>
            <pc:docMk/>
            <pc:sldMk cId="3931455884" sldId="2147378743"/>
            <ac:spMk id="34" creationId="{C89FC4AA-2731-E92F-D907-2D16595912E8}"/>
          </ac:spMkLst>
        </pc:spChg>
        <pc:spChg chg="del">
          <ac:chgData name="丁野 光理" userId="53361c9a-10d0-4268-b39c-a1f4044b33f4" providerId="ADAL" clId="{5FE0A016-0A93-4063-8F08-CD48630E8DBB}" dt="2025-02-06T16:52:29.564" v="14639" actId="478"/>
          <ac:spMkLst>
            <pc:docMk/>
            <pc:sldMk cId="3931455884" sldId="2147378743"/>
            <ac:spMk id="35" creationId="{708AB7D6-2CDF-65E4-DFCF-96EFAC6FF818}"/>
          </ac:spMkLst>
        </pc:spChg>
        <pc:cxnChg chg="mod">
          <ac:chgData name="丁野 光理" userId="53361c9a-10d0-4268-b39c-a1f4044b33f4" providerId="ADAL" clId="{5FE0A016-0A93-4063-8F08-CD48630E8DBB}" dt="2025-02-07T03:33:28.109" v="20852" actId="207"/>
          <ac:cxnSpMkLst>
            <pc:docMk/>
            <pc:sldMk cId="3931455884" sldId="2147378743"/>
            <ac:cxnSpMk id="21" creationId="{2C5A1D27-39E7-7A74-E0C6-11903FAA5D16}"/>
          </ac:cxnSpMkLst>
        </pc:cxnChg>
        <pc:cxnChg chg="del">
          <ac:chgData name="丁野 光理" userId="53361c9a-10d0-4268-b39c-a1f4044b33f4" providerId="ADAL" clId="{5FE0A016-0A93-4063-8F08-CD48630E8DBB}" dt="2025-02-06T16:52:28.207" v="14638" actId="478"/>
          <ac:cxnSpMkLst>
            <pc:docMk/>
            <pc:sldMk cId="3931455884" sldId="2147378743"/>
            <ac:cxnSpMk id="27" creationId="{E7CB3556-2936-30A4-AEC6-65D0A1738CDB}"/>
          </ac:cxnSpMkLst>
        </pc:cxnChg>
      </pc:sldChg>
      <pc:sldChg chg="modSp add mod">
        <pc:chgData name="丁野 光理" userId="53361c9a-10d0-4268-b39c-a1f4044b33f4" providerId="ADAL" clId="{5FE0A016-0A93-4063-8F08-CD48630E8DBB}" dt="2025-02-07T11:39:11.572" v="24928" actId="20577"/>
        <pc:sldMkLst>
          <pc:docMk/>
          <pc:sldMk cId="2340429532" sldId="2147378744"/>
        </pc:sldMkLst>
        <pc:spChg chg="mod">
          <ac:chgData name="丁野 光理" userId="53361c9a-10d0-4268-b39c-a1f4044b33f4" providerId="ADAL" clId="{5FE0A016-0A93-4063-8F08-CD48630E8DBB}" dt="2025-02-06T16:02:12.279" v="10744"/>
          <ac:spMkLst>
            <pc:docMk/>
            <pc:sldMk cId="2340429532" sldId="2147378744"/>
            <ac:spMk id="2" creationId="{BDE63369-EA7E-4802-A4A3-D4010A333C66}"/>
          </ac:spMkLst>
        </pc:spChg>
        <pc:spChg chg="mod">
          <ac:chgData name="丁野 光理" userId="53361c9a-10d0-4268-b39c-a1f4044b33f4" providerId="ADAL" clId="{5FE0A016-0A93-4063-8F08-CD48630E8DBB}" dt="2025-02-07T11:39:11.572" v="24928" actId="20577"/>
          <ac:spMkLst>
            <pc:docMk/>
            <pc:sldMk cId="2340429532" sldId="2147378744"/>
            <ac:spMk id="9" creationId="{D22A0A06-D5A8-4A1A-B66F-2A8EDBD644F1}"/>
          </ac:spMkLst>
        </pc:spChg>
        <pc:spChg chg="mod">
          <ac:chgData name="丁野 光理" userId="53361c9a-10d0-4268-b39c-a1f4044b33f4" providerId="ADAL" clId="{5FE0A016-0A93-4063-8F08-CD48630E8DBB}" dt="2025-02-07T01:40:06.916" v="19118" actId="207"/>
          <ac:spMkLst>
            <pc:docMk/>
            <pc:sldMk cId="2340429532" sldId="2147378744"/>
            <ac:spMk id="13" creationId="{EDAD2185-EC0D-868E-795C-E7F2FB4ACC64}"/>
          </ac:spMkLst>
        </pc:spChg>
        <pc:spChg chg="mod">
          <ac:chgData name="丁野 光理" userId="53361c9a-10d0-4268-b39c-a1f4044b33f4" providerId="ADAL" clId="{5FE0A016-0A93-4063-8F08-CD48630E8DBB}" dt="2025-02-07T02:26:37.598" v="19739"/>
          <ac:spMkLst>
            <pc:docMk/>
            <pc:sldMk cId="2340429532" sldId="2147378744"/>
            <ac:spMk id="14" creationId="{EB154E72-D468-E337-5176-249A512E7AD4}"/>
          </ac:spMkLst>
        </pc:spChg>
        <pc:spChg chg="mod">
          <ac:chgData name="丁野 光理" userId="53361c9a-10d0-4268-b39c-a1f4044b33f4" providerId="ADAL" clId="{5FE0A016-0A93-4063-8F08-CD48630E8DBB}" dt="2025-02-06T16:33:33.220" v="12712"/>
          <ac:spMkLst>
            <pc:docMk/>
            <pc:sldMk cId="2340429532" sldId="2147378744"/>
            <ac:spMk id="17" creationId="{CF45C799-184A-B9A1-3984-069F4A38D270}"/>
          </ac:spMkLst>
        </pc:spChg>
      </pc:sldChg>
      <pc:sldChg chg="modSp add mod">
        <pc:chgData name="丁野 光理" userId="53361c9a-10d0-4268-b39c-a1f4044b33f4" providerId="ADAL" clId="{5FE0A016-0A93-4063-8F08-CD48630E8DBB}" dt="2025-02-07T11:39:07.993" v="24925" actId="20577"/>
        <pc:sldMkLst>
          <pc:docMk/>
          <pc:sldMk cId="2271814075" sldId="2147378745"/>
        </pc:sldMkLst>
        <pc:spChg chg="mod">
          <ac:chgData name="丁野 光理" userId="53361c9a-10d0-4268-b39c-a1f4044b33f4" providerId="ADAL" clId="{5FE0A016-0A93-4063-8F08-CD48630E8DBB}" dt="2025-02-06T16:02:19.570" v="10746"/>
          <ac:spMkLst>
            <pc:docMk/>
            <pc:sldMk cId="2271814075" sldId="2147378745"/>
            <ac:spMk id="2" creationId="{BDE63369-EA7E-4802-A4A3-D4010A333C66}"/>
          </ac:spMkLst>
        </pc:spChg>
        <pc:spChg chg="mod">
          <ac:chgData name="丁野 光理" userId="53361c9a-10d0-4268-b39c-a1f4044b33f4" providerId="ADAL" clId="{5FE0A016-0A93-4063-8F08-CD48630E8DBB}" dt="2025-02-07T11:39:07.993" v="24925" actId="20577"/>
          <ac:spMkLst>
            <pc:docMk/>
            <pc:sldMk cId="2271814075" sldId="2147378745"/>
            <ac:spMk id="9" creationId="{D22A0A06-D5A8-4A1A-B66F-2A8EDBD644F1}"/>
          </ac:spMkLst>
        </pc:spChg>
        <pc:spChg chg="mod">
          <ac:chgData name="丁野 光理" userId="53361c9a-10d0-4268-b39c-a1f4044b33f4" providerId="ADAL" clId="{5FE0A016-0A93-4063-8F08-CD48630E8DBB}" dt="2025-02-07T01:44:58.492" v="19675" actId="6549"/>
          <ac:spMkLst>
            <pc:docMk/>
            <pc:sldMk cId="2271814075" sldId="2147378745"/>
            <ac:spMk id="10" creationId="{1A383005-B1A5-AD52-BAD8-1851206F59CA}"/>
          </ac:spMkLst>
        </pc:spChg>
        <pc:spChg chg="mod">
          <ac:chgData name="丁野 光理" userId="53361c9a-10d0-4268-b39c-a1f4044b33f4" providerId="ADAL" clId="{5FE0A016-0A93-4063-8F08-CD48630E8DBB}" dt="2025-02-07T03:32:58.309" v="20851" actId="207"/>
          <ac:spMkLst>
            <pc:docMk/>
            <pc:sldMk cId="2271814075" sldId="2147378745"/>
            <ac:spMk id="13" creationId="{EDAD2185-EC0D-868E-795C-E7F2FB4ACC64}"/>
          </ac:spMkLst>
        </pc:spChg>
        <pc:spChg chg="mod">
          <ac:chgData name="丁野 光理" userId="53361c9a-10d0-4268-b39c-a1f4044b33f4" providerId="ADAL" clId="{5FE0A016-0A93-4063-8F08-CD48630E8DBB}" dt="2025-02-07T01:33:39.962" v="18421" actId="1076"/>
          <ac:spMkLst>
            <pc:docMk/>
            <pc:sldMk cId="2271814075" sldId="2147378745"/>
            <ac:spMk id="14" creationId="{18C1D74E-EB9E-1CE0-ED28-285496344003}"/>
          </ac:spMkLst>
        </pc:spChg>
        <pc:spChg chg="mod">
          <ac:chgData name="丁野 光理" userId="53361c9a-10d0-4268-b39c-a1f4044b33f4" providerId="ADAL" clId="{5FE0A016-0A93-4063-8F08-CD48630E8DBB}" dt="2025-02-06T16:33:42.343" v="12714"/>
          <ac:spMkLst>
            <pc:docMk/>
            <pc:sldMk cId="2271814075" sldId="2147378745"/>
            <ac:spMk id="20" creationId="{94800FDA-81F1-3586-866D-A519778D8DB8}"/>
          </ac:spMkLst>
        </pc:spChg>
      </pc:sldChg>
      <pc:sldChg chg="addSp delSp modSp add mod ord">
        <pc:chgData name="丁野 光理" userId="53361c9a-10d0-4268-b39c-a1f4044b33f4" providerId="ADAL" clId="{5FE0A016-0A93-4063-8F08-CD48630E8DBB}" dt="2025-02-07T11:20:11.211" v="24492" actId="1076"/>
        <pc:sldMkLst>
          <pc:docMk/>
          <pc:sldMk cId="478136210" sldId="2147378746"/>
        </pc:sldMkLst>
        <pc:spChg chg="mod">
          <ac:chgData name="丁野 光理" userId="53361c9a-10d0-4268-b39c-a1f4044b33f4" providerId="ADAL" clId="{5FE0A016-0A93-4063-8F08-CD48630E8DBB}" dt="2025-02-07T11:11:53.733" v="24026"/>
          <ac:spMkLst>
            <pc:docMk/>
            <pc:sldMk cId="478136210" sldId="2147378746"/>
            <ac:spMk id="2" creationId="{BDE63369-EA7E-4802-A4A3-D4010A333C66}"/>
          </ac:spMkLst>
        </pc:spChg>
        <pc:spChg chg="del mod">
          <ac:chgData name="丁野 光理" userId="53361c9a-10d0-4268-b39c-a1f4044b33f4" providerId="ADAL" clId="{5FE0A016-0A93-4063-8F08-CD48630E8DBB}" dt="2025-02-07T11:19:14.837" v="24479"/>
          <ac:spMkLst>
            <pc:docMk/>
            <pc:sldMk cId="478136210" sldId="2147378746"/>
            <ac:spMk id="3" creationId="{91EE754F-8C87-1B2E-0787-5CD75A67D43F}"/>
          </ac:spMkLst>
        </pc:spChg>
        <pc:spChg chg="mod">
          <ac:chgData name="丁野 光理" userId="53361c9a-10d0-4268-b39c-a1f4044b33f4" providerId="ADAL" clId="{5FE0A016-0A93-4063-8F08-CD48630E8DBB}" dt="2025-02-07T11:20:11.211" v="24492" actId="1076"/>
          <ac:spMkLst>
            <pc:docMk/>
            <pc:sldMk cId="478136210" sldId="2147378746"/>
            <ac:spMk id="6" creationId="{21D13A10-9062-ED6C-1199-D4C143403E83}"/>
          </ac:spMkLst>
        </pc:spChg>
        <pc:spChg chg="mod">
          <ac:chgData name="丁野 光理" userId="53361c9a-10d0-4268-b39c-a1f4044b33f4" providerId="ADAL" clId="{5FE0A016-0A93-4063-8F08-CD48630E8DBB}" dt="2025-02-07T11:10:48.330" v="23940" actId="20577"/>
          <ac:spMkLst>
            <pc:docMk/>
            <pc:sldMk cId="478136210" sldId="2147378746"/>
            <ac:spMk id="9" creationId="{D22A0A06-D5A8-4A1A-B66F-2A8EDBD644F1}"/>
          </ac:spMkLst>
        </pc:spChg>
        <pc:graphicFrameChg chg="add mod modGraphic">
          <ac:chgData name="丁野 光理" userId="53361c9a-10d0-4268-b39c-a1f4044b33f4" providerId="ADAL" clId="{5FE0A016-0A93-4063-8F08-CD48630E8DBB}" dt="2025-02-07T11:20:09.315" v="24491" actId="1076"/>
          <ac:graphicFrameMkLst>
            <pc:docMk/>
            <pc:sldMk cId="478136210" sldId="2147378746"/>
            <ac:graphicFrameMk id="4" creationId="{0C7EBEDC-46F2-4C75-201F-1BD5EC9DF524}"/>
          </ac:graphicFrameMkLst>
        </pc:graphicFrameChg>
        <pc:graphicFrameChg chg="del">
          <ac:chgData name="丁野 光理" userId="53361c9a-10d0-4268-b39c-a1f4044b33f4" providerId="ADAL" clId="{5FE0A016-0A93-4063-8F08-CD48630E8DBB}" dt="2025-02-06T16:29:23.889" v="12606" actId="478"/>
          <ac:graphicFrameMkLst>
            <pc:docMk/>
            <pc:sldMk cId="478136210" sldId="2147378746"/>
            <ac:graphicFrameMk id="14" creationId="{9887595F-90B6-1EDC-9BF9-62AD79C17B7E}"/>
          </ac:graphicFrameMkLst>
        </pc:graphicFrameChg>
      </pc:sldChg>
      <pc:sldChg chg="addSp delSp modSp add mod delCm">
        <pc:chgData name="丁野 光理" userId="53361c9a-10d0-4268-b39c-a1f4044b33f4" providerId="ADAL" clId="{5FE0A016-0A93-4063-8F08-CD48630E8DBB}" dt="2025-02-07T10:24:26.243" v="22936"/>
        <pc:sldMkLst>
          <pc:docMk/>
          <pc:sldMk cId="3772405785" sldId="2147378747"/>
        </pc:sldMkLst>
        <pc:spChg chg="mod">
          <ac:chgData name="丁野 光理" userId="53361c9a-10d0-4268-b39c-a1f4044b33f4" providerId="ADAL" clId="{5FE0A016-0A93-4063-8F08-CD48630E8DBB}" dt="2025-02-06T16:05:57.615" v="10782"/>
          <ac:spMkLst>
            <pc:docMk/>
            <pc:sldMk cId="3772405785" sldId="2147378747"/>
            <ac:spMk id="2" creationId="{BDE63369-EA7E-4802-A4A3-D4010A333C66}"/>
          </ac:spMkLst>
        </pc:spChg>
        <pc:spChg chg="del mod">
          <ac:chgData name="丁野 光理" userId="53361c9a-10d0-4268-b39c-a1f4044b33f4" providerId="ADAL" clId="{5FE0A016-0A93-4063-8F08-CD48630E8DBB}" dt="2025-02-06T16:44:42.632" v="13892" actId="478"/>
          <ac:spMkLst>
            <pc:docMk/>
            <pc:sldMk cId="3772405785" sldId="2147378747"/>
            <ac:spMk id="6" creationId="{95B7D5A6-3733-419F-5F47-1323A3D8D852}"/>
          </ac:spMkLst>
        </pc:spChg>
        <pc:spChg chg="mod">
          <ac:chgData name="丁野 光理" userId="53361c9a-10d0-4268-b39c-a1f4044b33f4" providerId="ADAL" clId="{5FE0A016-0A93-4063-8F08-CD48630E8DBB}" dt="2025-02-06T16:05:59.006" v="10787"/>
          <ac:spMkLst>
            <pc:docMk/>
            <pc:sldMk cId="3772405785" sldId="2147378747"/>
            <ac:spMk id="9" creationId="{D22A0A06-D5A8-4A1A-B66F-2A8EDBD644F1}"/>
          </ac:spMkLst>
        </pc:spChg>
        <pc:spChg chg="add del mod">
          <ac:chgData name="丁野 光理" userId="53361c9a-10d0-4268-b39c-a1f4044b33f4" providerId="ADAL" clId="{5FE0A016-0A93-4063-8F08-CD48630E8DBB}" dt="2025-02-06T16:45:48.762" v="13906" actId="478"/>
          <ac:spMkLst>
            <pc:docMk/>
            <pc:sldMk cId="3772405785" sldId="2147378747"/>
            <ac:spMk id="11" creationId="{1CE9469F-B46C-8C59-31A9-F1A40A7EA694}"/>
          </ac:spMkLst>
        </pc:spChg>
        <pc:spChg chg="mod">
          <ac:chgData name="丁野 光理" userId="53361c9a-10d0-4268-b39c-a1f4044b33f4" providerId="ADAL" clId="{5FE0A016-0A93-4063-8F08-CD48630E8DBB}" dt="2025-02-06T16:32:09.543" v="12681"/>
          <ac:spMkLst>
            <pc:docMk/>
            <pc:sldMk cId="3772405785" sldId="2147378747"/>
            <ac:spMk id="12" creationId="{0885EF34-1A86-AA39-1A1A-5F99ABF6B7EF}"/>
          </ac:spMkLst>
        </pc:spChg>
        <pc:spChg chg="add del mod">
          <ac:chgData name="丁野 光理" userId="53361c9a-10d0-4268-b39c-a1f4044b33f4" providerId="ADAL" clId="{5FE0A016-0A93-4063-8F08-CD48630E8DBB}" dt="2025-02-06T16:45:48.762" v="13906" actId="478"/>
          <ac:spMkLst>
            <pc:docMk/>
            <pc:sldMk cId="3772405785" sldId="2147378747"/>
            <ac:spMk id="14" creationId="{269E26A7-B828-2C10-178A-E643291C5EE1}"/>
          </ac:spMkLst>
        </pc:spChg>
        <pc:spChg chg="add del mod">
          <ac:chgData name="丁野 光理" userId="53361c9a-10d0-4268-b39c-a1f4044b33f4" providerId="ADAL" clId="{5FE0A016-0A93-4063-8F08-CD48630E8DBB}" dt="2025-02-06T16:45:48.762" v="13906" actId="478"/>
          <ac:spMkLst>
            <pc:docMk/>
            <pc:sldMk cId="3772405785" sldId="2147378747"/>
            <ac:spMk id="15" creationId="{CCF59FE6-8ACA-44F8-9F06-342429B62CCE}"/>
          </ac:spMkLst>
        </pc:spChg>
        <pc:spChg chg="add del mod">
          <ac:chgData name="丁野 光理" userId="53361c9a-10d0-4268-b39c-a1f4044b33f4" providerId="ADAL" clId="{5FE0A016-0A93-4063-8F08-CD48630E8DBB}" dt="2025-02-06T16:45:48.762" v="13906" actId="478"/>
          <ac:spMkLst>
            <pc:docMk/>
            <pc:sldMk cId="3772405785" sldId="2147378747"/>
            <ac:spMk id="16" creationId="{409C881A-7069-B585-482F-D1FE1A645559}"/>
          </ac:spMkLst>
        </pc:spChg>
        <pc:spChg chg="del">
          <ac:chgData name="丁野 光理" userId="53361c9a-10d0-4268-b39c-a1f4044b33f4" providerId="ADAL" clId="{5FE0A016-0A93-4063-8F08-CD48630E8DBB}" dt="2025-02-06T16:46:04.109" v="13907" actId="478"/>
          <ac:spMkLst>
            <pc:docMk/>
            <pc:sldMk cId="3772405785" sldId="2147378747"/>
            <ac:spMk id="17" creationId="{ED5B4037-6A33-091F-CAB0-26A3BC43E5EE}"/>
          </ac:spMkLst>
        </pc:spChg>
        <pc:spChg chg="add del mod">
          <ac:chgData name="丁野 光理" userId="53361c9a-10d0-4268-b39c-a1f4044b33f4" providerId="ADAL" clId="{5FE0A016-0A93-4063-8F08-CD48630E8DBB}" dt="2025-02-06T16:45:45.415" v="13904" actId="478"/>
          <ac:spMkLst>
            <pc:docMk/>
            <pc:sldMk cId="3772405785" sldId="2147378747"/>
            <ac:spMk id="18" creationId="{13122EFD-F512-5EC9-E3A7-8DC3FD6D7986}"/>
          </ac:spMkLst>
        </pc:spChg>
        <pc:spChg chg="add del mod">
          <ac:chgData name="丁野 光理" userId="53361c9a-10d0-4268-b39c-a1f4044b33f4" providerId="ADAL" clId="{5FE0A016-0A93-4063-8F08-CD48630E8DBB}" dt="2025-02-06T16:45:48.762" v="13906" actId="478"/>
          <ac:spMkLst>
            <pc:docMk/>
            <pc:sldMk cId="3772405785" sldId="2147378747"/>
            <ac:spMk id="19" creationId="{FECBE78B-478A-D9E3-C1E7-CF462C99A828}"/>
          </ac:spMkLst>
        </pc:spChg>
        <pc:spChg chg="add del mod">
          <ac:chgData name="丁野 光理" userId="53361c9a-10d0-4268-b39c-a1f4044b33f4" providerId="ADAL" clId="{5FE0A016-0A93-4063-8F08-CD48630E8DBB}" dt="2025-02-06T16:45:48.762" v="13906" actId="478"/>
          <ac:spMkLst>
            <pc:docMk/>
            <pc:sldMk cId="3772405785" sldId="2147378747"/>
            <ac:spMk id="21" creationId="{CBFE8499-E3A2-1348-4A64-2EB7A84F6311}"/>
          </ac:spMkLst>
        </pc:spChg>
        <pc:spChg chg="add del mod">
          <ac:chgData name="丁野 光理" userId="53361c9a-10d0-4268-b39c-a1f4044b33f4" providerId="ADAL" clId="{5FE0A016-0A93-4063-8F08-CD48630E8DBB}" dt="2025-02-06T16:45:46.188" v="13905" actId="478"/>
          <ac:spMkLst>
            <pc:docMk/>
            <pc:sldMk cId="3772405785" sldId="2147378747"/>
            <ac:spMk id="23" creationId="{3A646FB1-7C9E-ED39-A5AE-0F3DB415FFAA}"/>
          </ac:spMkLst>
        </pc:spChg>
        <pc:spChg chg="add mod">
          <ac:chgData name="丁野 光理" userId="53361c9a-10d0-4268-b39c-a1f4044b33f4" providerId="ADAL" clId="{5FE0A016-0A93-4063-8F08-CD48630E8DBB}" dt="2025-02-06T16:45:12.556" v="13896"/>
          <ac:spMkLst>
            <pc:docMk/>
            <pc:sldMk cId="3772405785" sldId="2147378747"/>
            <ac:spMk id="24" creationId="{101D7C9B-7F36-1B6B-80F6-0631B91F9CA2}"/>
          </ac:spMkLst>
        </pc:spChg>
        <pc:spChg chg="add mod">
          <ac:chgData name="丁野 光理" userId="53361c9a-10d0-4268-b39c-a1f4044b33f4" providerId="ADAL" clId="{5FE0A016-0A93-4063-8F08-CD48630E8DBB}" dt="2025-02-06T16:46:04.313" v="13908"/>
          <ac:spMkLst>
            <pc:docMk/>
            <pc:sldMk cId="3772405785" sldId="2147378747"/>
            <ac:spMk id="25" creationId="{068C9888-0E95-AAA4-69A4-84A9C781E59B}"/>
          </ac:spMkLst>
        </pc:spChg>
        <pc:spChg chg="mod">
          <ac:chgData name="丁野 光理" userId="53361c9a-10d0-4268-b39c-a1f4044b33f4" providerId="ADAL" clId="{5FE0A016-0A93-4063-8F08-CD48630E8DBB}" dt="2025-02-06T16:46:38.721" v="13963" actId="20577"/>
          <ac:spMkLst>
            <pc:docMk/>
            <pc:sldMk cId="3772405785" sldId="2147378747"/>
            <ac:spMk id="29" creationId="{BFE015E2-A234-3ED4-7E0B-636B515BBD87}"/>
          </ac:spMkLst>
        </pc:spChg>
        <pc:spChg chg="mod">
          <ac:chgData name="丁野 光理" userId="53361c9a-10d0-4268-b39c-a1f4044b33f4" providerId="ADAL" clId="{5FE0A016-0A93-4063-8F08-CD48630E8DBB}" dt="2025-02-06T16:46:39.221" v="13965" actId="20577"/>
          <ac:spMkLst>
            <pc:docMk/>
            <pc:sldMk cId="3772405785" sldId="2147378747"/>
            <ac:spMk id="31" creationId="{FD617E09-DA13-651B-5833-3CA7F28180A9}"/>
          </ac:spMkLst>
        </pc:spChg>
        <pc:spChg chg="mod">
          <ac:chgData name="丁野 光理" userId="53361c9a-10d0-4268-b39c-a1f4044b33f4" providerId="ADAL" clId="{5FE0A016-0A93-4063-8F08-CD48630E8DBB}" dt="2025-02-06T16:46:55.806" v="13967"/>
          <ac:spMkLst>
            <pc:docMk/>
            <pc:sldMk cId="3772405785" sldId="2147378747"/>
            <ac:spMk id="36" creationId="{99D7103E-992B-5250-B347-DAC5865B777B}"/>
          </ac:spMkLst>
        </pc:spChg>
        <pc:spChg chg="mod">
          <ac:chgData name="丁野 光理" userId="53361c9a-10d0-4268-b39c-a1f4044b33f4" providerId="ADAL" clId="{5FE0A016-0A93-4063-8F08-CD48630E8DBB}" dt="2025-02-06T16:46:59.316" v="13982"/>
          <ac:spMkLst>
            <pc:docMk/>
            <pc:sldMk cId="3772405785" sldId="2147378747"/>
            <ac:spMk id="38" creationId="{84738C85-2E4B-917A-4C4B-FE0EF43AE5B6}"/>
          </ac:spMkLst>
        </pc:spChg>
        <pc:spChg chg="add mod">
          <ac:chgData name="丁野 光理" userId="53361c9a-10d0-4268-b39c-a1f4044b33f4" providerId="ADAL" clId="{5FE0A016-0A93-4063-8F08-CD48630E8DBB}" dt="2025-02-06T16:49:31.005" v="14238"/>
          <ac:spMkLst>
            <pc:docMk/>
            <pc:sldMk cId="3772405785" sldId="2147378747"/>
            <ac:spMk id="40" creationId="{236E40F9-2DAA-3245-0865-4EE68915C6F1}"/>
          </ac:spMkLst>
        </pc:spChg>
        <pc:spChg chg="add mod">
          <ac:chgData name="丁野 光理" userId="53361c9a-10d0-4268-b39c-a1f4044b33f4" providerId="ADAL" clId="{5FE0A016-0A93-4063-8F08-CD48630E8DBB}" dt="2025-02-06T16:49:35.803" v="14240" actId="1076"/>
          <ac:spMkLst>
            <pc:docMk/>
            <pc:sldMk cId="3772405785" sldId="2147378747"/>
            <ac:spMk id="41" creationId="{B2FA0C27-AD91-26E0-AEDD-2BA9A0C5F7A2}"/>
          </ac:spMkLst>
        </pc:spChg>
        <pc:spChg chg="del">
          <ac:chgData name="丁野 光理" userId="53361c9a-10d0-4268-b39c-a1f4044b33f4" providerId="ADAL" clId="{5FE0A016-0A93-4063-8F08-CD48630E8DBB}" dt="2025-02-06T16:44:42.632" v="13892" actId="478"/>
          <ac:spMkLst>
            <pc:docMk/>
            <pc:sldMk cId="3772405785" sldId="2147378747"/>
            <ac:spMk id="50" creationId="{5B635FEA-2811-3A33-A6E6-95440B42D811}"/>
          </ac:spMkLst>
        </pc:spChg>
        <pc:spChg chg="del">
          <ac:chgData name="丁野 光理" userId="53361c9a-10d0-4268-b39c-a1f4044b33f4" providerId="ADAL" clId="{5FE0A016-0A93-4063-8F08-CD48630E8DBB}" dt="2025-02-06T16:44:43.691" v="13893" actId="478"/>
          <ac:spMkLst>
            <pc:docMk/>
            <pc:sldMk cId="3772405785" sldId="2147378747"/>
            <ac:spMk id="53" creationId="{600AE28E-2F7C-E1F6-5796-97DD1A8A0830}"/>
          </ac:spMkLst>
        </pc:spChg>
        <pc:grpChg chg="del">
          <ac:chgData name="丁野 光理" userId="53361c9a-10d0-4268-b39c-a1f4044b33f4" providerId="ADAL" clId="{5FE0A016-0A93-4063-8F08-CD48630E8DBB}" dt="2025-02-06T16:44:42.632" v="13892" actId="478"/>
          <ac:grpSpMkLst>
            <pc:docMk/>
            <pc:sldMk cId="3772405785" sldId="2147378747"/>
            <ac:grpSpMk id="3" creationId="{EBC23DA4-F36B-555D-CA5C-39F94E08823F}"/>
          </ac:grpSpMkLst>
        </pc:grpChg>
        <pc:grpChg chg="add del mod">
          <ac:chgData name="丁野 光理" userId="53361c9a-10d0-4268-b39c-a1f4044b33f4" providerId="ADAL" clId="{5FE0A016-0A93-4063-8F08-CD48630E8DBB}" dt="2025-02-06T16:46:40.706" v="13966" actId="478"/>
          <ac:grpSpMkLst>
            <pc:docMk/>
            <pc:sldMk cId="3772405785" sldId="2147378747"/>
            <ac:grpSpMk id="26" creationId="{1F39F4F4-FCE8-EF56-1B1E-A66C769F61C0}"/>
          </ac:grpSpMkLst>
        </pc:grpChg>
        <pc:grpChg chg="mod">
          <ac:chgData name="丁野 光理" userId="53361c9a-10d0-4268-b39c-a1f4044b33f4" providerId="ADAL" clId="{5FE0A016-0A93-4063-8F08-CD48630E8DBB}" dt="2025-02-06T16:46:22.438" v="13928" actId="1076"/>
          <ac:grpSpMkLst>
            <pc:docMk/>
            <pc:sldMk cId="3772405785" sldId="2147378747"/>
            <ac:grpSpMk id="27" creationId="{F4A68F2B-E4E9-07CF-1635-FC49C8B41475}"/>
          </ac:grpSpMkLst>
        </pc:grpChg>
        <pc:grpChg chg="mod">
          <ac:chgData name="丁野 光理" userId="53361c9a-10d0-4268-b39c-a1f4044b33f4" providerId="ADAL" clId="{5FE0A016-0A93-4063-8F08-CD48630E8DBB}" dt="2025-02-06T16:46:22.438" v="13928" actId="1076"/>
          <ac:grpSpMkLst>
            <pc:docMk/>
            <pc:sldMk cId="3772405785" sldId="2147378747"/>
            <ac:grpSpMk id="28" creationId="{7FBD28B9-CD06-F4C2-E65B-CECD920493A2}"/>
          </ac:grpSpMkLst>
        </pc:grpChg>
        <pc:grpChg chg="add mod">
          <ac:chgData name="丁野 光理" userId="53361c9a-10d0-4268-b39c-a1f4044b33f4" providerId="ADAL" clId="{5FE0A016-0A93-4063-8F08-CD48630E8DBB}" dt="2025-02-06T16:46:55.806" v="13967"/>
          <ac:grpSpMkLst>
            <pc:docMk/>
            <pc:sldMk cId="3772405785" sldId="2147378747"/>
            <ac:grpSpMk id="33" creationId="{47629CB3-B09F-D398-F612-07DF97174A01}"/>
          </ac:grpSpMkLst>
        </pc:grpChg>
        <pc:grpChg chg="mod">
          <ac:chgData name="丁野 光理" userId="53361c9a-10d0-4268-b39c-a1f4044b33f4" providerId="ADAL" clId="{5FE0A016-0A93-4063-8F08-CD48630E8DBB}" dt="2025-02-06T16:46:55.806" v="13967"/>
          <ac:grpSpMkLst>
            <pc:docMk/>
            <pc:sldMk cId="3772405785" sldId="2147378747"/>
            <ac:grpSpMk id="34" creationId="{D1F389CF-C470-6BC8-F1AA-01ED41186FE9}"/>
          </ac:grpSpMkLst>
        </pc:grpChg>
        <pc:grpChg chg="mod">
          <ac:chgData name="丁野 光理" userId="53361c9a-10d0-4268-b39c-a1f4044b33f4" providerId="ADAL" clId="{5FE0A016-0A93-4063-8F08-CD48630E8DBB}" dt="2025-02-06T16:46:55.806" v="13967"/>
          <ac:grpSpMkLst>
            <pc:docMk/>
            <pc:sldMk cId="3772405785" sldId="2147378747"/>
            <ac:grpSpMk id="35" creationId="{7E52A83E-3662-7757-45C6-D61980534820}"/>
          </ac:grpSpMkLst>
        </pc:grpChg>
        <pc:cxnChg chg="add del mod">
          <ac:chgData name="丁野 光理" userId="53361c9a-10d0-4268-b39c-a1f4044b33f4" providerId="ADAL" clId="{5FE0A016-0A93-4063-8F08-CD48630E8DBB}" dt="2025-02-06T16:45:48.762" v="13906" actId="478"/>
          <ac:cxnSpMkLst>
            <pc:docMk/>
            <pc:sldMk cId="3772405785" sldId="2147378747"/>
            <ac:cxnSpMk id="20" creationId="{BD41BBC5-DA3B-C500-407E-CA6F984DF787}"/>
          </ac:cxnSpMkLst>
        </pc:cxnChg>
        <pc:cxnChg chg="add del mod">
          <ac:chgData name="丁野 光理" userId="53361c9a-10d0-4268-b39c-a1f4044b33f4" providerId="ADAL" clId="{5FE0A016-0A93-4063-8F08-CD48630E8DBB}" dt="2025-02-06T16:45:48.762" v="13906" actId="478"/>
          <ac:cxnSpMkLst>
            <pc:docMk/>
            <pc:sldMk cId="3772405785" sldId="2147378747"/>
            <ac:cxnSpMk id="22" creationId="{22128DA8-11F8-E78A-C17D-923CB90BA4E5}"/>
          </ac:cxnSpMkLst>
        </pc:cxnChg>
        <pc:cxnChg chg="mod">
          <ac:chgData name="丁野 光理" userId="53361c9a-10d0-4268-b39c-a1f4044b33f4" providerId="ADAL" clId="{5FE0A016-0A93-4063-8F08-CD48630E8DBB}" dt="2025-02-06T16:46:22.438" v="13928" actId="1076"/>
          <ac:cxnSpMkLst>
            <pc:docMk/>
            <pc:sldMk cId="3772405785" sldId="2147378747"/>
            <ac:cxnSpMk id="30" creationId="{41B0F580-B261-1473-E1CA-FFCC437B00D0}"/>
          </ac:cxnSpMkLst>
        </pc:cxnChg>
        <pc:cxnChg chg="mod">
          <ac:chgData name="丁野 光理" userId="53361c9a-10d0-4268-b39c-a1f4044b33f4" providerId="ADAL" clId="{5FE0A016-0A93-4063-8F08-CD48630E8DBB}" dt="2025-02-06T16:46:22.438" v="13928" actId="1076"/>
          <ac:cxnSpMkLst>
            <pc:docMk/>
            <pc:sldMk cId="3772405785" sldId="2147378747"/>
            <ac:cxnSpMk id="32" creationId="{5DBF1AA5-9CAD-AF71-7843-BA314D48436D}"/>
          </ac:cxnSpMkLst>
        </pc:cxnChg>
        <pc:cxnChg chg="mod">
          <ac:chgData name="丁野 光理" userId="53361c9a-10d0-4268-b39c-a1f4044b33f4" providerId="ADAL" clId="{5FE0A016-0A93-4063-8F08-CD48630E8DBB}" dt="2025-02-06T16:46:55.806" v="13967"/>
          <ac:cxnSpMkLst>
            <pc:docMk/>
            <pc:sldMk cId="3772405785" sldId="2147378747"/>
            <ac:cxnSpMk id="37" creationId="{B3ACFFB4-6028-1816-9409-A5A10E8F1A67}"/>
          </ac:cxnSpMkLst>
        </pc:cxnChg>
        <pc:cxnChg chg="mod">
          <ac:chgData name="丁野 光理" userId="53361c9a-10d0-4268-b39c-a1f4044b33f4" providerId="ADAL" clId="{5FE0A016-0A93-4063-8F08-CD48630E8DBB}" dt="2025-02-06T16:46:55.806" v="13967"/>
          <ac:cxnSpMkLst>
            <pc:docMk/>
            <pc:sldMk cId="3772405785" sldId="2147378747"/>
            <ac:cxnSpMk id="39" creationId="{5B6203B4-15C4-4045-FF39-4F895CD46FD7}"/>
          </ac:cxnSpMkLst>
        </pc:cxn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4:26.243" v="22936"/>
              <pc2:cmMkLst xmlns:pc2="http://schemas.microsoft.com/office/powerpoint/2019/9/main/command">
                <pc:docMk/>
                <pc:sldMk cId="3772405785" sldId="2147378747"/>
                <pc2:cmMk id="{92472441-99FB-499C-A0DD-797D7D3F58C4}"/>
              </pc2:cmMkLst>
            </pc226:cmChg>
            <pc226:cmChg xmlns:pc226="http://schemas.microsoft.com/office/powerpoint/2022/06/main/command" chg="del">
              <pc226:chgData name="丁野 光理" userId="53361c9a-10d0-4268-b39c-a1f4044b33f4" providerId="ADAL" clId="{5FE0A016-0A93-4063-8F08-CD48630E8DBB}" dt="2025-02-07T10:24:25.084" v="22935"/>
              <pc2:cmMkLst xmlns:pc2="http://schemas.microsoft.com/office/powerpoint/2019/9/main/command">
                <pc:docMk/>
                <pc:sldMk cId="3772405785" sldId="2147378747"/>
                <pc2:cmMk id="{6CD630C0-F5F4-4C83-A53E-474A29FD2A36}"/>
              </pc2:cmMkLst>
            </pc226:cmChg>
          </p:ext>
        </pc:extLst>
      </pc:sldChg>
      <pc:sldChg chg="addSp delSp modSp add mod ord delCm">
        <pc:chgData name="丁野 光理" userId="53361c9a-10d0-4268-b39c-a1f4044b33f4" providerId="ADAL" clId="{5FE0A016-0A93-4063-8F08-CD48630E8DBB}" dt="2025-02-07T11:18:28.618" v="24471" actId="14100"/>
        <pc:sldMkLst>
          <pc:docMk/>
          <pc:sldMk cId="177420526" sldId="2147378748"/>
        </pc:sldMkLst>
        <pc:spChg chg="mod">
          <ac:chgData name="丁野 光理" userId="53361c9a-10d0-4268-b39c-a1f4044b33f4" providerId="ADAL" clId="{5FE0A016-0A93-4063-8F08-CD48630E8DBB}" dt="2025-02-07T11:10:57.802" v="23941"/>
          <ac:spMkLst>
            <pc:docMk/>
            <pc:sldMk cId="177420526" sldId="2147378748"/>
            <ac:spMk id="2" creationId="{A45FDDD5-9A42-423D-9ED3-F19DD3567786}"/>
          </ac:spMkLst>
        </pc:spChg>
        <pc:spChg chg="mod ord">
          <ac:chgData name="丁野 光理" userId="53361c9a-10d0-4268-b39c-a1f4044b33f4" providerId="ADAL" clId="{5FE0A016-0A93-4063-8F08-CD48630E8DBB}" dt="2025-02-07T11:18:28.618" v="24471" actId="14100"/>
          <ac:spMkLst>
            <pc:docMk/>
            <pc:sldMk cId="177420526" sldId="2147378748"/>
            <ac:spMk id="7" creationId="{CD57A09D-0FAB-DCC5-4D8A-39E21554BE47}"/>
          </ac:spMkLst>
        </pc:spChg>
        <pc:spChg chg="mod">
          <ac:chgData name="丁野 光理" userId="53361c9a-10d0-4268-b39c-a1f4044b33f4" providerId="ADAL" clId="{5FE0A016-0A93-4063-8F08-CD48630E8DBB}" dt="2025-02-07T11:11:25.329" v="24015" actId="6549"/>
          <ac:spMkLst>
            <pc:docMk/>
            <pc:sldMk cId="177420526" sldId="2147378748"/>
            <ac:spMk id="9" creationId="{D22A0A06-D5A8-4A1A-B66F-2A8EDBD644F1}"/>
          </ac:spMkLst>
        </pc:spChg>
        <pc:graphicFrameChg chg="add mod modGraphic">
          <ac:chgData name="丁野 光理" userId="53361c9a-10d0-4268-b39c-a1f4044b33f4" providerId="ADAL" clId="{5FE0A016-0A93-4063-8F08-CD48630E8DBB}" dt="2025-02-07T11:13:18.733" v="24035" actId="20577"/>
          <ac:graphicFrameMkLst>
            <pc:docMk/>
            <pc:sldMk cId="177420526" sldId="2147378748"/>
            <ac:graphicFrameMk id="3" creationId="{0139FA52-E814-0893-51E5-B6600FD310C4}"/>
          </ac:graphicFrameMkLst>
        </pc:graphicFrameChg>
        <pc:graphicFrameChg chg="del">
          <ac:chgData name="丁野 光理" userId="53361c9a-10d0-4268-b39c-a1f4044b33f4" providerId="ADAL" clId="{5FE0A016-0A93-4063-8F08-CD48630E8DBB}" dt="2025-02-06T16:21:33.887" v="11795" actId="478"/>
          <ac:graphicFrameMkLst>
            <pc:docMk/>
            <pc:sldMk cId="177420526" sldId="2147378748"/>
            <ac:graphicFrameMk id="3" creationId="{789DCD94-CACD-CC79-48EF-F13A5ACFBD8A}"/>
          </ac:graphicFrameMkLst>
        </pc:graphicFrameChg>
        <pc:graphicFrameChg chg="del">
          <ac:chgData name="丁野 光理" userId="53361c9a-10d0-4268-b39c-a1f4044b33f4" providerId="ADAL" clId="{5FE0A016-0A93-4063-8F08-CD48630E8DBB}" dt="2025-02-06T16:21:35.266" v="11796" actId="478"/>
          <ac:graphicFrameMkLst>
            <pc:docMk/>
            <pc:sldMk cId="177420526" sldId="2147378748"/>
            <ac:graphicFrameMk id="4" creationId="{0AC9AF1A-4093-8482-B4CC-792FFBA09FD4}"/>
          </ac:graphicFrameMkLst>
        </pc:graphicFrameChg>
        <pc:graphicFrameChg chg="add mod ord modGraphic">
          <ac:chgData name="丁野 光理" userId="53361c9a-10d0-4268-b39c-a1f4044b33f4" providerId="ADAL" clId="{5FE0A016-0A93-4063-8F08-CD48630E8DBB}" dt="2025-02-07T11:17:27.306" v="24214" actId="20577"/>
          <ac:graphicFrameMkLst>
            <pc:docMk/>
            <pc:sldMk cId="177420526" sldId="2147378748"/>
            <ac:graphicFrameMk id="4" creationId="{E4CC0A9E-C092-35B3-805A-BF072145F524}"/>
          </ac:graphicFrameMkLst>
        </pc:graphicFrameChg>
        <pc:graphicFrameChg chg="add del mod modGraphic">
          <ac:chgData name="丁野 光理" userId="53361c9a-10d0-4268-b39c-a1f4044b33f4" providerId="ADAL" clId="{5FE0A016-0A93-4063-8F08-CD48630E8DBB}" dt="2025-02-07T11:16:21.536" v="24193" actId="478"/>
          <ac:graphicFrameMkLst>
            <pc:docMk/>
            <pc:sldMk cId="177420526" sldId="2147378748"/>
            <ac:graphicFrameMk id="6" creationId="{229A7317-BD2F-21BE-EEFD-59FE6CD46E9E}"/>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4:35.728" v="22937"/>
              <pc2:cmMkLst xmlns:pc2="http://schemas.microsoft.com/office/powerpoint/2019/9/main/command">
                <pc:docMk/>
                <pc:sldMk cId="177420526" sldId="2147378748"/>
                <pc2:cmMk id="{AB1F0F51-11A3-4DB5-A727-67E669C4B72A}"/>
              </pc2:cmMkLst>
            </pc226:cmChg>
          </p:ext>
        </pc:extLst>
      </pc:sldChg>
      <pc:sldChg chg="delSp modSp add mod">
        <pc:chgData name="丁野 光理" userId="53361c9a-10d0-4268-b39c-a1f4044b33f4" providerId="ADAL" clId="{5FE0A016-0A93-4063-8F08-CD48630E8DBB}" dt="2025-02-07T11:26:08.201" v="24538" actId="20577"/>
        <pc:sldMkLst>
          <pc:docMk/>
          <pc:sldMk cId="2929259541" sldId="2147378749"/>
        </pc:sldMkLst>
        <pc:spChg chg="mod">
          <ac:chgData name="丁野 光理" userId="53361c9a-10d0-4268-b39c-a1f4044b33f4" providerId="ADAL" clId="{5FE0A016-0A93-4063-8F08-CD48630E8DBB}" dt="2025-02-06T16:02:25.897" v="10748"/>
          <ac:spMkLst>
            <pc:docMk/>
            <pc:sldMk cId="2929259541" sldId="2147378749"/>
            <ac:spMk id="2" creationId="{A45FDDD5-9A42-423D-9ED3-F19DD3567786}"/>
          </ac:spMkLst>
        </pc:spChg>
        <pc:spChg chg="del">
          <ac:chgData name="丁野 光理" userId="53361c9a-10d0-4268-b39c-a1f4044b33f4" providerId="ADAL" clId="{5FE0A016-0A93-4063-8F08-CD48630E8DBB}" dt="2025-02-07T11:03:11.733" v="23738" actId="478"/>
          <ac:spMkLst>
            <pc:docMk/>
            <pc:sldMk cId="2929259541" sldId="2147378749"/>
            <ac:spMk id="8" creationId="{1E2378D2-462D-DC21-377B-1F2BE4C99A33}"/>
          </ac:spMkLst>
        </pc:spChg>
        <pc:spChg chg="mod">
          <ac:chgData name="丁野 光理" userId="53361c9a-10d0-4268-b39c-a1f4044b33f4" providerId="ADAL" clId="{5FE0A016-0A93-4063-8F08-CD48630E8DBB}" dt="2025-02-07T11:26:08.201" v="24538" actId="20577"/>
          <ac:spMkLst>
            <pc:docMk/>
            <pc:sldMk cId="2929259541" sldId="2147378749"/>
            <ac:spMk id="9" creationId="{D22A0A06-D5A8-4A1A-B66F-2A8EDBD644F1}"/>
          </ac:spMkLst>
        </pc:spChg>
        <pc:spChg chg="del">
          <ac:chgData name="丁野 光理" userId="53361c9a-10d0-4268-b39c-a1f4044b33f4" providerId="ADAL" clId="{5FE0A016-0A93-4063-8F08-CD48630E8DBB}" dt="2025-02-07T11:03:12.506" v="23739" actId="478"/>
          <ac:spMkLst>
            <pc:docMk/>
            <pc:sldMk cId="2929259541" sldId="2147378749"/>
            <ac:spMk id="11" creationId="{D9546854-B4CE-1F65-2F6D-8A404DD40BB1}"/>
          </ac:spMkLst>
        </pc:spChg>
        <pc:spChg chg="mod">
          <ac:chgData name="丁野 光理" userId="53361c9a-10d0-4268-b39c-a1f4044b33f4" providerId="ADAL" clId="{5FE0A016-0A93-4063-8F08-CD48630E8DBB}" dt="2025-02-07T11:04:12.064" v="23915" actId="20577"/>
          <ac:spMkLst>
            <pc:docMk/>
            <pc:sldMk cId="2929259541" sldId="2147378749"/>
            <ac:spMk id="17" creationId="{159BE264-9942-E766-987F-6CA378A61798}"/>
          </ac:spMkLst>
        </pc:spChg>
        <pc:spChg chg="mod">
          <ac:chgData name="丁野 光理" userId="53361c9a-10d0-4268-b39c-a1f4044b33f4" providerId="ADAL" clId="{5FE0A016-0A93-4063-8F08-CD48630E8DBB}" dt="2025-02-06T16:27:18.942" v="12605"/>
          <ac:spMkLst>
            <pc:docMk/>
            <pc:sldMk cId="2929259541" sldId="2147378749"/>
            <ac:spMk id="19" creationId="{F4F6AADC-220D-BFC7-4F32-89892ED6B785}"/>
          </ac:spMkLst>
        </pc:spChg>
        <pc:graphicFrameChg chg="mod modGraphic">
          <ac:chgData name="丁野 光理" userId="53361c9a-10d0-4268-b39c-a1f4044b33f4" providerId="ADAL" clId="{5FE0A016-0A93-4063-8F08-CD48630E8DBB}" dt="2025-02-07T11:02:55.090" v="23737" actId="207"/>
          <ac:graphicFrameMkLst>
            <pc:docMk/>
            <pc:sldMk cId="2929259541" sldId="2147378749"/>
            <ac:graphicFrameMk id="15" creationId="{6BA7322B-8E83-4959-AED5-CDCB2DC09E66}"/>
          </ac:graphicFrameMkLst>
        </pc:graphicFrameChg>
        <pc:cxnChg chg="mod">
          <ac:chgData name="丁野 光理" userId="53361c9a-10d0-4268-b39c-a1f4044b33f4" providerId="ADAL" clId="{5FE0A016-0A93-4063-8F08-CD48630E8DBB}" dt="2025-02-07T11:03:12.506" v="23739" actId="478"/>
          <ac:cxnSpMkLst>
            <pc:docMk/>
            <pc:sldMk cId="2929259541" sldId="2147378749"/>
            <ac:cxnSpMk id="12" creationId="{36894EAB-405F-0998-1890-37C962DD7CF6}"/>
          </ac:cxnSpMkLst>
        </pc:cxnChg>
      </pc:sldChg>
      <pc:sldChg chg="addSp delSp modSp add mod ord delCm">
        <pc:chgData name="丁野 光理" userId="53361c9a-10d0-4268-b39c-a1f4044b33f4" providerId="ADAL" clId="{5FE0A016-0A93-4063-8F08-CD48630E8DBB}" dt="2025-02-07T11:27:26.253" v="24599" actId="20577"/>
        <pc:sldMkLst>
          <pc:docMk/>
          <pc:sldMk cId="4044403005" sldId="2147378750"/>
        </pc:sldMkLst>
        <pc:spChg chg="mod">
          <ac:chgData name="丁野 光理" userId="53361c9a-10d0-4268-b39c-a1f4044b33f4" providerId="ADAL" clId="{5FE0A016-0A93-4063-8F08-CD48630E8DBB}" dt="2025-02-06T16:02:33.520" v="10749"/>
          <ac:spMkLst>
            <pc:docMk/>
            <pc:sldMk cId="4044403005" sldId="2147378750"/>
            <ac:spMk id="3" creationId="{6247E137-868B-539C-2D6E-DC37708CAC30}"/>
          </ac:spMkLst>
        </pc:spChg>
        <pc:spChg chg="mod">
          <ac:chgData name="丁野 光理" userId="53361c9a-10d0-4268-b39c-a1f4044b33f4" providerId="ADAL" clId="{5FE0A016-0A93-4063-8F08-CD48630E8DBB}" dt="2025-02-07T11:27:26.253" v="24599" actId="20577"/>
          <ac:spMkLst>
            <pc:docMk/>
            <pc:sldMk cId="4044403005" sldId="2147378750"/>
            <ac:spMk id="4" creationId="{2C3BBDD6-C18E-A8D5-D35C-ABB97297C5DD}"/>
          </ac:spMkLst>
        </pc:spChg>
        <pc:spChg chg="mod">
          <ac:chgData name="丁野 光理" userId="53361c9a-10d0-4268-b39c-a1f4044b33f4" providerId="ADAL" clId="{5FE0A016-0A93-4063-8F08-CD48630E8DBB}" dt="2025-02-07T11:01:17.784" v="23637" actId="1076"/>
          <ac:spMkLst>
            <pc:docMk/>
            <pc:sldMk cId="4044403005" sldId="2147378750"/>
            <ac:spMk id="7" creationId="{79070467-F16A-2561-6732-C9883A64F9FC}"/>
          </ac:spMkLst>
        </pc:spChg>
        <pc:graphicFrameChg chg="del">
          <ac:chgData name="丁野 光理" userId="53361c9a-10d0-4268-b39c-a1f4044b33f4" providerId="ADAL" clId="{5FE0A016-0A93-4063-8F08-CD48630E8DBB}" dt="2025-02-06T16:13:11.162" v="11027" actId="478"/>
          <ac:graphicFrameMkLst>
            <pc:docMk/>
            <pc:sldMk cId="4044403005" sldId="2147378750"/>
            <ac:graphicFrameMk id="2" creationId="{12ACD507-CDCD-7967-B093-33A8EA8B50AD}"/>
          </ac:graphicFrameMkLst>
        </pc:graphicFrameChg>
        <pc:graphicFrameChg chg="add mod modGraphic">
          <ac:chgData name="丁野 光理" userId="53361c9a-10d0-4268-b39c-a1f4044b33f4" providerId="ADAL" clId="{5FE0A016-0A93-4063-8F08-CD48630E8DBB}" dt="2025-02-07T11:01:14.148" v="23636" actId="20577"/>
          <ac:graphicFrameMkLst>
            <pc:docMk/>
            <pc:sldMk cId="4044403005" sldId="2147378750"/>
            <ac:graphicFrameMk id="6" creationId="{310C28F0-2996-A4FE-AD73-2193C8A58EAD}"/>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57:58.230" v="23084"/>
              <pc2:cmMkLst xmlns:pc2="http://schemas.microsoft.com/office/powerpoint/2019/9/main/command">
                <pc:docMk/>
                <pc:sldMk cId="4044403005" sldId="2147378750"/>
                <pc2:cmMk id="{F32683F8-48FE-4672-995E-DAFBDA98DFF5}"/>
              </pc2:cmMkLst>
            </pc226:cmChg>
          </p:ext>
        </pc:extLst>
      </pc:sldChg>
      <pc:sldChg chg="modSp add mod">
        <pc:chgData name="丁野 光理" userId="53361c9a-10d0-4268-b39c-a1f4044b33f4" providerId="ADAL" clId="{5FE0A016-0A93-4063-8F08-CD48630E8DBB}" dt="2025-02-07T11:26:11.381" v="24541" actId="20577"/>
        <pc:sldMkLst>
          <pc:docMk/>
          <pc:sldMk cId="1641424686" sldId="2147378751"/>
        </pc:sldMkLst>
        <pc:spChg chg="mod">
          <ac:chgData name="丁野 光理" userId="53361c9a-10d0-4268-b39c-a1f4044b33f4" providerId="ADAL" clId="{5FE0A016-0A93-4063-8F08-CD48630E8DBB}" dt="2025-02-06T16:02:36.925" v="10750"/>
          <ac:spMkLst>
            <pc:docMk/>
            <pc:sldMk cId="1641424686" sldId="2147378751"/>
            <ac:spMk id="2" creationId="{CBF10691-58CC-75D5-EA23-B36D933D90D3}"/>
          </ac:spMkLst>
        </pc:spChg>
        <pc:spChg chg="mod">
          <ac:chgData name="丁野 光理" userId="53361c9a-10d0-4268-b39c-a1f4044b33f4" providerId="ADAL" clId="{5FE0A016-0A93-4063-8F08-CD48630E8DBB}" dt="2025-02-07T11:26:11.381" v="24541" actId="20577"/>
          <ac:spMkLst>
            <pc:docMk/>
            <pc:sldMk cId="1641424686" sldId="2147378751"/>
            <ac:spMk id="9" creationId="{F7DA7227-3724-60C8-1F06-5A8A2F4AF1F8}"/>
          </ac:spMkLst>
        </pc:spChg>
      </pc:sldChg>
      <pc:sldChg chg="addSp delSp modSp add mod">
        <pc:chgData name="丁野 光理" userId="53361c9a-10d0-4268-b39c-a1f4044b33f4" providerId="ADAL" clId="{5FE0A016-0A93-4063-8F08-CD48630E8DBB}" dt="2025-02-07T12:33:27.034" v="26230"/>
        <pc:sldMkLst>
          <pc:docMk/>
          <pc:sldMk cId="7942078" sldId="2147378752"/>
        </pc:sldMkLst>
        <pc:spChg chg="del">
          <ac:chgData name="丁野 光理" userId="53361c9a-10d0-4268-b39c-a1f4044b33f4" providerId="ADAL" clId="{5FE0A016-0A93-4063-8F08-CD48630E8DBB}" dt="2025-02-07T12:33:26.837" v="26229" actId="478"/>
          <ac:spMkLst>
            <pc:docMk/>
            <pc:sldMk cId="7942078" sldId="2147378752"/>
            <ac:spMk id="3" creationId="{D69F45AB-97DA-86D6-7B3F-F21CC23CCBBD}"/>
          </ac:spMkLst>
        </pc:spChg>
        <pc:spChg chg="add mod">
          <ac:chgData name="丁野 光理" userId="53361c9a-10d0-4268-b39c-a1f4044b33f4" providerId="ADAL" clId="{5FE0A016-0A93-4063-8F08-CD48630E8DBB}" dt="2025-02-07T12:33:27.034" v="26230"/>
          <ac:spMkLst>
            <pc:docMk/>
            <pc:sldMk cId="7942078" sldId="2147378752"/>
            <ac:spMk id="4" creationId="{1731D214-AE99-9ED7-68E6-FB088A3E86CA}"/>
          </ac:spMkLst>
        </pc:spChg>
        <pc:spChg chg="mod">
          <ac:chgData name="丁野 光理" userId="53361c9a-10d0-4268-b39c-a1f4044b33f4" providerId="ADAL" clId="{5FE0A016-0A93-4063-8F08-CD48630E8DBB}" dt="2025-02-07T11:27:04.041" v="24579" actId="20577"/>
          <ac:spMkLst>
            <pc:docMk/>
            <pc:sldMk cId="7942078" sldId="2147378752"/>
            <ac:spMk id="9" creationId="{D22A0A06-D5A8-4A1A-B66F-2A8EDBD644F1}"/>
          </ac:spMkLst>
        </pc:spChg>
        <pc:spChg chg="mod">
          <ac:chgData name="丁野 光理" userId="53361c9a-10d0-4268-b39c-a1f4044b33f4" providerId="ADAL" clId="{5FE0A016-0A93-4063-8F08-CD48630E8DBB}" dt="2025-02-06T16:02:39.743" v="10751"/>
          <ac:spMkLst>
            <pc:docMk/>
            <pc:sldMk cId="7942078" sldId="2147378752"/>
            <ac:spMk id="14" creationId="{B82535D0-8503-64C9-D7C5-6527643FF688}"/>
          </ac:spMkLst>
        </pc:spChg>
      </pc:sldChg>
      <pc:sldChg chg="add del">
        <pc:chgData name="丁野 光理" userId="53361c9a-10d0-4268-b39c-a1f4044b33f4" providerId="ADAL" clId="{5FE0A016-0A93-4063-8F08-CD48630E8DBB}" dt="2025-02-06T15:25:11.540" v="8072" actId="47"/>
        <pc:sldMkLst>
          <pc:docMk/>
          <pc:sldMk cId="2420566039" sldId="2147378753"/>
        </pc:sldMkLst>
      </pc:sldChg>
      <pc:sldChg chg="addSp delSp modSp add mod">
        <pc:chgData name="丁野 光理" userId="53361c9a-10d0-4268-b39c-a1f4044b33f4" providerId="ADAL" clId="{5FE0A016-0A93-4063-8F08-CD48630E8DBB}" dt="2025-02-07T12:34:02.768" v="26233" actId="170"/>
        <pc:sldMkLst>
          <pc:docMk/>
          <pc:sldMk cId="3142788195" sldId="2147378754"/>
        </pc:sldMkLst>
        <pc:spChg chg="mod">
          <ac:chgData name="丁野 光理" userId="53361c9a-10d0-4268-b39c-a1f4044b33f4" providerId="ADAL" clId="{5FE0A016-0A93-4063-8F08-CD48630E8DBB}" dt="2025-02-06T16:02:45.786" v="10752"/>
          <ac:spMkLst>
            <pc:docMk/>
            <pc:sldMk cId="3142788195" sldId="2147378754"/>
            <ac:spMk id="2" creationId="{A45FDDD5-9A42-423D-9ED3-F19DD3567786}"/>
          </ac:spMkLst>
        </pc:spChg>
        <pc:spChg chg="add mod ord">
          <ac:chgData name="丁野 光理" userId="53361c9a-10d0-4268-b39c-a1f4044b33f4" providerId="ADAL" clId="{5FE0A016-0A93-4063-8F08-CD48630E8DBB}" dt="2025-02-07T12:34:02.768" v="26233" actId="170"/>
          <ac:spMkLst>
            <pc:docMk/>
            <pc:sldMk cId="3142788195" sldId="2147378754"/>
            <ac:spMk id="4" creationId="{137E167F-967C-A788-F2FB-6E0ACA20040F}"/>
          </ac:spMkLst>
        </pc:spChg>
        <pc:spChg chg="mod">
          <ac:chgData name="丁野 光理" userId="53361c9a-10d0-4268-b39c-a1f4044b33f4" providerId="ADAL" clId="{5FE0A016-0A93-4063-8F08-CD48630E8DBB}" dt="2025-02-07T11:27:06.917" v="24582" actId="20577"/>
          <ac:spMkLst>
            <pc:docMk/>
            <pc:sldMk cId="3142788195" sldId="2147378754"/>
            <ac:spMk id="9" creationId="{D22A0A06-D5A8-4A1A-B66F-2A8EDBD644F1}"/>
          </ac:spMkLst>
        </pc:spChg>
        <pc:graphicFrameChg chg="del">
          <ac:chgData name="丁野 光理" userId="53361c9a-10d0-4268-b39c-a1f4044b33f4" providerId="ADAL" clId="{5FE0A016-0A93-4063-8F08-CD48630E8DBB}" dt="2025-02-07T12:33:58.042" v="26231" actId="478"/>
          <ac:graphicFrameMkLst>
            <pc:docMk/>
            <pc:sldMk cId="3142788195" sldId="2147378754"/>
            <ac:graphicFrameMk id="3" creationId="{1E352AD7-4D05-33EE-61E0-3F07FA0F915F}"/>
          </ac:graphicFrameMkLst>
        </pc:graphicFrameChg>
        <pc:graphicFrameChg chg="add mod">
          <ac:chgData name="丁野 光理" userId="53361c9a-10d0-4268-b39c-a1f4044b33f4" providerId="ADAL" clId="{5FE0A016-0A93-4063-8F08-CD48630E8DBB}" dt="2025-02-07T12:33:58.277" v="26232"/>
          <ac:graphicFrameMkLst>
            <pc:docMk/>
            <pc:sldMk cId="3142788195" sldId="2147378754"/>
            <ac:graphicFrameMk id="7" creationId="{DF489A6D-BF99-D7E8-91F8-DEC0AF51B58C}"/>
          </ac:graphicFrameMkLst>
        </pc:graphicFrameChg>
      </pc:sldChg>
      <pc:sldChg chg="addSp delSp modSp add mod delCm">
        <pc:chgData name="丁野 光理" userId="53361c9a-10d0-4268-b39c-a1f4044b33f4" providerId="ADAL" clId="{5FE0A016-0A93-4063-8F08-CD48630E8DBB}" dt="2025-02-07T11:27:11.480" v="24585" actId="20577"/>
        <pc:sldMkLst>
          <pc:docMk/>
          <pc:sldMk cId="3278106509" sldId="2147378755"/>
        </pc:sldMkLst>
        <pc:spChg chg="mod">
          <ac:chgData name="丁野 光理" userId="53361c9a-10d0-4268-b39c-a1f4044b33f4" providerId="ADAL" clId="{5FE0A016-0A93-4063-8F08-CD48630E8DBB}" dt="2025-02-06T16:02:49.033" v="10753"/>
          <ac:spMkLst>
            <pc:docMk/>
            <pc:sldMk cId="3278106509" sldId="2147378755"/>
            <ac:spMk id="2" creationId="{A45FDDD5-9A42-423D-9ED3-F19DD3567786}"/>
          </ac:spMkLst>
        </pc:spChg>
        <pc:spChg chg="mod">
          <ac:chgData name="丁野 光理" userId="53361c9a-10d0-4268-b39c-a1f4044b33f4" providerId="ADAL" clId="{5FE0A016-0A93-4063-8F08-CD48630E8DBB}" dt="2025-02-07T11:27:11.480" v="24585" actId="20577"/>
          <ac:spMkLst>
            <pc:docMk/>
            <pc:sldMk cId="3278106509" sldId="2147378755"/>
            <ac:spMk id="9" creationId="{D22A0A06-D5A8-4A1A-B66F-2A8EDBD644F1}"/>
          </ac:spMkLst>
        </pc:spChg>
        <pc:graphicFrameChg chg="add mod modGraphic">
          <ac:chgData name="丁野 光理" userId="53361c9a-10d0-4268-b39c-a1f4044b33f4" providerId="ADAL" clId="{5FE0A016-0A93-4063-8F08-CD48630E8DBB}" dt="2025-02-06T16:04:39.455" v="10772"/>
          <ac:graphicFrameMkLst>
            <pc:docMk/>
            <pc:sldMk cId="3278106509" sldId="2147378755"/>
            <ac:graphicFrameMk id="3" creationId="{B77AD93B-2184-6E7E-991B-6FFF513314DB}"/>
          </ac:graphicFrameMkLst>
        </pc:graphicFrameChg>
        <pc:graphicFrameChg chg="del mod modGraphic">
          <ac:chgData name="丁野 光理" userId="53361c9a-10d0-4268-b39c-a1f4044b33f4" providerId="ADAL" clId="{5FE0A016-0A93-4063-8F08-CD48630E8DBB}" dt="2025-02-06T16:04:21.852" v="10760" actId="478"/>
          <ac:graphicFrameMkLst>
            <pc:docMk/>
            <pc:sldMk cId="3278106509" sldId="2147378755"/>
            <ac:graphicFrameMk id="4" creationId="{07092873-AD2F-3B69-2A42-020154D983DE}"/>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6T16:04:54.105" v="10773"/>
              <pc2:cmMkLst xmlns:pc2="http://schemas.microsoft.com/office/powerpoint/2019/9/main/command">
                <pc:docMk/>
                <pc:sldMk cId="3278106509" sldId="2147378755"/>
                <pc2:cmMk id="{A6DFD9F8-2D62-408F-89AB-1113F685F774}"/>
              </pc2:cmMkLst>
            </pc226:cmChg>
          </p:ext>
        </pc:extLst>
      </pc:sldChg>
      <pc:sldChg chg="modSp add mod">
        <pc:chgData name="丁野 光理" userId="53361c9a-10d0-4268-b39c-a1f4044b33f4" providerId="ADAL" clId="{5FE0A016-0A93-4063-8F08-CD48630E8DBB}" dt="2025-02-07T11:24:57.132" v="24516" actId="20577"/>
        <pc:sldMkLst>
          <pc:docMk/>
          <pc:sldMk cId="1359778448" sldId="2147378756"/>
        </pc:sldMkLst>
        <pc:spChg chg="mod">
          <ac:chgData name="丁野 光理" userId="53361c9a-10d0-4268-b39c-a1f4044b33f4" providerId="ADAL" clId="{5FE0A016-0A93-4063-8F08-CD48630E8DBB}" dt="2025-02-07T01:18:02.568" v="18109"/>
          <ac:spMkLst>
            <pc:docMk/>
            <pc:sldMk cId="1359778448" sldId="2147378756"/>
            <ac:spMk id="3" creationId="{417A18CA-0059-03EF-FE57-D2DBA870D210}"/>
          </ac:spMkLst>
        </pc:spChg>
        <pc:spChg chg="mod">
          <ac:chgData name="丁野 光理" userId="53361c9a-10d0-4268-b39c-a1f4044b33f4" providerId="ADAL" clId="{5FE0A016-0A93-4063-8F08-CD48630E8DBB}" dt="2025-02-07T11:24:57.132" v="24516" actId="20577"/>
          <ac:spMkLst>
            <pc:docMk/>
            <pc:sldMk cId="1359778448" sldId="2147378756"/>
            <ac:spMk id="4" creationId="{4F1B8C31-A2AA-E8B5-6842-B8CA68666E37}"/>
          </ac:spMkLst>
        </pc:spChg>
      </pc:sldChg>
      <pc:sldChg chg="addSp delSp modSp add mod">
        <pc:chgData name="丁野 光理" userId="53361c9a-10d0-4268-b39c-a1f4044b33f4" providerId="ADAL" clId="{5FE0A016-0A93-4063-8F08-CD48630E8DBB}" dt="2025-02-07T11:25:09.448" v="24519" actId="20577"/>
        <pc:sldMkLst>
          <pc:docMk/>
          <pc:sldMk cId="1460307593" sldId="2147378757"/>
        </pc:sldMkLst>
        <pc:spChg chg="mod">
          <ac:chgData name="丁野 光理" userId="53361c9a-10d0-4268-b39c-a1f4044b33f4" providerId="ADAL" clId="{5FE0A016-0A93-4063-8F08-CD48630E8DBB}" dt="2025-02-07T01:18:05.208" v="18110"/>
          <ac:spMkLst>
            <pc:docMk/>
            <pc:sldMk cId="1460307593" sldId="2147378757"/>
            <ac:spMk id="3" creationId="{417A18CA-0059-03EF-FE57-D2DBA870D210}"/>
          </ac:spMkLst>
        </pc:spChg>
        <pc:spChg chg="mod">
          <ac:chgData name="丁野 光理" userId="53361c9a-10d0-4268-b39c-a1f4044b33f4" providerId="ADAL" clId="{5FE0A016-0A93-4063-8F08-CD48630E8DBB}" dt="2025-02-07T11:25:09.448" v="24519" actId="20577"/>
          <ac:spMkLst>
            <pc:docMk/>
            <pc:sldMk cId="1460307593" sldId="2147378757"/>
            <ac:spMk id="4" creationId="{4F1B8C31-A2AA-E8B5-6842-B8CA68666E37}"/>
          </ac:spMkLst>
        </pc:spChg>
        <pc:spChg chg="add mod">
          <ac:chgData name="丁野 光理" userId="53361c9a-10d0-4268-b39c-a1f4044b33f4" providerId="ADAL" clId="{5FE0A016-0A93-4063-8F08-CD48630E8DBB}" dt="2025-02-07T01:14:32.174" v="18081"/>
          <ac:spMkLst>
            <pc:docMk/>
            <pc:sldMk cId="1460307593" sldId="2147378757"/>
            <ac:spMk id="7" creationId="{8ACCDA4C-8810-C7E1-7188-E18006A44257}"/>
          </ac:spMkLst>
        </pc:spChg>
        <pc:graphicFrameChg chg="add mod">
          <ac:chgData name="丁野 光理" userId="53361c9a-10d0-4268-b39c-a1f4044b33f4" providerId="ADAL" clId="{5FE0A016-0A93-4063-8F08-CD48630E8DBB}" dt="2025-02-07T01:14:32.174" v="18081"/>
          <ac:graphicFrameMkLst>
            <pc:docMk/>
            <pc:sldMk cId="1460307593" sldId="2147378757"/>
            <ac:graphicFrameMk id="5" creationId="{61B29258-DA16-BE71-3B81-5C7F078688CC}"/>
          </ac:graphicFrameMkLst>
        </pc:graphicFrameChg>
        <pc:graphicFrameChg chg="del">
          <ac:chgData name="丁野 光理" userId="53361c9a-10d0-4268-b39c-a1f4044b33f4" providerId="ADAL" clId="{5FE0A016-0A93-4063-8F08-CD48630E8DBB}" dt="2025-02-07T01:14:31.973" v="18080" actId="478"/>
          <ac:graphicFrameMkLst>
            <pc:docMk/>
            <pc:sldMk cId="1460307593" sldId="2147378757"/>
            <ac:graphicFrameMk id="8" creationId="{1E5897B3-2F6F-760C-55F3-ADE995C99D64}"/>
          </ac:graphicFrameMkLst>
        </pc:graphicFrameChg>
      </pc:sldChg>
      <pc:sldChg chg="add del">
        <pc:chgData name="丁野 光理" userId="53361c9a-10d0-4268-b39c-a1f4044b33f4" providerId="ADAL" clId="{5FE0A016-0A93-4063-8F08-CD48630E8DBB}" dt="2025-02-06T15:26:58.188" v="8090" actId="47"/>
        <pc:sldMkLst>
          <pc:docMk/>
          <pc:sldMk cId="1928166185" sldId="2147378758"/>
        </pc:sldMkLst>
      </pc:sldChg>
      <pc:sldChg chg="modSp add del mod">
        <pc:chgData name="丁野 光理" userId="53361c9a-10d0-4268-b39c-a1f4044b33f4" providerId="ADAL" clId="{5FE0A016-0A93-4063-8F08-CD48630E8DBB}" dt="2025-02-06T15:26:54.725" v="8088" actId="47"/>
        <pc:sldMkLst>
          <pc:docMk/>
          <pc:sldMk cId="2710205757" sldId="2147378758"/>
        </pc:sldMkLst>
        <pc:spChg chg="mod">
          <ac:chgData name="丁野 光理" userId="53361c9a-10d0-4268-b39c-a1f4044b33f4" providerId="ADAL" clId="{5FE0A016-0A93-4063-8F08-CD48630E8DBB}" dt="2025-02-06T15:25:48.254" v="8087" actId="20577"/>
          <ac:spMkLst>
            <pc:docMk/>
            <pc:sldMk cId="2710205757" sldId="2147378758"/>
            <ac:spMk id="9" creationId="{D22A0A06-D5A8-4A1A-B66F-2A8EDBD644F1}"/>
          </ac:spMkLst>
        </pc:spChg>
      </pc:sldChg>
      <pc:sldChg chg="add del">
        <pc:chgData name="丁野 光理" userId="53361c9a-10d0-4268-b39c-a1f4044b33f4" providerId="ADAL" clId="{5FE0A016-0A93-4063-8F08-CD48630E8DBB}" dt="2025-02-07T01:21:55.283" v="18381" actId="47"/>
        <pc:sldMkLst>
          <pc:docMk/>
          <pc:sldMk cId="3371037928" sldId="2147378758"/>
        </pc:sldMkLst>
      </pc:sldChg>
      <pc:sldChg chg="addSp delSp modSp add mod delCm">
        <pc:chgData name="丁野 光理" userId="53361c9a-10d0-4268-b39c-a1f4044b33f4" providerId="ADAL" clId="{5FE0A016-0A93-4063-8F08-CD48630E8DBB}" dt="2025-02-07T10:25:17.511" v="22939"/>
        <pc:sldMkLst>
          <pc:docMk/>
          <pc:sldMk cId="2766661592" sldId="2147378759"/>
        </pc:sldMkLst>
        <pc:spChg chg="mod">
          <ac:chgData name="丁野 光理" userId="53361c9a-10d0-4268-b39c-a1f4044b33f4" providerId="ADAL" clId="{5FE0A016-0A93-4063-8F08-CD48630E8DBB}" dt="2025-02-06T15:46:47.455" v="9511"/>
          <ac:spMkLst>
            <pc:docMk/>
            <pc:sldMk cId="2766661592" sldId="2147378759"/>
            <ac:spMk id="2" creationId="{BDE63369-EA7E-4802-A4A3-D4010A333C66}"/>
          </ac:spMkLst>
        </pc:spChg>
        <pc:spChg chg="del">
          <ac:chgData name="丁野 光理" userId="53361c9a-10d0-4268-b39c-a1f4044b33f4" providerId="ADAL" clId="{5FE0A016-0A93-4063-8F08-CD48630E8DBB}" dt="2025-02-06T15:51:25.201" v="9804" actId="478"/>
          <ac:spMkLst>
            <pc:docMk/>
            <pc:sldMk cId="2766661592" sldId="2147378759"/>
            <ac:spMk id="6" creationId="{95B7D5A6-3733-419F-5F47-1323A3D8D852}"/>
          </ac:spMkLst>
        </pc:spChg>
        <pc:spChg chg="mod">
          <ac:chgData name="丁野 光理" userId="53361c9a-10d0-4268-b39c-a1f4044b33f4" providerId="ADAL" clId="{5FE0A016-0A93-4063-8F08-CD48630E8DBB}" dt="2025-02-06T15:50:26.584" v="9722"/>
          <ac:spMkLst>
            <pc:docMk/>
            <pc:sldMk cId="2766661592" sldId="2147378759"/>
            <ac:spMk id="9" creationId="{D22A0A06-D5A8-4A1A-B66F-2A8EDBD644F1}"/>
          </ac:spMkLst>
        </pc:spChg>
        <pc:spChg chg="del">
          <ac:chgData name="丁野 光理" userId="53361c9a-10d0-4268-b39c-a1f4044b33f4" providerId="ADAL" clId="{5FE0A016-0A93-4063-8F08-CD48630E8DBB}" dt="2025-02-06T15:51:20.150" v="9803" actId="478"/>
          <ac:spMkLst>
            <pc:docMk/>
            <pc:sldMk cId="2766661592" sldId="2147378759"/>
            <ac:spMk id="50" creationId="{5B635FEA-2811-3A33-A6E6-95440B42D811}"/>
          </ac:spMkLst>
        </pc:spChg>
        <pc:spChg chg="del">
          <ac:chgData name="丁野 光理" userId="53361c9a-10d0-4268-b39c-a1f4044b33f4" providerId="ADAL" clId="{5FE0A016-0A93-4063-8F08-CD48630E8DBB}" dt="2025-02-06T15:51:20.150" v="9803" actId="478"/>
          <ac:spMkLst>
            <pc:docMk/>
            <pc:sldMk cId="2766661592" sldId="2147378759"/>
            <ac:spMk id="53" creationId="{600AE28E-2F7C-E1F6-5796-97DD1A8A0830}"/>
          </ac:spMkLst>
        </pc:spChg>
        <pc:grpChg chg="del">
          <ac:chgData name="丁野 光理" userId="53361c9a-10d0-4268-b39c-a1f4044b33f4" providerId="ADAL" clId="{5FE0A016-0A93-4063-8F08-CD48630E8DBB}" dt="2025-02-06T15:51:20.150" v="9803" actId="478"/>
          <ac:grpSpMkLst>
            <pc:docMk/>
            <pc:sldMk cId="2766661592" sldId="2147378759"/>
            <ac:grpSpMk id="3" creationId="{EBC23DA4-F36B-555D-CA5C-39F94E08823F}"/>
          </ac:grpSpMkLst>
        </pc:grpChg>
        <pc:graphicFrameChg chg="add mod modGraphic">
          <ac:chgData name="丁野 光理" userId="53361c9a-10d0-4268-b39c-a1f4044b33f4" providerId="ADAL" clId="{5FE0A016-0A93-4063-8F08-CD48630E8DBB}" dt="2025-02-06T15:51:49.533" v="9809" actId="14100"/>
          <ac:graphicFrameMkLst>
            <pc:docMk/>
            <pc:sldMk cId="2766661592" sldId="2147378759"/>
            <ac:graphicFrameMk id="11" creationId="{D3EFA518-F851-3DE6-5704-6623452E81EC}"/>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5:16.347" v="22938"/>
              <pc2:cmMkLst xmlns:pc2="http://schemas.microsoft.com/office/powerpoint/2019/9/main/command">
                <pc:docMk/>
                <pc:sldMk cId="2766661592" sldId="2147378759"/>
                <pc2:cmMk id="{361E8F82-2309-4FA7-BDDE-DB01D74ECBFB}"/>
              </pc2:cmMkLst>
            </pc226:cmChg>
            <pc226:cmChg xmlns:pc226="http://schemas.microsoft.com/office/powerpoint/2022/06/main/command" chg="del">
              <pc226:chgData name="丁野 光理" userId="53361c9a-10d0-4268-b39c-a1f4044b33f4" providerId="ADAL" clId="{5FE0A016-0A93-4063-8F08-CD48630E8DBB}" dt="2025-02-07T10:25:17.511" v="22939"/>
              <pc2:cmMkLst xmlns:pc2="http://schemas.microsoft.com/office/powerpoint/2019/9/main/command">
                <pc:docMk/>
                <pc:sldMk cId="2766661592" sldId="2147378759"/>
                <pc2:cmMk id="{98A197F4-CC3B-4A45-B0CF-ECFB77ACE528}"/>
              </pc2:cmMkLst>
            </pc226:cmChg>
          </p:ext>
        </pc:extLst>
      </pc:sldChg>
      <pc:sldChg chg="add del">
        <pc:chgData name="丁野 光理" userId="53361c9a-10d0-4268-b39c-a1f4044b33f4" providerId="ADAL" clId="{5FE0A016-0A93-4063-8F08-CD48630E8DBB}" dt="2025-02-06T15:45:56.679" v="9471" actId="47"/>
        <pc:sldMkLst>
          <pc:docMk/>
          <pc:sldMk cId="3109339401" sldId="2147378760"/>
        </pc:sldMkLst>
      </pc:sldChg>
      <pc:sldChg chg="add del">
        <pc:chgData name="丁野 光理" userId="53361c9a-10d0-4268-b39c-a1f4044b33f4" providerId="ADAL" clId="{5FE0A016-0A93-4063-8F08-CD48630E8DBB}" dt="2025-02-06T15:45:52.952" v="9470" actId="47"/>
        <pc:sldMkLst>
          <pc:docMk/>
          <pc:sldMk cId="2785834007" sldId="2147378761"/>
        </pc:sldMkLst>
      </pc:sldChg>
      <pc:sldChg chg="modSp add del mod">
        <pc:chgData name="丁野 光理" userId="53361c9a-10d0-4268-b39c-a1f4044b33f4" providerId="ADAL" clId="{5FE0A016-0A93-4063-8F08-CD48630E8DBB}" dt="2025-02-06T15:47:18.281" v="9514" actId="47"/>
        <pc:sldMkLst>
          <pc:docMk/>
          <pc:sldMk cId="1020202341" sldId="2147378762"/>
        </pc:sldMkLst>
        <pc:spChg chg="mod">
          <ac:chgData name="丁野 光理" userId="53361c9a-10d0-4268-b39c-a1f4044b33f4" providerId="ADAL" clId="{5FE0A016-0A93-4063-8F08-CD48630E8DBB}" dt="2025-02-06T15:46:52.848" v="9512"/>
          <ac:spMkLst>
            <pc:docMk/>
            <pc:sldMk cId="1020202341" sldId="2147378762"/>
            <ac:spMk id="2" creationId="{BDE63369-EA7E-4802-A4A3-D4010A333C66}"/>
          </ac:spMkLst>
        </pc:spChg>
      </pc:sldChg>
      <pc:sldChg chg="add del">
        <pc:chgData name="丁野 光理" userId="53361c9a-10d0-4268-b39c-a1f4044b33f4" providerId="ADAL" clId="{5FE0A016-0A93-4063-8F08-CD48630E8DBB}" dt="2025-02-06T15:46:57.569" v="9513" actId="47"/>
        <pc:sldMkLst>
          <pc:docMk/>
          <pc:sldMk cId="2409503255" sldId="2147378763"/>
        </pc:sldMkLst>
      </pc:sldChg>
      <pc:sldChg chg="add del">
        <pc:chgData name="丁野 光理" userId="53361c9a-10d0-4268-b39c-a1f4044b33f4" providerId="ADAL" clId="{5FE0A016-0A93-4063-8F08-CD48630E8DBB}" dt="2025-02-06T15:50:30.166" v="9724" actId="47"/>
        <pc:sldMkLst>
          <pc:docMk/>
          <pc:sldMk cId="2073530403" sldId="2147378764"/>
        </pc:sldMkLst>
      </pc:sldChg>
      <pc:sldChg chg="add del">
        <pc:chgData name="丁野 光理" userId="53361c9a-10d0-4268-b39c-a1f4044b33f4" providerId="ADAL" clId="{5FE0A016-0A93-4063-8F08-CD48630E8DBB}" dt="2025-02-06T15:47:30.874" v="9515" actId="47"/>
        <pc:sldMkLst>
          <pc:docMk/>
          <pc:sldMk cId="1525964530" sldId="2147378765"/>
        </pc:sldMkLst>
      </pc:sldChg>
      <pc:sldChg chg="add del">
        <pc:chgData name="丁野 光理" userId="53361c9a-10d0-4268-b39c-a1f4044b33f4" providerId="ADAL" clId="{5FE0A016-0A93-4063-8F08-CD48630E8DBB}" dt="2025-02-06T15:47:33.868" v="9516" actId="47"/>
        <pc:sldMkLst>
          <pc:docMk/>
          <pc:sldMk cId="3846168915" sldId="2147378766"/>
        </pc:sldMkLst>
      </pc:sldChg>
      <pc:sldChg chg="addSp delSp modSp add mod delCm">
        <pc:chgData name="丁野 光理" userId="53361c9a-10d0-4268-b39c-a1f4044b33f4" providerId="ADAL" clId="{5FE0A016-0A93-4063-8F08-CD48630E8DBB}" dt="2025-02-07T12:35:42.641" v="26244" actId="20577"/>
        <pc:sldMkLst>
          <pc:docMk/>
          <pc:sldMk cId="3009745310" sldId="2147378767"/>
        </pc:sldMkLst>
        <pc:spChg chg="mod">
          <ac:chgData name="丁野 光理" userId="53361c9a-10d0-4268-b39c-a1f4044b33f4" providerId="ADAL" clId="{5FE0A016-0A93-4063-8F08-CD48630E8DBB}" dt="2025-02-06T15:48:31.486" v="9601"/>
          <ac:spMkLst>
            <pc:docMk/>
            <pc:sldMk cId="3009745310" sldId="2147378767"/>
            <ac:spMk id="3" creationId="{6247E137-868B-539C-2D6E-DC37708CAC30}"/>
          </ac:spMkLst>
        </pc:spChg>
        <pc:spChg chg="mod">
          <ac:chgData name="丁野 光理" userId="53361c9a-10d0-4268-b39c-a1f4044b33f4" providerId="ADAL" clId="{5FE0A016-0A93-4063-8F08-CD48630E8DBB}" dt="2025-02-06T15:48:34.675" v="9608"/>
          <ac:spMkLst>
            <pc:docMk/>
            <pc:sldMk cId="3009745310" sldId="2147378767"/>
            <ac:spMk id="4" creationId="{2C3BBDD6-C18E-A8D5-D35C-ABB97297C5DD}"/>
          </ac:spMkLst>
        </pc:spChg>
        <pc:spChg chg="mod">
          <ac:chgData name="丁野 光理" userId="53361c9a-10d0-4268-b39c-a1f4044b33f4" providerId="ADAL" clId="{5FE0A016-0A93-4063-8F08-CD48630E8DBB}" dt="2025-02-07T12:35:42.641" v="26244" actId="20577"/>
          <ac:spMkLst>
            <pc:docMk/>
            <pc:sldMk cId="3009745310" sldId="2147378767"/>
            <ac:spMk id="7" creationId="{22EDA371-0AEA-5966-0D9B-D47542A057F7}"/>
          </ac:spMkLst>
        </pc:spChg>
        <pc:graphicFrameChg chg="del">
          <ac:chgData name="丁野 光理" userId="53361c9a-10d0-4268-b39c-a1f4044b33f4" providerId="ADAL" clId="{5FE0A016-0A93-4063-8F08-CD48630E8DBB}" dt="2025-02-06T16:13:18.358" v="11029" actId="478"/>
          <ac:graphicFrameMkLst>
            <pc:docMk/>
            <pc:sldMk cId="3009745310" sldId="2147378767"/>
            <ac:graphicFrameMk id="2" creationId="{12ACD507-CDCD-7967-B093-33A8EA8B50AD}"/>
          </ac:graphicFrameMkLst>
        </pc:graphicFrameChg>
        <pc:graphicFrameChg chg="add mod modGraphic">
          <ac:chgData name="丁野 光理" userId="53361c9a-10d0-4268-b39c-a1f4044b33f4" providerId="ADAL" clId="{5FE0A016-0A93-4063-8F08-CD48630E8DBB}" dt="2025-02-07T10:57:06.252" v="23083" actId="20577"/>
          <ac:graphicFrameMkLst>
            <pc:docMk/>
            <pc:sldMk cId="3009745310" sldId="2147378767"/>
            <ac:graphicFrameMk id="6" creationId="{1AC735CC-12F1-C6D2-FB98-42B302ECAD5B}"/>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54:06.121" v="22954"/>
              <pc2:cmMkLst xmlns:pc2="http://schemas.microsoft.com/office/powerpoint/2019/9/main/command">
                <pc:docMk/>
                <pc:sldMk cId="3009745310" sldId="2147378767"/>
                <pc2:cmMk id="{5A384D02-4455-41B4-A146-513027FA5C59}"/>
              </pc2:cmMkLst>
            </pc226:cmChg>
          </p:ext>
        </pc:extLst>
      </pc:sldChg>
      <pc:sldChg chg="modSp add del mod">
        <pc:chgData name="丁野 光理" userId="53361c9a-10d0-4268-b39c-a1f4044b33f4" providerId="ADAL" clId="{5FE0A016-0A93-4063-8F08-CD48630E8DBB}" dt="2025-02-06T15:48:56.721" v="9664" actId="20577"/>
        <pc:sldMkLst>
          <pc:docMk/>
          <pc:sldMk cId="1343814349" sldId="2147378768"/>
        </pc:sldMkLst>
        <pc:spChg chg="mod">
          <ac:chgData name="丁野 光理" userId="53361c9a-10d0-4268-b39c-a1f4044b33f4" providerId="ADAL" clId="{5FE0A016-0A93-4063-8F08-CD48630E8DBB}" dt="2025-02-06T15:48:44.833" v="9609"/>
          <ac:spMkLst>
            <pc:docMk/>
            <pc:sldMk cId="1343814349" sldId="2147378768"/>
            <ac:spMk id="2" creationId="{CBF10691-58CC-75D5-EA23-B36D933D90D3}"/>
          </ac:spMkLst>
        </pc:spChg>
        <pc:spChg chg="mod">
          <ac:chgData name="丁野 光理" userId="53361c9a-10d0-4268-b39c-a1f4044b33f4" providerId="ADAL" clId="{5FE0A016-0A93-4063-8F08-CD48630E8DBB}" dt="2025-02-06T15:48:56.721" v="9664" actId="20577"/>
          <ac:spMkLst>
            <pc:docMk/>
            <pc:sldMk cId="1343814349" sldId="2147378768"/>
            <ac:spMk id="4" creationId="{2D0F773D-7F31-6F9D-4700-F8F75C3164F8}"/>
          </ac:spMkLst>
        </pc:spChg>
        <pc:spChg chg="mod">
          <ac:chgData name="丁野 光理" userId="53361c9a-10d0-4268-b39c-a1f4044b33f4" providerId="ADAL" clId="{5FE0A016-0A93-4063-8F08-CD48630E8DBB}" dt="2025-02-06T15:48:46.937" v="9614"/>
          <ac:spMkLst>
            <pc:docMk/>
            <pc:sldMk cId="1343814349" sldId="2147378768"/>
            <ac:spMk id="9" creationId="{F7DA7227-3724-60C8-1F06-5A8A2F4AF1F8}"/>
          </ac:spMkLst>
        </pc:spChg>
      </pc:sldChg>
      <pc:sldChg chg="add del">
        <pc:chgData name="丁野 光理" userId="53361c9a-10d0-4268-b39c-a1f4044b33f4" providerId="ADAL" clId="{5FE0A016-0A93-4063-8F08-CD48630E8DBB}" dt="2025-02-06T15:47:40.112" v="9517" actId="47"/>
        <pc:sldMkLst>
          <pc:docMk/>
          <pc:sldMk cId="1912398154" sldId="2147378769"/>
        </pc:sldMkLst>
      </pc:sldChg>
      <pc:sldChg chg="modSp add mod delCm">
        <pc:chgData name="丁野 光理" userId="53361c9a-10d0-4268-b39c-a1f4044b33f4" providerId="ADAL" clId="{5FE0A016-0A93-4063-8F08-CD48630E8DBB}" dt="2025-02-07T10:25:23.136" v="22941"/>
        <pc:sldMkLst>
          <pc:docMk/>
          <pc:sldMk cId="4268087364" sldId="2147378769"/>
        </pc:sldMkLst>
        <pc:spChg chg="mod">
          <ac:chgData name="丁野 光理" userId="53361c9a-10d0-4268-b39c-a1f4044b33f4" providerId="ADAL" clId="{5FE0A016-0A93-4063-8F08-CD48630E8DBB}" dt="2025-02-06T16:01:11.785" v="10649"/>
          <ac:spMkLst>
            <pc:docMk/>
            <pc:sldMk cId="4268087364" sldId="2147378769"/>
            <ac:spMk id="6" creationId="{95B7D5A6-3733-419F-5F47-1323A3D8D852}"/>
          </ac:spMkLst>
        </pc:spChg>
        <pc:spChg chg="mod">
          <ac:chgData name="丁野 光理" userId="53361c9a-10d0-4268-b39c-a1f4044b33f4" providerId="ADAL" clId="{5FE0A016-0A93-4063-8F08-CD48630E8DBB}" dt="2025-02-06T15:50:56.467" v="9802"/>
          <ac:spMkLst>
            <pc:docMk/>
            <pc:sldMk cId="4268087364" sldId="2147378769"/>
            <ac:spMk id="9" creationId="{D22A0A06-D5A8-4A1A-B66F-2A8EDBD644F1}"/>
          </ac:spMkLst>
        </pc:spChg>
        <pc:spChg chg="mod">
          <ac:chgData name="丁野 光理" userId="53361c9a-10d0-4268-b39c-a1f4044b33f4" providerId="ADAL" clId="{5FE0A016-0A93-4063-8F08-CD48630E8DBB}" dt="2025-02-06T15:57:24.984" v="9882"/>
          <ac:spMkLst>
            <pc:docMk/>
            <pc:sldMk cId="4268087364" sldId="2147378769"/>
            <ac:spMk id="12" creationId="{0885EF34-1A86-AA39-1A1A-5F99ABF6B7EF}"/>
          </ac:spMkLst>
        </pc:spChg>
        <pc:spChg chg="mod">
          <ac:chgData name="丁野 光理" userId="53361c9a-10d0-4268-b39c-a1f4044b33f4" providerId="ADAL" clId="{5FE0A016-0A93-4063-8F08-CD48630E8DBB}" dt="2025-02-06T15:57:34.122" v="9885" actId="6549"/>
          <ac:spMkLst>
            <pc:docMk/>
            <pc:sldMk cId="4268087364" sldId="2147378769"/>
            <ac:spMk id="50" creationId="{5B635FEA-2811-3A33-A6E6-95440B42D811}"/>
          </ac:spMkLst>
        </pc:spChg>
        <pc:spChg chg="mod">
          <ac:chgData name="丁野 光理" userId="53361c9a-10d0-4268-b39c-a1f4044b33f4" providerId="ADAL" clId="{5FE0A016-0A93-4063-8F08-CD48630E8DBB}" dt="2025-02-06T16:00:58.443" v="10629"/>
          <ac:spMkLst>
            <pc:docMk/>
            <pc:sldMk cId="4268087364" sldId="2147378769"/>
            <ac:spMk id="53" creationId="{600AE28E-2F7C-E1F6-5796-97DD1A8A0830}"/>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5:21.920" v="22940"/>
              <pc2:cmMkLst xmlns:pc2="http://schemas.microsoft.com/office/powerpoint/2019/9/main/command">
                <pc:docMk/>
                <pc:sldMk cId="4268087364" sldId="2147378769"/>
                <pc2:cmMk id="{2FC0E86E-4515-4927-B6E9-F47626427BF0}"/>
              </pc2:cmMkLst>
            </pc226:cmChg>
            <pc226:cmChg xmlns:pc226="http://schemas.microsoft.com/office/powerpoint/2022/06/main/command" chg="del">
              <pc226:chgData name="丁野 光理" userId="53361c9a-10d0-4268-b39c-a1f4044b33f4" providerId="ADAL" clId="{5FE0A016-0A93-4063-8F08-CD48630E8DBB}" dt="2025-02-07T10:25:23.136" v="22941"/>
              <pc2:cmMkLst xmlns:pc2="http://schemas.microsoft.com/office/powerpoint/2019/9/main/command">
                <pc:docMk/>
                <pc:sldMk cId="4268087364" sldId="2147378769"/>
                <pc2:cmMk id="{B955A1F7-76BA-4842-9821-06FE72D3ED76}"/>
              </pc2:cmMkLst>
            </pc226:cmChg>
          </p:ext>
        </pc:extLst>
      </pc:sldChg>
      <pc:sldChg chg="add del">
        <pc:chgData name="丁野 光理" userId="53361c9a-10d0-4268-b39c-a1f4044b33f4" providerId="ADAL" clId="{5FE0A016-0A93-4063-8F08-CD48630E8DBB}" dt="2025-02-06T15:45:25.543" v="9469" actId="47"/>
        <pc:sldMkLst>
          <pc:docMk/>
          <pc:sldMk cId="1947276899" sldId="2147378770"/>
        </pc:sldMkLst>
      </pc:sldChg>
      <pc:sldChg chg="addSp modSp add mod">
        <pc:chgData name="丁野 光理" userId="53361c9a-10d0-4268-b39c-a1f4044b33f4" providerId="ADAL" clId="{5FE0A016-0A93-4063-8F08-CD48630E8DBB}" dt="2025-02-07T01:56:45.511" v="19679" actId="1076"/>
        <pc:sldMkLst>
          <pc:docMk/>
          <pc:sldMk cId="2779406652" sldId="2147378770"/>
        </pc:sldMkLst>
        <pc:spChg chg="mod">
          <ac:chgData name="丁野 光理" userId="53361c9a-10d0-4268-b39c-a1f4044b33f4" providerId="ADAL" clId="{5FE0A016-0A93-4063-8F08-CD48630E8DBB}" dt="2025-02-06T16:05:54.449" v="10781"/>
          <ac:spMkLst>
            <pc:docMk/>
            <pc:sldMk cId="2779406652" sldId="2147378770"/>
            <ac:spMk id="2" creationId="{BDE63369-EA7E-4802-A4A3-D4010A333C66}"/>
          </ac:spMkLst>
        </pc:spChg>
        <pc:spChg chg="add mod">
          <ac:chgData name="丁野 光理" userId="53361c9a-10d0-4268-b39c-a1f4044b33f4" providerId="ADAL" clId="{5FE0A016-0A93-4063-8F08-CD48630E8DBB}" dt="2025-02-07T01:56:45.511" v="19679" actId="1076"/>
          <ac:spMkLst>
            <pc:docMk/>
            <pc:sldMk cId="2779406652" sldId="2147378770"/>
            <ac:spMk id="3" creationId="{64E6FBA6-9471-354D-9859-2CBBDFCF1828}"/>
          </ac:spMkLst>
        </pc:spChg>
        <pc:graphicFrameChg chg="mod modGraphic">
          <ac:chgData name="丁野 光理" userId="53361c9a-10d0-4268-b39c-a1f4044b33f4" providerId="ADAL" clId="{5FE0A016-0A93-4063-8F08-CD48630E8DBB}" dt="2025-02-06T17:25:11.037" v="15711"/>
          <ac:graphicFrameMkLst>
            <pc:docMk/>
            <pc:sldMk cId="2779406652" sldId="2147378770"/>
            <ac:graphicFrameMk id="8" creationId="{628A4627-CAA7-6C39-A2F3-3AFB41DE8AAE}"/>
          </ac:graphicFrameMkLst>
        </pc:graphicFrameChg>
      </pc:sldChg>
      <pc:sldChg chg="modSp add mod delCm">
        <pc:chgData name="丁野 光理" userId="53361c9a-10d0-4268-b39c-a1f4044b33f4" providerId="ADAL" clId="{5FE0A016-0A93-4063-8F08-CD48630E8DBB}" dt="2025-02-07T10:23:01.452" v="22926"/>
        <pc:sldMkLst>
          <pc:docMk/>
          <pc:sldMk cId="1436977306" sldId="2147378771"/>
        </pc:sldMkLst>
        <pc:spChg chg="mod">
          <ac:chgData name="丁野 光理" userId="53361c9a-10d0-4268-b39c-a1f4044b33f4" providerId="ADAL" clId="{5FE0A016-0A93-4063-8F08-CD48630E8DBB}" dt="2025-02-06T16:59:31.342" v="15322"/>
          <ac:spMkLst>
            <pc:docMk/>
            <pc:sldMk cId="1436977306" sldId="2147378771"/>
            <ac:spMk id="11" creationId="{962E5203-2DFF-C1A0-2F9F-F26700D05F5E}"/>
          </ac:spMkLst>
        </pc:spChg>
        <pc:spChg chg="mod">
          <ac:chgData name="丁野 光理" userId="53361c9a-10d0-4268-b39c-a1f4044b33f4" providerId="ADAL" clId="{5FE0A016-0A93-4063-8F08-CD48630E8DBB}" dt="2025-02-06T16:59:51.311" v="15325" actId="6549"/>
          <ac:spMkLst>
            <pc:docMk/>
            <pc:sldMk cId="1436977306" sldId="2147378771"/>
            <ac:spMk id="26" creationId="{E79CF6B0-5AD5-B0A6-5A82-B2F5A3B16A53}"/>
          </ac:spMkLst>
        </pc:sp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2:59.963" v="22925"/>
              <pc2:cmMkLst xmlns:pc2="http://schemas.microsoft.com/office/powerpoint/2019/9/main/command">
                <pc:docMk/>
                <pc:sldMk cId="1436977306" sldId="2147378771"/>
                <pc2:cmMk id="{C71D2D7E-581A-4E0C-AB26-102EE2A70250}"/>
              </pc2:cmMkLst>
            </pc226:cmChg>
            <pc226:cmChg xmlns:pc226="http://schemas.microsoft.com/office/powerpoint/2022/06/main/command" chg="del">
              <pc226:chgData name="丁野 光理" userId="53361c9a-10d0-4268-b39c-a1f4044b33f4" providerId="ADAL" clId="{5FE0A016-0A93-4063-8F08-CD48630E8DBB}" dt="2025-02-07T10:23:01.452" v="22926"/>
              <pc2:cmMkLst xmlns:pc2="http://schemas.microsoft.com/office/powerpoint/2019/9/main/command">
                <pc:docMk/>
                <pc:sldMk cId="1436977306" sldId="2147378771"/>
                <pc2:cmMk id="{AFB642FB-2918-439D-9AB9-3B728E2828C8}"/>
              </pc2:cmMkLst>
            </pc226:cmChg>
          </p:ext>
        </pc:extLst>
      </pc:sldChg>
      <pc:sldChg chg="add del">
        <pc:chgData name="丁野 光理" userId="53361c9a-10d0-4268-b39c-a1f4044b33f4" providerId="ADAL" clId="{5FE0A016-0A93-4063-8F08-CD48630E8DBB}" dt="2025-02-06T15:45:19.437" v="9468" actId="47"/>
        <pc:sldMkLst>
          <pc:docMk/>
          <pc:sldMk cId="3729949482" sldId="2147378771"/>
        </pc:sldMkLst>
      </pc:sldChg>
      <pc:sldChg chg="add del">
        <pc:chgData name="丁野 光理" userId="53361c9a-10d0-4268-b39c-a1f4044b33f4" providerId="ADAL" clId="{5FE0A016-0A93-4063-8F08-CD48630E8DBB}" dt="2025-02-06T15:47:41.863" v="9518" actId="47"/>
        <pc:sldMkLst>
          <pc:docMk/>
          <pc:sldMk cId="1116144339" sldId="2147378772"/>
        </pc:sldMkLst>
      </pc:sldChg>
      <pc:sldChg chg="addSp delSp modSp add mod delCm">
        <pc:chgData name="丁野 光理" userId="53361c9a-10d0-4268-b39c-a1f4044b33f4" providerId="ADAL" clId="{5FE0A016-0A93-4063-8F08-CD48630E8DBB}" dt="2025-02-07T10:23:12.472" v="22930"/>
        <pc:sldMkLst>
          <pc:docMk/>
          <pc:sldMk cId="3808814701" sldId="2147378772"/>
        </pc:sldMkLst>
        <pc:spChg chg="mod">
          <ac:chgData name="丁野 光理" userId="53361c9a-10d0-4268-b39c-a1f4044b33f4" providerId="ADAL" clId="{5FE0A016-0A93-4063-8F08-CD48630E8DBB}" dt="2025-02-06T17:00:05.100" v="15329"/>
          <ac:spMkLst>
            <pc:docMk/>
            <pc:sldMk cId="3808814701" sldId="2147378772"/>
            <ac:spMk id="11" creationId="{962E5203-2DFF-C1A0-2F9F-F26700D05F5E}"/>
          </ac:spMkLst>
        </pc:spChg>
        <pc:spChg chg="mod">
          <ac:chgData name="丁野 光理" userId="53361c9a-10d0-4268-b39c-a1f4044b33f4" providerId="ADAL" clId="{5FE0A016-0A93-4063-8F08-CD48630E8DBB}" dt="2025-02-06T17:00:35.071" v="15352"/>
          <ac:spMkLst>
            <pc:docMk/>
            <pc:sldMk cId="3808814701" sldId="2147378772"/>
            <ac:spMk id="26" creationId="{E79CF6B0-5AD5-B0A6-5A82-B2F5A3B16A53}"/>
          </ac:spMkLst>
        </pc:spChg>
        <pc:graphicFrameChg chg="add mod">
          <ac:chgData name="丁野 光理" userId="53361c9a-10d0-4268-b39c-a1f4044b33f4" providerId="ADAL" clId="{5FE0A016-0A93-4063-8F08-CD48630E8DBB}" dt="2025-02-07T01:05:28.175" v="16987" actId="1076"/>
          <ac:graphicFrameMkLst>
            <pc:docMk/>
            <pc:sldMk cId="3808814701" sldId="2147378772"/>
            <ac:graphicFrameMk id="3" creationId="{4B9CF8F6-B231-7F04-870D-14B3245AE835}"/>
          </ac:graphicFrameMkLst>
        </pc:graphicFrameChg>
        <pc:graphicFrameChg chg="add mod modGraphic">
          <ac:chgData name="丁野 光理" userId="53361c9a-10d0-4268-b39c-a1f4044b33f4" providerId="ADAL" clId="{5FE0A016-0A93-4063-8F08-CD48630E8DBB}" dt="2025-02-07T01:05:30.799" v="16988" actId="1076"/>
          <ac:graphicFrameMkLst>
            <pc:docMk/>
            <pc:sldMk cId="3808814701" sldId="2147378772"/>
            <ac:graphicFrameMk id="4" creationId="{E6B03505-EDB8-244C-E39B-4DFF4A9A0927}"/>
          </ac:graphicFrameMkLst>
        </pc:graphicFrameChg>
        <pc:graphicFrameChg chg="del">
          <ac:chgData name="丁野 光理" userId="53361c9a-10d0-4268-b39c-a1f4044b33f4" providerId="ADAL" clId="{5FE0A016-0A93-4063-8F08-CD48630E8DBB}" dt="2025-02-06T17:01:10.272" v="15370" actId="478"/>
          <ac:graphicFrameMkLst>
            <pc:docMk/>
            <pc:sldMk cId="3808814701" sldId="2147378772"/>
            <ac:graphicFrameMk id="32" creationId="{3B80BC24-01AA-213D-76FD-38F653AD9B7C}"/>
          </ac:graphicFrameMkLst>
        </pc:graphicFrameChg>
        <pc:graphicFrameChg chg="del">
          <ac:chgData name="丁野 光理" userId="53361c9a-10d0-4268-b39c-a1f4044b33f4" providerId="ADAL" clId="{5FE0A016-0A93-4063-8F08-CD48630E8DBB}" dt="2025-02-06T17:01:17.698" v="15372" actId="478"/>
          <ac:graphicFrameMkLst>
            <pc:docMk/>
            <pc:sldMk cId="3808814701" sldId="2147378772"/>
            <ac:graphicFrameMk id="33" creationId="{579C0925-57A0-3030-666F-7E61FE13005C}"/>
          </ac:graphicFrameMkLst>
        </pc:graphicFrameChg>
        <pc:extLst>
          <p:ext xmlns:p="http://schemas.openxmlformats.org/presentationml/2006/main" uri="{D6D511B9-2390-475A-947B-AFAB55BFBCF1}">
            <pc226:cmChg xmlns:pc226="http://schemas.microsoft.com/office/powerpoint/2022/06/main/command" chg="del">
              <pc226:chgData name="丁野 光理" userId="53361c9a-10d0-4268-b39c-a1f4044b33f4" providerId="ADAL" clId="{5FE0A016-0A93-4063-8F08-CD48630E8DBB}" dt="2025-02-07T10:23:12.472" v="22930"/>
              <pc2:cmMkLst xmlns:pc2="http://schemas.microsoft.com/office/powerpoint/2019/9/main/command">
                <pc:docMk/>
                <pc:sldMk cId="3808814701" sldId="2147378772"/>
                <pc2:cmMk id="{594EE242-9ED9-4222-9788-5C6B130F656E}"/>
              </pc2:cmMkLst>
            </pc226:cmChg>
            <pc226:cmChg xmlns:pc226="http://schemas.microsoft.com/office/powerpoint/2022/06/main/command" chg="del">
              <pc226:chgData name="丁野 光理" userId="53361c9a-10d0-4268-b39c-a1f4044b33f4" providerId="ADAL" clId="{5FE0A016-0A93-4063-8F08-CD48630E8DBB}" dt="2025-02-07T10:23:11.362" v="22929"/>
              <pc2:cmMkLst xmlns:pc2="http://schemas.microsoft.com/office/powerpoint/2019/9/main/command">
                <pc:docMk/>
                <pc:sldMk cId="3808814701" sldId="2147378772"/>
                <pc2:cmMk id="{43604C6A-D03E-48CA-B143-E860F35E1F30}"/>
              </pc2:cmMkLst>
            </pc226:cmChg>
          </p:ext>
        </pc:extLst>
      </pc:sldChg>
      <pc:sldChg chg="del">
        <pc:chgData name="丁野 光理" userId="53361c9a-10d0-4268-b39c-a1f4044b33f4" providerId="ADAL" clId="{5FE0A016-0A93-4063-8F08-CD48630E8DBB}" dt="2025-02-07T04:04:16.838" v="22874" actId="47"/>
        <pc:sldMkLst>
          <pc:docMk/>
          <pc:sldMk cId="2499204696" sldId="2147378773"/>
        </pc:sldMkLst>
      </pc:sldChg>
      <pc:sldChg chg="add del">
        <pc:chgData name="丁野 光理" userId="53361c9a-10d0-4268-b39c-a1f4044b33f4" providerId="ADAL" clId="{5FE0A016-0A93-4063-8F08-CD48630E8DBB}" dt="2025-02-06T15:47:47.469" v="9519" actId="47"/>
        <pc:sldMkLst>
          <pc:docMk/>
          <pc:sldMk cId="3941585102" sldId="2147378773"/>
        </pc:sldMkLst>
      </pc:sldChg>
      <pc:sldChg chg="addSp modSp add del mod">
        <pc:chgData name="丁野 光理" userId="53361c9a-10d0-4268-b39c-a1f4044b33f4" providerId="ADAL" clId="{5FE0A016-0A93-4063-8F08-CD48630E8DBB}" dt="2025-02-07T11:32:55.762" v="24761" actId="47"/>
        <pc:sldMkLst>
          <pc:docMk/>
          <pc:sldMk cId="3819594584" sldId="2147378774"/>
        </pc:sldMkLst>
        <pc:spChg chg="add">
          <ac:chgData name="丁野 光理" userId="53361c9a-10d0-4268-b39c-a1f4044b33f4" providerId="ADAL" clId="{5FE0A016-0A93-4063-8F08-CD48630E8DBB}" dt="2025-02-07T11:32:28.313" v="24758" actId="22"/>
          <ac:spMkLst>
            <pc:docMk/>
            <pc:sldMk cId="3819594584" sldId="2147378774"/>
            <ac:spMk id="4" creationId="{D9A02B08-2EF8-FDCE-C5BD-1EA14F668AD5}"/>
          </ac:spMkLst>
        </pc:spChg>
        <pc:spChg chg="add">
          <ac:chgData name="丁野 光理" userId="53361c9a-10d0-4268-b39c-a1f4044b33f4" providerId="ADAL" clId="{5FE0A016-0A93-4063-8F08-CD48630E8DBB}" dt="2025-02-07T11:32:29.763" v="24759" actId="22"/>
          <ac:spMkLst>
            <pc:docMk/>
            <pc:sldMk cId="3819594584" sldId="2147378774"/>
            <ac:spMk id="6" creationId="{26E2E535-36AC-260B-1F46-3F793A62772D}"/>
          </ac:spMkLst>
        </pc:spChg>
        <pc:spChg chg="mod">
          <ac:chgData name="丁野 光理" userId="53361c9a-10d0-4268-b39c-a1f4044b33f4" providerId="ADAL" clId="{5FE0A016-0A93-4063-8F08-CD48630E8DBB}" dt="2025-02-07T01:22:59.231" v="18399" actId="14100"/>
          <ac:spMkLst>
            <pc:docMk/>
            <pc:sldMk cId="3819594584" sldId="2147378774"/>
            <ac:spMk id="9" creationId="{67FD600D-F712-D335-9DCD-5DDA57077E60}"/>
          </ac:spMkLst>
        </pc:spChg>
        <pc:spChg chg="mod">
          <ac:chgData name="丁野 光理" userId="53361c9a-10d0-4268-b39c-a1f4044b33f4" providerId="ADAL" clId="{5FE0A016-0A93-4063-8F08-CD48630E8DBB}" dt="2025-02-07T11:30:57.672" v="24677" actId="5793"/>
          <ac:spMkLst>
            <pc:docMk/>
            <pc:sldMk cId="3819594584" sldId="2147378774"/>
            <ac:spMk id="10" creationId="{80E6EF29-A9F8-46B2-8DDE-5092A65E485F}"/>
          </ac:spMkLst>
        </pc:spChg>
      </pc:sldChg>
      <pc:sldChg chg="modSp add del mod">
        <pc:chgData name="丁野 光理" userId="53361c9a-10d0-4268-b39c-a1f4044b33f4" providerId="ADAL" clId="{5FE0A016-0A93-4063-8F08-CD48630E8DBB}" dt="2025-02-07T11:33:10.771" v="24765" actId="47"/>
        <pc:sldMkLst>
          <pc:docMk/>
          <pc:sldMk cId="688232860" sldId="2147378775"/>
        </pc:sldMkLst>
        <pc:spChg chg="mod">
          <ac:chgData name="丁野 光理" userId="53361c9a-10d0-4268-b39c-a1f4044b33f4" providerId="ADAL" clId="{5FE0A016-0A93-4063-8F08-CD48630E8DBB}" dt="2025-02-07T01:22:48.488" v="18396" actId="14100"/>
          <ac:spMkLst>
            <pc:docMk/>
            <pc:sldMk cId="688232860" sldId="2147378775"/>
            <ac:spMk id="9" creationId="{67FD600D-F712-D335-9DCD-5DDA57077E60}"/>
          </ac:spMkLst>
        </pc:spChg>
      </pc:sldChg>
      <pc:sldChg chg="modSp add del mod">
        <pc:chgData name="丁野 光理" userId="53361c9a-10d0-4268-b39c-a1f4044b33f4" providerId="ADAL" clId="{5FE0A016-0A93-4063-8F08-CD48630E8DBB}" dt="2025-02-07T11:33:22.859" v="24769" actId="47"/>
        <pc:sldMkLst>
          <pc:docMk/>
          <pc:sldMk cId="3004034253" sldId="2147378776"/>
        </pc:sldMkLst>
        <pc:spChg chg="mod">
          <ac:chgData name="丁野 光理" userId="53361c9a-10d0-4268-b39c-a1f4044b33f4" providerId="ADAL" clId="{5FE0A016-0A93-4063-8F08-CD48630E8DBB}" dt="2025-02-07T01:22:36.052" v="18393" actId="14100"/>
          <ac:spMkLst>
            <pc:docMk/>
            <pc:sldMk cId="3004034253" sldId="2147378776"/>
            <ac:spMk id="9" creationId="{67FD600D-F712-D335-9DCD-5DDA57077E60}"/>
          </ac:spMkLst>
        </pc:spChg>
      </pc:sldChg>
      <pc:sldChg chg="modSp add del mod">
        <pc:chgData name="丁野 光理" userId="53361c9a-10d0-4268-b39c-a1f4044b33f4" providerId="ADAL" clId="{5FE0A016-0A93-4063-8F08-CD48630E8DBB}" dt="2025-02-07T11:33:34.902" v="24773" actId="47"/>
        <pc:sldMkLst>
          <pc:docMk/>
          <pc:sldMk cId="2305634284" sldId="2147378777"/>
        </pc:sldMkLst>
        <pc:spChg chg="mod">
          <ac:chgData name="丁野 光理" userId="53361c9a-10d0-4268-b39c-a1f4044b33f4" providerId="ADAL" clId="{5FE0A016-0A93-4063-8F08-CD48630E8DBB}" dt="2025-02-07T01:22:28.154" v="18391" actId="14100"/>
          <ac:spMkLst>
            <pc:docMk/>
            <pc:sldMk cId="2305634284" sldId="2147378777"/>
            <ac:spMk id="9" creationId="{67FD600D-F712-D335-9DCD-5DDA57077E60}"/>
          </ac:spMkLst>
        </pc:spChg>
      </pc:sldChg>
      <pc:sldChg chg="modSp add del mod">
        <pc:chgData name="丁野 光理" userId="53361c9a-10d0-4268-b39c-a1f4044b33f4" providerId="ADAL" clId="{5FE0A016-0A93-4063-8F08-CD48630E8DBB}" dt="2025-02-07T11:33:51.022" v="24778" actId="47"/>
        <pc:sldMkLst>
          <pc:docMk/>
          <pc:sldMk cId="3829729197" sldId="2147378778"/>
        </pc:sldMkLst>
        <pc:spChg chg="mod">
          <ac:chgData name="丁野 光理" userId="53361c9a-10d0-4268-b39c-a1f4044b33f4" providerId="ADAL" clId="{5FE0A016-0A93-4063-8F08-CD48630E8DBB}" dt="2025-02-07T01:22:15.135" v="18388" actId="14100"/>
          <ac:spMkLst>
            <pc:docMk/>
            <pc:sldMk cId="3829729197" sldId="2147378778"/>
            <ac:spMk id="9" creationId="{67FD600D-F712-D335-9DCD-5DDA57077E60}"/>
          </ac:spMkLst>
        </pc:spChg>
      </pc:sldChg>
      <pc:sldChg chg="modSp mod">
        <pc:chgData name="丁野 光理" userId="53361c9a-10d0-4268-b39c-a1f4044b33f4" providerId="ADAL" clId="{5FE0A016-0A93-4063-8F08-CD48630E8DBB}" dt="2025-02-07T11:27:15.383" v="24588" actId="20577"/>
        <pc:sldMkLst>
          <pc:docMk/>
          <pc:sldMk cId="2192251413" sldId="2147483276"/>
        </pc:sldMkLst>
        <pc:spChg chg="mod">
          <ac:chgData name="丁野 光理" userId="53361c9a-10d0-4268-b39c-a1f4044b33f4" providerId="ADAL" clId="{5FE0A016-0A93-4063-8F08-CD48630E8DBB}" dt="2025-02-07T11:27:15.383" v="24588" actId="20577"/>
          <ac:spMkLst>
            <pc:docMk/>
            <pc:sldMk cId="2192251413" sldId="2147483276"/>
            <ac:spMk id="9" creationId="{D22A0A06-D5A8-4A1A-B66F-2A8EDBD644F1}"/>
          </ac:spMkLst>
        </pc:spChg>
      </pc:sldChg>
      <pc:sldChg chg="add del">
        <pc:chgData name="丁野 光理" userId="53361c9a-10d0-4268-b39c-a1f4044b33f4" providerId="ADAL" clId="{5FE0A016-0A93-4063-8F08-CD48630E8DBB}" dt="2025-02-07T04:04:18.941" v="22875" actId="47"/>
        <pc:sldMkLst>
          <pc:docMk/>
          <pc:sldMk cId="2291176984" sldId="2147483276"/>
        </pc:sldMkLst>
      </pc:sldChg>
      <pc:sldChg chg="modSp mod">
        <pc:chgData name="丁野 光理" userId="53361c9a-10d0-4268-b39c-a1f4044b33f4" providerId="ADAL" clId="{5FE0A016-0A93-4063-8F08-CD48630E8DBB}" dt="2025-02-07T11:27:00.953" v="24576" actId="20577"/>
        <pc:sldMkLst>
          <pc:docMk/>
          <pc:sldMk cId="3516192024" sldId="2147483277"/>
        </pc:sldMkLst>
        <pc:spChg chg="mod">
          <ac:chgData name="丁野 光理" userId="53361c9a-10d0-4268-b39c-a1f4044b33f4" providerId="ADAL" clId="{5FE0A016-0A93-4063-8F08-CD48630E8DBB}" dt="2025-02-07T11:27:00.953" v="24576" actId="20577"/>
          <ac:spMkLst>
            <pc:docMk/>
            <pc:sldMk cId="3516192024" sldId="2147483277"/>
            <ac:spMk id="9" creationId="{F7DA7227-3724-60C8-1F06-5A8A2F4AF1F8}"/>
          </ac:spMkLst>
        </pc:spChg>
      </pc:sldChg>
      <pc:sldChg chg="modSp add del mod">
        <pc:chgData name="丁野 光理" userId="53361c9a-10d0-4268-b39c-a1f4044b33f4" providerId="ADAL" clId="{5FE0A016-0A93-4063-8F08-CD48630E8DBB}" dt="2025-02-07T11:43:31.940" v="25003" actId="47"/>
        <pc:sldMkLst>
          <pc:docMk/>
          <pc:sldMk cId="2068695467" sldId="2147483278"/>
        </pc:sldMkLst>
        <pc:spChg chg="mod">
          <ac:chgData name="丁野 光理" userId="53361c9a-10d0-4268-b39c-a1f4044b33f4" providerId="ADAL" clId="{5FE0A016-0A93-4063-8F08-CD48630E8DBB}" dt="2025-02-07T11:33:02.437" v="24763" actId="14100"/>
          <ac:spMkLst>
            <pc:docMk/>
            <pc:sldMk cId="2068695467" sldId="2147483278"/>
            <ac:spMk id="9" creationId="{67FD600D-F712-D335-9DCD-5DDA57077E60}"/>
          </ac:spMkLst>
        </pc:spChg>
        <pc:spChg chg="mod">
          <ac:chgData name="丁野 光理" userId="53361c9a-10d0-4268-b39c-a1f4044b33f4" providerId="ADAL" clId="{5FE0A016-0A93-4063-8F08-CD48630E8DBB}" dt="2025-02-07T11:38:18.967" v="24898" actId="20577"/>
          <ac:spMkLst>
            <pc:docMk/>
            <pc:sldMk cId="2068695467" sldId="2147483278"/>
            <ac:spMk id="10" creationId="{80E6EF29-A9F8-46B2-8DDE-5092A65E485F}"/>
          </ac:spMkLst>
        </pc:spChg>
      </pc:sldChg>
      <pc:sldChg chg="modSp add del mod">
        <pc:chgData name="丁野 光理" userId="53361c9a-10d0-4268-b39c-a1f4044b33f4" providerId="ADAL" clId="{5FE0A016-0A93-4063-8F08-CD48630E8DBB}" dt="2025-02-07T11:43:15.120" v="25000" actId="47"/>
        <pc:sldMkLst>
          <pc:docMk/>
          <pc:sldMk cId="1118927534" sldId="2147483279"/>
        </pc:sldMkLst>
        <pc:spChg chg="mod">
          <ac:chgData name="丁野 光理" userId="53361c9a-10d0-4268-b39c-a1f4044b33f4" providerId="ADAL" clId="{5FE0A016-0A93-4063-8F08-CD48630E8DBB}" dt="2025-02-07T11:33:16.759" v="24767" actId="14100"/>
          <ac:spMkLst>
            <pc:docMk/>
            <pc:sldMk cId="1118927534" sldId="2147483279"/>
            <ac:spMk id="9" creationId="{67FD600D-F712-D335-9DCD-5DDA57077E60}"/>
          </ac:spMkLst>
        </pc:spChg>
        <pc:spChg chg="mod">
          <ac:chgData name="丁野 光理" userId="53361c9a-10d0-4268-b39c-a1f4044b33f4" providerId="ADAL" clId="{5FE0A016-0A93-4063-8F08-CD48630E8DBB}" dt="2025-02-07T11:37:46.921" v="24818" actId="20577"/>
          <ac:spMkLst>
            <pc:docMk/>
            <pc:sldMk cId="1118927534" sldId="2147483279"/>
            <ac:spMk id="10" creationId="{80E6EF29-A9F8-46B2-8DDE-5092A65E485F}"/>
          </ac:spMkLst>
        </pc:spChg>
      </pc:sldChg>
      <pc:sldChg chg="modSp add del mod">
        <pc:chgData name="丁野 光理" userId="53361c9a-10d0-4268-b39c-a1f4044b33f4" providerId="ADAL" clId="{5FE0A016-0A93-4063-8F08-CD48630E8DBB}" dt="2025-02-07T11:42:39.732" v="24993" actId="47"/>
        <pc:sldMkLst>
          <pc:docMk/>
          <pc:sldMk cId="67216973" sldId="2147483280"/>
        </pc:sldMkLst>
        <pc:spChg chg="mod">
          <ac:chgData name="丁野 光理" userId="53361c9a-10d0-4268-b39c-a1f4044b33f4" providerId="ADAL" clId="{5FE0A016-0A93-4063-8F08-CD48630E8DBB}" dt="2025-02-07T11:33:28.323" v="24771" actId="14100"/>
          <ac:spMkLst>
            <pc:docMk/>
            <pc:sldMk cId="67216973" sldId="2147483280"/>
            <ac:spMk id="9" creationId="{67FD600D-F712-D335-9DCD-5DDA57077E60}"/>
          </ac:spMkLst>
        </pc:spChg>
        <pc:spChg chg="mod">
          <ac:chgData name="丁野 光理" userId="53361c9a-10d0-4268-b39c-a1f4044b33f4" providerId="ADAL" clId="{5FE0A016-0A93-4063-8F08-CD48630E8DBB}" dt="2025-02-07T11:37:55.123" v="24838" actId="20577"/>
          <ac:spMkLst>
            <pc:docMk/>
            <pc:sldMk cId="67216973" sldId="2147483280"/>
            <ac:spMk id="10" creationId="{80E6EF29-A9F8-46B2-8DDE-5092A65E485F}"/>
          </ac:spMkLst>
        </pc:spChg>
      </pc:sldChg>
      <pc:sldChg chg="modSp add del mod">
        <pc:chgData name="丁野 光理" userId="53361c9a-10d0-4268-b39c-a1f4044b33f4" providerId="ADAL" clId="{5FE0A016-0A93-4063-8F08-CD48630E8DBB}" dt="2025-02-07T11:42:23.689" v="24987" actId="47"/>
        <pc:sldMkLst>
          <pc:docMk/>
          <pc:sldMk cId="3849616003" sldId="2147483281"/>
        </pc:sldMkLst>
        <pc:spChg chg="mod">
          <ac:chgData name="丁野 光理" userId="53361c9a-10d0-4268-b39c-a1f4044b33f4" providerId="ADAL" clId="{5FE0A016-0A93-4063-8F08-CD48630E8DBB}" dt="2025-02-07T11:33:45.467" v="24776" actId="14100"/>
          <ac:spMkLst>
            <pc:docMk/>
            <pc:sldMk cId="3849616003" sldId="2147483281"/>
            <ac:spMk id="9" creationId="{67FD600D-F712-D335-9DCD-5DDA57077E60}"/>
          </ac:spMkLst>
        </pc:spChg>
        <pc:spChg chg="mod">
          <ac:chgData name="丁野 光理" userId="53361c9a-10d0-4268-b39c-a1f4044b33f4" providerId="ADAL" clId="{5FE0A016-0A93-4063-8F08-CD48630E8DBB}" dt="2025-02-07T11:38:00.955" v="24858" actId="20577"/>
          <ac:spMkLst>
            <pc:docMk/>
            <pc:sldMk cId="3849616003" sldId="2147483281"/>
            <ac:spMk id="10" creationId="{80E6EF29-A9F8-46B2-8DDE-5092A65E485F}"/>
          </ac:spMkLst>
        </pc:spChg>
      </pc:sldChg>
      <pc:sldChg chg="modSp add mod">
        <pc:chgData name="丁野 光理" userId="53361c9a-10d0-4268-b39c-a1f4044b33f4" providerId="ADAL" clId="{5FE0A016-0A93-4063-8F08-CD48630E8DBB}" dt="2025-02-07T11:41:40.375" v="24977" actId="20577"/>
        <pc:sldMkLst>
          <pc:docMk/>
          <pc:sldMk cId="3704562467" sldId="2147483282"/>
        </pc:sldMkLst>
        <pc:spChg chg="mod">
          <ac:chgData name="丁野 光理" userId="53361c9a-10d0-4268-b39c-a1f4044b33f4" providerId="ADAL" clId="{5FE0A016-0A93-4063-8F08-CD48630E8DBB}" dt="2025-02-07T11:34:13.573" v="24786" actId="14100"/>
          <ac:spMkLst>
            <pc:docMk/>
            <pc:sldMk cId="3704562467" sldId="2147483282"/>
            <ac:spMk id="9" creationId="{67FD600D-F712-D335-9DCD-5DDA57077E60}"/>
          </ac:spMkLst>
        </pc:spChg>
        <pc:spChg chg="mod">
          <ac:chgData name="丁野 光理" userId="53361c9a-10d0-4268-b39c-a1f4044b33f4" providerId="ADAL" clId="{5FE0A016-0A93-4063-8F08-CD48630E8DBB}" dt="2025-02-07T11:41:40.375" v="24977" actId="20577"/>
          <ac:spMkLst>
            <pc:docMk/>
            <pc:sldMk cId="3704562467" sldId="2147483282"/>
            <ac:spMk id="10" creationId="{80E6EF29-A9F8-46B2-8DDE-5092A65E485F}"/>
          </ac:spMkLst>
        </pc:spChg>
      </pc:sldChg>
      <pc:sldChg chg="modSp add mod">
        <pc:chgData name="丁野 光理" userId="53361c9a-10d0-4268-b39c-a1f4044b33f4" providerId="ADAL" clId="{5FE0A016-0A93-4063-8F08-CD48630E8DBB}" dt="2025-02-07T11:46:46.934" v="25053" actId="6549"/>
        <pc:sldMkLst>
          <pc:docMk/>
          <pc:sldMk cId="215412893" sldId="2147483283"/>
        </pc:sldMkLst>
        <pc:spChg chg="mod">
          <ac:chgData name="丁野 光理" userId="53361c9a-10d0-4268-b39c-a1f4044b33f4" providerId="ADAL" clId="{5FE0A016-0A93-4063-8F08-CD48630E8DBB}" dt="2025-02-07T11:46:46.934" v="25053" actId="6549"/>
          <ac:spMkLst>
            <pc:docMk/>
            <pc:sldMk cId="215412893" sldId="2147483283"/>
            <ac:spMk id="4" creationId="{DD1CA6AB-0B11-22AF-99A0-D4CD074A0CDA}"/>
          </ac:spMkLst>
        </pc:spChg>
      </pc:sldChg>
      <pc:sldChg chg="delSp modSp add del mod">
        <pc:chgData name="丁野 光理" userId="53361c9a-10d0-4268-b39c-a1f4044b33f4" providerId="ADAL" clId="{5FE0A016-0A93-4063-8F08-CD48630E8DBB}" dt="2025-02-07T11:46:34.235" v="25036" actId="47"/>
        <pc:sldMkLst>
          <pc:docMk/>
          <pc:sldMk cId="3580095652" sldId="2147483284"/>
        </pc:sldMkLst>
        <pc:graphicFrameChg chg="del">
          <ac:chgData name="丁野 光理" userId="53361c9a-10d0-4268-b39c-a1f4044b33f4" providerId="ADAL" clId="{5FE0A016-0A93-4063-8F08-CD48630E8DBB}" dt="2025-02-07T11:45:20.461" v="25022" actId="478"/>
          <ac:graphicFrameMkLst>
            <pc:docMk/>
            <pc:sldMk cId="3580095652" sldId="2147483284"/>
            <ac:graphicFrameMk id="5" creationId="{6F20B3C2-7932-BA1D-3A4E-18BD6D75E285}"/>
          </ac:graphicFrameMkLst>
        </pc:graphicFrameChg>
        <pc:graphicFrameChg chg="mod modGraphic">
          <ac:chgData name="丁野 光理" userId="53361c9a-10d0-4268-b39c-a1f4044b33f4" providerId="ADAL" clId="{5FE0A016-0A93-4063-8F08-CD48630E8DBB}" dt="2025-02-07T11:46:07.654" v="25033" actId="14100"/>
          <ac:graphicFrameMkLst>
            <pc:docMk/>
            <pc:sldMk cId="3580095652" sldId="2147483284"/>
            <ac:graphicFrameMk id="13" creationId="{6B84DF48-8B2E-7483-E19E-A4C36C91AA03}"/>
          </ac:graphicFrameMkLst>
        </pc:graphicFrameChg>
      </pc:sldChg>
      <pc:sldChg chg="addSp delSp modSp add mod">
        <pc:chgData name="丁野 光理" userId="53361c9a-10d0-4268-b39c-a1f4044b33f4" providerId="ADAL" clId="{5FE0A016-0A93-4063-8F08-CD48630E8DBB}" dt="2025-02-07T11:42:21.712" v="24986" actId="14100"/>
        <pc:sldMkLst>
          <pc:docMk/>
          <pc:sldMk cId="872684900" sldId="2147483285"/>
        </pc:sldMkLst>
        <pc:spChg chg="add del mod">
          <ac:chgData name="丁野 光理" userId="53361c9a-10d0-4268-b39c-a1f4044b33f4" providerId="ADAL" clId="{5FE0A016-0A93-4063-8F08-CD48630E8DBB}" dt="2025-02-07T11:41:58.406" v="24980" actId="478"/>
          <ac:spMkLst>
            <pc:docMk/>
            <pc:sldMk cId="872684900" sldId="2147483285"/>
            <ac:spMk id="3" creationId="{24671854-A083-E120-9ECE-9BA4DEE13EA9}"/>
          </ac:spMkLst>
        </pc:spChg>
        <pc:spChg chg="mod">
          <ac:chgData name="丁野 光理" userId="53361c9a-10d0-4268-b39c-a1f4044b33f4" providerId="ADAL" clId="{5FE0A016-0A93-4063-8F08-CD48630E8DBB}" dt="2025-02-07T11:42:21.712" v="24986" actId="14100"/>
          <ac:spMkLst>
            <pc:docMk/>
            <pc:sldMk cId="872684900" sldId="2147483285"/>
            <ac:spMk id="9" creationId="{67FD600D-F712-D335-9DCD-5DDA57077E60}"/>
          </ac:spMkLst>
        </pc:spChg>
        <pc:spChg chg="mod">
          <ac:chgData name="丁野 光理" userId="53361c9a-10d0-4268-b39c-a1f4044b33f4" providerId="ADAL" clId="{5FE0A016-0A93-4063-8F08-CD48630E8DBB}" dt="2025-02-07T11:42:15.430" v="24983" actId="14100"/>
          <ac:spMkLst>
            <pc:docMk/>
            <pc:sldMk cId="872684900" sldId="2147483285"/>
            <ac:spMk id="10" creationId="{80E6EF29-A9F8-46B2-8DDE-5092A65E485F}"/>
          </ac:spMkLst>
        </pc:spChg>
      </pc:sldChg>
      <pc:sldChg chg="addSp delSp modSp add mod">
        <pc:chgData name="丁野 光理" userId="53361c9a-10d0-4268-b39c-a1f4044b33f4" providerId="ADAL" clId="{5FE0A016-0A93-4063-8F08-CD48630E8DBB}" dt="2025-02-07T11:42:38.115" v="24992" actId="14100"/>
        <pc:sldMkLst>
          <pc:docMk/>
          <pc:sldMk cId="223803015" sldId="2147483286"/>
        </pc:sldMkLst>
        <pc:spChg chg="add del mod">
          <ac:chgData name="丁野 光理" userId="53361c9a-10d0-4268-b39c-a1f4044b33f4" providerId="ADAL" clId="{5FE0A016-0A93-4063-8F08-CD48630E8DBB}" dt="2025-02-07T11:42:38.115" v="24992" actId="14100"/>
          <ac:spMkLst>
            <pc:docMk/>
            <pc:sldMk cId="223803015" sldId="2147483286"/>
            <ac:spMk id="9" creationId="{67FD600D-F712-D335-9DCD-5DDA57077E60}"/>
          </ac:spMkLst>
        </pc:spChg>
      </pc:sldChg>
      <pc:sldChg chg="addSp delSp modSp add mod">
        <pc:chgData name="丁野 光理" userId="53361c9a-10d0-4268-b39c-a1f4044b33f4" providerId="ADAL" clId="{5FE0A016-0A93-4063-8F08-CD48630E8DBB}" dt="2025-02-07T11:43:11.586" v="24999" actId="167"/>
        <pc:sldMkLst>
          <pc:docMk/>
          <pc:sldMk cId="3414319613" sldId="2147483287"/>
        </pc:sldMkLst>
        <pc:spChg chg="add mod ord">
          <ac:chgData name="丁野 光理" userId="53361c9a-10d0-4268-b39c-a1f4044b33f4" providerId="ADAL" clId="{5FE0A016-0A93-4063-8F08-CD48630E8DBB}" dt="2025-02-07T11:43:11.586" v="24999" actId="167"/>
          <ac:spMkLst>
            <pc:docMk/>
            <pc:sldMk cId="3414319613" sldId="2147483287"/>
            <ac:spMk id="3" creationId="{7A908D4C-AB64-4D6C-A9D7-43C0FEFAFC61}"/>
          </ac:spMkLst>
        </pc:spChg>
        <pc:spChg chg="del">
          <ac:chgData name="丁野 光理" userId="53361c9a-10d0-4268-b39c-a1f4044b33f4" providerId="ADAL" clId="{5FE0A016-0A93-4063-8F08-CD48630E8DBB}" dt="2025-02-07T11:43:09.490" v="24998" actId="478"/>
          <ac:spMkLst>
            <pc:docMk/>
            <pc:sldMk cId="3414319613" sldId="2147483287"/>
            <ac:spMk id="9" creationId="{67FD600D-F712-D335-9DCD-5DDA57077E60}"/>
          </ac:spMkLst>
        </pc:spChg>
        <pc:spChg chg="ord">
          <ac:chgData name="丁野 光理" userId="53361c9a-10d0-4268-b39c-a1f4044b33f4" providerId="ADAL" clId="{5FE0A016-0A93-4063-8F08-CD48630E8DBB}" dt="2025-02-07T11:43:08.185" v="24997" actId="167"/>
          <ac:spMkLst>
            <pc:docMk/>
            <pc:sldMk cId="3414319613" sldId="2147483287"/>
            <ac:spMk id="10" creationId="{80E6EF29-A9F8-46B2-8DDE-5092A65E485F}"/>
          </ac:spMkLst>
        </pc:spChg>
      </pc:sldChg>
      <pc:sldChg chg="modSp add mod">
        <pc:chgData name="丁野 光理" userId="53361c9a-10d0-4268-b39c-a1f4044b33f4" providerId="ADAL" clId="{5FE0A016-0A93-4063-8F08-CD48630E8DBB}" dt="2025-02-07T11:43:29.838" v="25002" actId="1076"/>
        <pc:sldMkLst>
          <pc:docMk/>
          <pc:sldMk cId="3915455286" sldId="2147483288"/>
        </pc:sldMkLst>
        <pc:spChg chg="mod">
          <ac:chgData name="丁野 光理" userId="53361c9a-10d0-4268-b39c-a1f4044b33f4" providerId="ADAL" clId="{5FE0A016-0A93-4063-8F08-CD48630E8DBB}" dt="2025-02-07T11:43:29.838" v="25002" actId="1076"/>
          <ac:spMkLst>
            <pc:docMk/>
            <pc:sldMk cId="3915455286" sldId="2147483288"/>
            <ac:spMk id="3" creationId="{7A908D4C-AB64-4D6C-A9D7-43C0FEFAFC61}"/>
          </ac:spMkLst>
        </pc:spChg>
      </pc:sldChg>
      <pc:sldChg chg="modSp add mod">
        <pc:chgData name="丁野 光理" userId="53361c9a-10d0-4268-b39c-a1f4044b33f4" providerId="ADAL" clId="{5FE0A016-0A93-4063-8F08-CD48630E8DBB}" dt="2025-02-07T11:43:48.068" v="25009" actId="14100"/>
        <pc:sldMkLst>
          <pc:docMk/>
          <pc:sldMk cId="1777383321" sldId="2147483289"/>
        </pc:sldMkLst>
        <pc:spChg chg="mod">
          <ac:chgData name="丁野 光理" userId="53361c9a-10d0-4268-b39c-a1f4044b33f4" providerId="ADAL" clId="{5FE0A016-0A93-4063-8F08-CD48630E8DBB}" dt="2025-02-07T11:43:48.068" v="25009" actId="14100"/>
          <ac:spMkLst>
            <pc:docMk/>
            <pc:sldMk cId="1777383321" sldId="2147483289"/>
            <ac:spMk id="3" creationId="{7A908D4C-AB64-4D6C-A9D7-43C0FEFAFC61}"/>
          </ac:spMkLst>
        </pc:spChg>
      </pc:sldChg>
      <pc:sldChg chg="addSp delSp modSp add mod">
        <pc:chgData name="丁野 光理" userId="53361c9a-10d0-4268-b39c-a1f4044b33f4" providerId="ADAL" clId="{5FE0A016-0A93-4063-8F08-CD48630E8DBB}" dt="2025-02-07T12:15:53.063" v="26185" actId="6549"/>
        <pc:sldMkLst>
          <pc:docMk/>
          <pc:sldMk cId="779576324" sldId="2147483290"/>
        </pc:sldMkLst>
        <pc:spChg chg="del">
          <ac:chgData name="丁野 光理" userId="53361c9a-10d0-4268-b39c-a1f4044b33f4" providerId="ADAL" clId="{5FE0A016-0A93-4063-8F08-CD48630E8DBB}" dt="2025-02-07T11:53:53.081" v="25475" actId="478"/>
          <ac:spMkLst>
            <pc:docMk/>
            <pc:sldMk cId="779576324" sldId="2147483290"/>
            <ac:spMk id="2" creationId="{A89627E6-1381-E3A4-FE8B-A4EB0C783D38}"/>
          </ac:spMkLst>
        </pc:spChg>
        <pc:spChg chg="del mod">
          <ac:chgData name="丁野 光理" userId="53361c9a-10d0-4268-b39c-a1f4044b33f4" providerId="ADAL" clId="{5FE0A016-0A93-4063-8F08-CD48630E8DBB}" dt="2025-02-07T11:53:45.489" v="25465" actId="478"/>
          <ac:spMkLst>
            <pc:docMk/>
            <pc:sldMk cId="779576324" sldId="2147483290"/>
            <ac:spMk id="4" creationId="{DD1CA6AB-0B11-22AF-99A0-D4CD074A0CDA}"/>
          </ac:spMkLst>
        </pc:spChg>
        <pc:spChg chg="add del mod">
          <ac:chgData name="丁野 光理" userId="53361c9a-10d0-4268-b39c-a1f4044b33f4" providerId="ADAL" clId="{5FE0A016-0A93-4063-8F08-CD48630E8DBB}" dt="2025-02-07T11:53:48.285" v="25467" actId="478"/>
          <ac:spMkLst>
            <pc:docMk/>
            <pc:sldMk cId="779576324" sldId="2147483290"/>
            <ac:spMk id="7" creationId="{C7425AAB-4B2E-1B44-F343-C8345F36CD74}"/>
          </ac:spMkLst>
        </pc:spChg>
        <pc:spChg chg="add mod">
          <ac:chgData name="丁野 光理" userId="53361c9a-10d0-4268-b39c-a1f4044b33f4" providerId="ADAL" clId="{5FE0A016-0A93-4063-8F08-CD48630E8DBB}" dt="2025-02-07T11:53:50.992" v="25474" actId="20577"/>
          <ac:spMkLst>
            <pc:docMk/>
            <pc:sldMk cId="779576324" sldId="2147483290"/>
            <ac:spMk id="8" creationId="{8D9C3CC9-DEFB-340A-4AF6-A5EE3526D94E}"/>
          </ac:spMkLst>
        </pc:spChg>
        <pc:spChg chg="add mod">
          <ac:chgData name="丁野 光理" userId="53361c9a-10d0-4268-b39c-a1f4044b33f4" providerId="ADAL" clId="{5FE0A016-0A93-4063-8F08-CD48630E8DBB}" dt="2025-02-07T11:54:06.425" v="25476"/>
          <ac:spMkLst>
            <pc:docMk/>
            <pc:sldMk cId="779576324" sldId="2147483290"/>
            <ac:spMk id="9" creationId="{813AD4D0-F7E6-497C-BF37-FF66806078EB}"/>
          </ac:spMkLst>
        </pc:spChg>
        <pc:graphicFrameChg chg="add mod modGraphic">
          <ac:chgData name="丁野 光理" userId="53361c9a-10d0-4268-b39c-a1f4044b33f4" providerId="ADAL" clId="{5FE0A016-0A93-4063-8F08-CD48630E8DBB}" dt="2025-02-07T12:06:32.012" v="26038"/>
          <ac:graphicFrameMkLst>
            <pc:docMk/>
            <pc:sldMk cId="779576324" sldId="2147483290"/>
            <ac:graphicFrameMk id="10" creationId="{4FD98E72-A567-AF59-FE8F-092BF3D4BF91}"/>
          </ac:graphicFrameMkLst>
        </pc:graphicFrameChg>
        <pc:graphicFrameChg chg="add mod">
          <ac:chgData name="丁野 光理" userId="53361c9a-10d0-4268-b39c-a1f4044b33f4" providerId="ADAL" clId="{5FE0A016-0A93-4063-8F08-CD48630E8DBB}" dt="2025-02-07T12:06:45.655" v="26041"/>
          <ac:graphicFrameMkLst>
            <pc:docMk/>
            <pc:sldMk cId="779576324" sldId="2147483290"/>
            <ac:graphicFrameMk id="11" creationId="{85746AE5-8A52-70B4-EB32-F5653E74C015}"/>
          </ac:graphicFrameMkLst>
        </pc:graphicFrameChg>
        <pc:graphicFrameChg chg="add del mod">
          <ac:chgData name="丁野 光理" userId="53361c9a-10d0-4268-b39c-a1f4044b33f4" providerId="ADAL" clId="{5FE0A016-0A93-4063-8F08-CD48630E8DBB}" dt="2025-02-07T12:06:54.797" v="26044" actId="478"/>
          <ac:graphicFrameMkLst>
            <pc:docMk/>
            <pc:sldMk cId="779576324" sldId="2147483290"/>
            <ac:graphicFrameMk id="12" creationId="{EC5F654D-A3D5-6625-44E2-B2E9E1EF5369}"/>
          </ac:graphicFrameMkLst>
        </pc:graphicFrameChg>
        <pc:graphicFrameChg chg="mod modGraphic">
          <ac:chgData name="丁野 光理" userId="53361c9a-10d0-4268-b39c-a1f4044b33f4" providerId="ADAL" clId="{5FE0A016-0A93-4063-8F08-CD48630E8DBB}" dt="2025-02-07T12:15:53.063" v="26185" actId="6549"/>
          <ac:graphicFrameMkLst>
            <pc:docMk/>
            <pc:sldMk cId="779576324" sldId="2147483290"/>
            <ac:graphicFrameMk id="13" creationId="{6B84DF48-8B2E-7483-E19E-A4C36C91AA03}"/>
          </ac:graphicFrameMkLst>
        </pc:graphicFrameChg>
      </pc:sldChg>
      <pc:sldChg chg="addSp delSp modSp add mod">
        <pc:chgData name="丁野 光理" userId="53361c9a-10d0-4268-b39c-a1f4044b33f4" providerId="ADAL" clId="{5FE0A016-0A93-4063-8F08-CD48630E8DBB}" dt="2025-02-07T12:16:58.234" v="26226" actId="20577"/>
        <pc:sldMkLst>
          <pc:docMk/>
          <pc:sldMk cId="4261027216" sldId="2147483291"/>
        </pc:sldMkLst>
        <pc:spChg chg="mod">
          <ac:chgData name="丁野 光理" userId="53361c9a-10d0-4268-b39c-a1f4044b33f4" providerId="ADAL" clId="{5FE0A016-0A93-4063-8F08-CD48630E8DBB}" dt="2025-02-07T11:53:34.243" v="25463" actId="1076"/>
          <ac:spMkLst>
            <pc:docMk/>
            <pc:sldMk cId="4261027216" sldId="2147483291"/>
            <ac:spMk id="2" creationId="{A89627E6-1381-E3A4-FE8B-A4EB0C783D38}"/>
          </ac:spMkLst>
        </pc:spChg>
        <pc:spChg chg="mod">
          <ac:chgData name="丁野 光理" userId="53361c9a-10d0-4268-b39c-a1f4044b33f4" providerId="ADAL" clId="{5FE0A016-0A93-4063-8F08-CD48630E8DBB}" dt="2025-02-07T11:53:36.290" v="25464" actId="1076"/>
          <ac:spMkLst>
            <pc:docMk/>
            <pc:sldMk cId="4261027216" sldId="2147483291"/>
            <ac:spMk id="4" creationId="{DD1CA6AB-0B11-22AF-99A0-D4CD074A0CDA}"/>
          </ac:spMkLst>
        </pc:spChg>
        <pc:graphicFrameChg chg="add del mod">
          <ac:chgData name="丁野 光理" userId="53361c9a-10d0-4268-b39c-a1f4044b33f4" providerId="ADAL" clId="{5FE0A016-0A93-4063-8F08-CD48630E8DBB}" dt="2025-02-07T11:54:41.255" v="25481" actId="478"/>
          <ac:graphicFrameMkLst>
            <pc:docMk/>
            <pc:sldMk cId="4261027216" sldId="2147483291"/>
            <ac:graphicFrameMk id="5" creationId="{B2F95688-4C62-19F3-ED14-AB0E08C152D3}"/>
          </ac:graphicFrameMkLst>
        </pc:graphicFrameChg>
        <pc:graphicFrameChg chg="mod modGraphic">
          <ac:chgData name="丁野 光理" userId="53361c9a-10d0-4268-b39c-a1f4044b33f4" providerId="ADAL" clId="{5FE0A016-0A93-4063-8F08-CD48630E8DBB}" dt="2025-02-07T12:16:58.234" v="26226" actId="20577"/>
          <ac:graphicFrameMkLst>
            <pc:docMk/>
            <pc:sldMk cId="4261027216" sldId="2147483291"/>
            <ac:graphicFrameMk id="13" creationId="{6B84DF48-8B2E-7483-E19E-A4C36C91AA03}"/>
          </ac:graphicFrameMkLst>
        </pc:graphicFrameChg>
      </pc:sldChg>
      <pc:sldMasterChg chg="modSp mod modSldLayout">
        <pc:chgData name="丁野 光理" userId="53361c9a-10d0-4268-b39c-a1f4044b33f4" providerId="ADAL" clId="{5FE0A016-0A93-4063-8F08-CD48630E8DBB}" dt="2025-01-31T12:39:26.214" v="509" actId="207"/>
        <pc:sldMasterMkLst>
          <pc:docMk/>
          <pc:sldMasterMk cId="2162003807" sldId="2147483755"/>
        </pc:sldMasterMkLst>
        <pc:spChg chg="mod">
          <ac:chgData name="丁野 光理" userId="53361c9a-10d0-4268-b39c-a1f4044b33f4" providerId="ADAL" clId="{5FE0A016-0A93-4063-8F08-CD48630E8DBB}" dt="2025-01-29T13:08:59.748" v="200" actId="20577"/>
          <ac:spMkLst>
            <pc:docMk/>
            <pc:sldMasterMk cId="2162003807" sldId="2147483755"/>
            <ac:spMk id="3" creationId="{87D0FF6D-A520-87F6-851A-32670B6B9442}"/>
          </ac:spMkLst>
        </pc:spChg>
        <pc:sldLayoutChg chg="modSp mod">
          <pc:chgData name="丁野 光理" userId="53361c9a-10d0-4268-b39c-a1f4044b33f4" providerId="ADAL" clId="{5FE0A016-0A93-4063-8F08-CD48630E8DBB}" dt="2025-01-29T13:09:02.472" v="202" actId="20577"/>
          <pc:sldLayoutMkLst>
            <pc:docMk/>
            <pc:sldMasterMk cId="2162003807" sldId="2147483755"/>
            <pc:sldLayoutMk cId="291536866" sldId="2147483756"/>
          </pc:sldLayoutMkLst>
          <pc:spChg chg="mod">
            <ac:chgData name="丁野 光理" userId="53361c9a-10d0-4268-b39c-a1f4044b33f4" providerId="ADAL" clId="{5FE0A016-0A93-4063-8F08-CD48630E8DBB}" dt="2025-01-29T13:09:02.472" v="202" actId="20577"/>
            <ac:spMkLst>
              <pc:docMk/>
              <pc:sldMasterMk cId="2162003807" sldId="2147483755"/>
              <pc:sldLayoutMk cId="291536866" sldId="2147483756"/>
              <ac:spMk id="2" creationId="{A3FB6309-E751-E5DF-C7C2-D7D80856905C}"/>
            </ac:spMkLst>
          </pc:spChg>
        </pc:sldLayoutChg>
        <pc:sldLayoutChg chg="modSp">
          <pc:chgData name="丁野 光理" userId="53361c9a-10d0-4268-b39c-a1f4044b33f4" providerId="ADAL" clId="{5FE0A016-0A93-4063-8F08-CD48630E8DBB}" dt="2025-01-31T12:39:26.214" v="509" actId="207"/>
          <pc:sldLayoutMkLst>
            <pc:docMk/>
            <pc:sldMasterMk cId="2162003807" sldId="2147483755"/>
            <pc:sldLayoutMk cId="3034404116" sldId="2147483761"/>
          </pc:sldLayoutMkLst>
          <pc:spChg chg="mod">
            <ac:chgData name="丁野 光理" userId="53361c9a-10d0-4268-b39c-a1f4044b33f4" providerId="ADAL" clId="{5FE0A016-0A93-4063-8F08-CD48630E8DBB}" dt="2025-01-31T12:39:26.214" v="509" actId="207"/>
            <ac:spMkLst>
              <pc:docMk/>
              <pc:sldMasterMk cId="2162003807" sldId="2147483755"/>
              <pc:sldLayoutMk cId="3034404116" sldId="2147483761"/>
              <ac:spMk id="9" creationId="{962A254E-2854-48FA-8F65-0066AC7FF3BC}"/>
            </ac:spMkLst>
          </pc:spChg>
        </pc:sldLayoutChg>
      </pc:sldMasterChg>
    </pc:docChg>
  </pc:docChgLst>
  <pc:docChgLst>
    <pc:chgData name="内山 裕弥" userId="8d34b9d0-ec49-418d-b1de-019cf6b56da5" providerId="ADAL" clId="{86642F27-0B00-45EF-9B0A-501880149814}"/>
    <pc:docChg chg="custSel modSld">
      <pc:chgData name="内山 裕弥" userId="8d34b9d0-ec49-418d-b1de-019cf6b56da5" providerId="ADAL" clId="{86642F27-0B00-45EF-9B0A-501880149814}" dt="2025-02-10T02:59:19.422" v="123"/>
      <pc:docMkLst>
        <pc:docMk/>
      </pc:docMkLst>
      <pc:sldChg chg="modSp mod addCm">
        <pc:chgData name="内山 裕弥" userId="8d34b9d0-ec49-418d-b1de-019cf6b56da5" providerId="ADAL" clId="{86642F27-0B00-45EF-9B0A-501880149814}" dt="2025-02-10T02:59:19.422" v="123"/>
        <pc:sldMkLst>
          <pc:docMk/>
          <pc:sldMk cId="1575785639" sldId="2147378716"/>
        </pc:sldMkLst>
        <pc:spChg chg="mod">
          <ac:chgData name="内山 裕弥" userId="8d34b9d0-ec49-418d-b1de-019cf6b56da5" providerId="ADAL" clId="{86642F27-0B00-45EF-9B0A-501880149814}" dt="2025-02-10T02:56:03.250" v="119"/>
          <ac:spMkLst>
            <pc:docMk/>
            <pc:sldMk cId="1575785639" sldId="2147378716"/>
            <ac:spMk id="7" creationId="{753EDDE2-9BD8-2942-AFF5-CB0966A2B583}"/>
          </ac:spMkLst>
        </pc:spChg>
        <pc:spChg chg="mod">
          <ac:chgData name="内山 裕弥" userId="8d34b9d0-ec49-418d-b1de-019cf6b56da5" providerId="ADAL" clId="{86642F27-0B00-45EF-9B0A-501880149814}" dt="2025-02-10T02:59:11.144" v="122" actId="20577"/>
          <ac:spMkLst>
            <pc:docMk/>
            <pc:sldMk cId="1575785639" sldId="2147378716"/>
            <ac:spMk id="9" creationId="{F7DA7227-3724-60C8-1F06-5A8A2F4AF1F8}"/>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86642F27-0B00-45EF-9B0A-501880149814}" dt="2025-02-10T02:59:19.422" v="123"/>
              <pc2:cmMkLst xmlns:pc2="http://schemas.microsoft.com/office/powerpoint/2019/9/main/command">
                <pc:docMk/>
                <pc:sldMk cId="1575785639" sldId="2147378716"/>
                <pc2:cmMk id="{4D4DBC99-6F60-405E-92F9-981301E74403}"/>
              </pc2:cmMkLst>
            </pc226:cmChg>
          </p:ext>
        </pc:extLst>
      </pc:sldChg>
      <pc:sldChg chg="modSp mod">
        <pc:chgData name="内山 裕弥" userId="8d34b9d0-ec49-418d-b1de-019cf6b56da5" providerId="ADAL" clId="{86642F27-0B00-45EF-9B0A-501880149814}" dt="2025-02-10T02:49:39.153" v="109" actId="20577"/>
        <pc:sldMkLst>
          <pc:docMk/>
          <pc:sldMk cId="2433251148" sldId="2147378730"/>
        </pc:sldMkLst>
        <pc:spChg chg="mod">
          <ac:chgData name="内山 裕弥" userId="8d34b9d0-ec49-418d-b1de-019cf6b56da5" providerId="ADAL" clId="{86642F27-0B00-45EF-9B0A-501880149814}" dt="2025-02-10T02:49:14.475" v="106"/>
          <ac:spMkLst>
            <pc:docMk/>
            <pc:sldMk cId="2433251148" sldId="2147378730"/>
            <ac:spMk id="35" creationId="{031691BD-8701-682B-2568-3E02BCFA60E2}"/>
          </ac:spMkLst>
        </pc:spChg>
        <pc:spChg chg="mod">
          <ac:chgData name="内山 裕弥" userId="8d34b9d0-ec49-418d-b1de-019cf6b56da5" providerId="ADAL" clId="{86642F27-0B00-45EF-9B0A-501880149814}" dt="2025-02-10T02:49:39.153" v="109" actId="20577"/>
          <ac:spMkLst>
            <pc:docMk/>
            <pc:sldMk cId="2433251148" sldId="2147378730"/>
            <ac:spMk id="36" creationId="{7EE4361D-BD43-605B-F877-5947AB823C05}"/>
          </ac:spMkLst>
        </pc:spChg>
      </pc:sldChg>
      <pc:sldChg chg="addCm">
        <pc:chgData name="内山 裕弥" userId="8d34b9d0-ec49-418d-b1de-019cf6b56da5" providerId="ADAL" clId="{86642F27-0B00-45EF-9B0A-501880149814}" dt="2025-02-10T02:54:27.537" v="116"/>
        <pc:sldMkLst>
          <pc:docMk/>
          <pc:sldMk cId="165971776" sldId="2147378740"/>
        </pc:sldMkLst>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86642F27-0B00-45EF-9B0A-501880149814}" dt="2025-02-10T02:54:27.537" v="116"/>
              <pc2:cmMkLst xmlns:pc2="http://schemas.microsoft.com/office/powerpoint/2019/9/main/command">
                <pc:docMk/>
                <pc:sldMk cId="165971776" sldId="2147378740"/>
                <pc2:cmMk id="{667FB5B2-3EE3-4293-B702-747DDF633691}"/>
              </pc2:cmMkLst>
            </pc226:cmChg>
          </p:ext>
        </pc:extLst>
      </pc:sldChg>
      <pc:sldChg chg="addSp modSp mod">
        <pc:chgData name="内山 裕弥" userId="8d34b9d0-ec49-418d-b1de-019cf6b56da5" providerId="ADAL" clId="{86642F27-0B00-45EF-9B0A-501880149814}" dt="2025-02-10T02:55:06.574" v="118" actId="166"/>
        <pc:sldMkLst>
          <pc:docMk/>
          <pc:sldMk cId="2929259541" sldId="2147378749"/>
        </pc:sldMkLst>
        <pc:spChg chg="add mod">
          <ac:chgData name="内山 裕弥" userId="8d34b9d0-ec49-418d-b1de-019cf6b56da5" providerId="ADAL" clId="{86642F27-0B00-45EF-9B0A-501880149814}" dt="2025-02-10T02:54:53.180" v="117"/>
          <ac:spMkLst>
            <pc:docMk/>
            <pc:sldMk cId="2929259541" sldId="2147378749"/>
            <ac:spMk id="3" creationId="{8332A525-DDC1-11F2-8759-01E1CF15EB29}"/>
          </ac:spMkLst>
        </pc:spChg>
        <pc:spChg chg="add mod">
          <ac:chgData name="内山 裕弥" userId="8d34b9d0-ec49-418d-b1de-019cf6b56da5" providerId="ADAL" clId="{86642F27-0B00-45EF-9B0A-501880149814}" dt="2025-02-10T02:54:53.180" v="117"/>
          <ac:spMkLst>
            <pc:docMk/>
            <pc:sldMk cId="2929259541" sldId="2147378749"/>
            <ac:spMk id="6" creationId="{10A284F2-0BCD-E1EC-2D8B-102406DF0E2C}"/>
          </ac:spMkLst>
        </pc:spChg>
        <pc:spChg chg="ord">
          <ac:chgData name="内山 裕弥" userId="8d34b9d0-ec49-418d-b1de-019cf6b56da5" providerId="ADAL" clId="{86642F27-0B00-45EF-9B0A-501880149814}" dt="2025-02-10T02:55:06.574" v="118" actId="166"/>
          <ac:spMkLst>
            <pc:docMk/>
            <pc:sldMk cId="2929259541" sldId="2147378749"/>
            <ac:spMk id="7" creationId="{4CC34C06-2770-D52E-887C-60A7718811AC}"/>
          </ac:spMkLst>
        </pc:spChg>
        <pc:spChg chg="ord">
          <ac:chgData name="内山 裕弥" userId="8d34b9d0-ec49-418d-b1de-019cf6b56da5" providerId="ADAL" clId="{86642F27-0B00-45EF-9B0A-501880149814}" dt="2025-02-10T02:55:06.574" v="118" actId="166"/>
          <ac:spMkLst>
            <pc:docMk/>
            <pc:sldMk cId="2929259541" sldId="2147378749"/>
            <ac:spMk id="13" creationId="{B43B6931-1CB3-5574-1F6D-B4058353AD33}"/>
          </ac:spMkLst>
        </pc:spChg>
        <pc:picChg chg="ord">
          <ac:chgData name="内山 裕弥" userId="8d34b9d0-ec49-418d-b1de-019cf6b56da5" providerId="ADAL" clId="{86642F27-0B00-45EF-9B0A-501880149814}" dt="2025-02-10T02:53:58.882" v="115" actId="167"/>
          <ac:picMkLst>
            <pc:docMk/>
            <pc:sldMk cId="2929259541" sldId="2147378749"/>
            <ac:picMk id="4" creationId="{45F9E099-4110-7BC2-05FA-9F23A7A33434}"/>
          </ac:picMkLst>
        </pc:picChg>
        <pc:cxnChg chg="add mod">
          <ac:chgData name="内山 裕弥" userId="8d34b9d0-ec49-418d-b1de-019cf6b56da5" providerId="ADAL" clId="{86642F27-0B00-45EF-9B0A-501880149814}" dt="2025-02-10T02:54:53.180" v="117"/>
          <ac:cxnSpMkLst>
            <pc:docMk/>
            <pc:sldMk cId="2929259541" sldId="2147378749"/>
            <ac:cxnSpMk id="8" creationId="{2D5618F0-7B79-EEF0-F99B-4A19124E4BE0}"/>
          </ac:cxnSpMkLst>
        </pc:cxnChg>
        <pc:cxnChg chg="ord">
          <ac:chgData name="内山 裕弥" userId="8d34b9d0-ec49-418d-b1de-019cf6b56da5" providerId="ADAL" clId="{86642F27-0B00-45EF-9B0A-501880149814}" dt="2025-02-10T02:55:06.574" v="118" actId="166"/>
          <ac:cxnSpMkLst>
            <pc:docMk/>
            <pc:sldMk cId="2929259541" sldId="2147378749"/>
            <ac:cxnSpMk id="14" creationId="{3AA73118-94F8-70C1-35F7-26CD5AF7F242}"/>
          </ac:cxnSpMkLst>
        </pc:cxnChg>
      </pc:sldChg>
      <pc:sldChg chg="addSp delSp modSp mod">
        <pc:chgData name="内山 裕弥" userId="8d34b9d0-ec49-418d-b1de-019cf6b56da5" providerId="ADAL" clId="{86642F27-0B00-45EF-9B0A-501880149814}" dt="2025-02-10T02:50:38.127" v="111"/>
        <pc:sldMkLst>
          <pc:docMk/>
          <pc:sldMk cId="1436977306" sldId="2147378771"/>
        </pc:sldMkLst>
        <pc:spChg chg="add mod">
          <ac:chgData name="内山 裕弥" userId="8d34b9d0-ec49-418d-b1de-019cf6b56da5" providerId="ADAL" clId="{86642F27-0B00-45EF-9B0A-501880149814}" dt="2025-02-10T02:50:38.127" v="111"/>
          <ac:spMkLst>
            <pc:docMk/>
            <pc:sldMk cId="1436977306" sldId="2147378771"/>
            <ac:spMk id="3" creationId="{FC95606A-CF49-B0E9-10BB-C733F70D7D75}"/>
          </ac:spMkLst>
        </pc:spChg>
        <pc:spChg chg="add mod">
          <ac:chgData name="内山 裕弥" userId="8d34b9d0-ec49-418d-b1de-019cf6b56da5" providerId="ADAL" clId="{86642F27-0B00-45EF-9B0A-501880149814}" dt="2025-02-10T02:50:38.127" v="111"/>
          <ac:spMkLst>
            <pc:docMk/>
            <pc:sldMk cId="1436977306" sldId="2147378771"/>
            <ac:spMk id="4" creationId="{690A6CCB-2507-E699-A307-5C4989693FDE}"/>
          </ac:spMkLst>
        </pc:spChg>
        <pc:spChg chg="del">
          <ac:chgData name="内山 裕弥" userId="8d34b9d0-ec49-418d-b1de-019cf6b56da5" providerId="ADAL" clId="{86642F27-0B00-45EF-9B0A-501880149814}" dt="2025-02-10T02:50:37.916" v="110" actId="478"/>
          <ac:spMkLst>
            <pc:docMk/>
            <pc:sldMk cId="1436977306" sldId="2147378771"/>
            <ac:spMk id="35" creationId="{031691BD-8701-682B-2568-3E02BCFA60E2}"/>
          </ac:spMkLst>
        </pc:spChg>
        <pc:spChg chg="del">
          <ac:chgData name="内山 裕弥" userId="8d34b9d0-ec49-418d-b1de-019cf6b56da5" providerId="ADAL" clId="{86642F27-0B00-45EF-9B0A-501880149814}" dt="2025-02-10T02:50:37.916" v="110" actId="478"/>
          <ac:spMkLst>
            <pc:docMk/>
            <pc:sldMk cId="1436977306" sldId="2147378771"/>
            <ac:spMk id="36" creationId="{7EE4361D-BD43-605B-F877-5947AB823C05}"/>
          </ac:spMkLst>
        </pc:spChg>
      </pc:sldChg>
      <pc:sldChg chg="addSp delSp modSp mod">
        <pc:chgData name="内山 裕弥" userId="8d34b9d0-ec49-418d-b1de-019cf6b56da5" providerId="ADAL" clId="{86642F27-0B00-45EF-9B0A-501880149814}" dt="2025-02-10T02:50:58.143" v="114"/>
        <pc:sldMkLst>
          <pc:docMk/>
          <pc:sldMk cId="3808814701" sldId="2147378772"/>
        </pc:sldMkLst>
        <pc:spChg chg="add mod">
          <ac:chgData name="内山 裕弥" userId="8d34b9d0-ec49-418d-b1de-019cf6b56da5" providerId="ADAL" clId="{86642F27-0B00-45EF-9B0A-501880149814}" dt="2025-02-10T02:50:58.143" v="114"/>
          <ac:spMkLst>
            <pc:docMk/>
            <pc:sldMk cId="3808814701" sldId="2147378772"/>
            <ac:spMk id="6" creationId="{9E2DAF2E-472C-510F-05DE-7518ACBD26E9}"/>
          </ac:spMkLst>
        </pc:spChg>
        <pc:spChg chg="add mod">
          <ac:chgData name="内山 裕弥" userId="8d34b9d0-ec49-418d-b1de-019cf6b56da5" providerId="ADAL" clId="{86642F27-0B00-45EF-9B0A-501880149814}" dt="2025-02-10T02:50:58.143" v="114"/>
          <ac:spMkLst>
            <pc:docMk/>
            <pc:sldMk cId="3808814701" sldId="2147378772"/>
            <ac:spMk id="7" creationId="{5828CE01-E065-D101-86CE-9AC102FC5CE2}"/>
          </ac:spMkLst>
        </pc:spChg>
        <pc:spChg chg="del">
          <ac:chgData name="内山 裕弥" userId="8d34b9d0-ec49-418d-b1de-019cf6b56da5" providerId="ADAL" clId="{86642F27-0B00-45EF-9B0A-501880149814}" dt="2025-02-10T02:50:57.873" v="113" actId="478"/>
          <ac:spMkLst>
            <pc:docMk/>
            <pc:sldMk cId="3808814701" sldId="2147378772"/>
            <ac:spMk id="35" creationId="{031691BD-8701-682B-2568-3E02BCFA60E2}"/>
          </ac:spMkLst>
        </pc:spChg>
        <pc:spChg chg="del">
          <ac:chgData name="内山 裕弥" userId="8d34b9d0-ec49-418d-b1de-019cf6b56da5" providerId="ADAL" clId="{86642F27-0B00-45EF-9B0A-501880149814}" dt="2025-02-10T02:50:57.873" v="113" actId="478"/>
          <ac:spMkLst>
            <pc:docMk/>
            <pc:sldMk cId="3808814701" sldId="2147378772"/>
            <ac:spMk id="36" creationId="{7EE4361D-BD43-605B-F877-5947AB823C05}"/>
          </ac:spMkLst>
        </pc:spChg>
        <pc:graphicFrameChg chg="ord">
          <ac:chgData name="内山 裕弥" userId="8d34b9d0-ec49-418d-b1de-019cf6b56da5" providerId="ADAL" clId="{86642F27-0B00-45EF-9B0A-501880149814}" dt="2025-02-10T02:50:54.795" v="112" actId="167"/>
          <ac:graphicFrameMkLst>
            <pc:docMk/>
            <pc:sldMk cId="3808814701" sldId="2147378772"/>
            <ac:graphicFrameMk id="4" creationId="{E6B03505-EDB8-244C-E39B-4DFF4A9A0927}"/>
          </ac:graphicFrameMkLst>
        </pc:graphicFrameChg>
      </pc:sldChg>
    </pc:docChg>
  </pc:docChgLst>
  <pc:docChgLst>
    <pc:chgData name="椿優里" clId="Web-{E2606989-553E-4A53-BC64-32801A9BAB1E}"/>
    <pc:docChg chg="delSld modSection">
      <pc:chgData name="椿優里" userId="" providerId="" clId="Web-{E2606989-553E-4A53-BC64-32801A9BAB1E}" dt="2024-04-18T00:22:09.514" v="0"/>
      <pc:docMkLst>
        <pc:docMk/>
      </pc:docMkLst>
      <pc:sldChg chg="del">
        <pc:chgData name="椿優里" userId="" providerId="" clId="Web-{E2606989-553E-4A53-BC64-32801A9BAB1E}" dt="2024-04-18T00:22:09.514" v="0"/>
        <pc:sldMkLst>
          <pc:docMk/>
          <pc:sldMk cId="4084490342" sldId="2147378676"/>
        </pc:sldMkLst>
      </pc:sldChg>
    </pc:docChg>
  </pc:docChgLst>
  <pc:docChgLst>
    <pc:chgData name="神谷 聖二" userId="517b2053-71b1-4492-bbd9-c8e4b39141e4" providerId="ADAL" clId="{AAB0666E-E105-4B86-BD4F-FDD5F3321F12}"/>
    <pc:docChg chg="undo custSel modSld">
      <pc:chgData name="神谷 聖二" userId="517b2053-71b1-4492-bbd9-c8e4b39141e4" providerId="ADAL" clId="{AAB0666E-E105-4B86-BD4F-FDD5F3321F12}" dt="2024-07-12T07:44:53.755" v="806" actId="1036"/>
      <pc:docMkLst>
        <pc:docMk/>
      </pc:docMkLst>
      <pc:sldChg chg="modSp mod">
        <pc:chgData name="神谷 聖二" userId="517b2053-71b1-4492-bbd9-c8e4b39141e4" providerId="ADAL" clId="{AAB0666E-E105-4B86-BD4F-FDD5F3321F12}" dt="2024-07-12T07:43:28.609" v="804" actId="20577"/>
        <pc:sldMkLst>
          <pc:docMk/>
          <pc:sldMk cId="2355786622" sldId="2146847413"/>
        </pc:sldMkLst>
        <pc:spChg chg="mod">
          <ac:chgData name="神谷 聖二" userId="517b2053-71b1-4492-bbd9-c8e4b39141e4" providerId="ADAL" clId="{AAB0666E-E105-4B86-BD4F-FDD5F3321F12}" dt="2024-07-12T07:43:28.609" v="804" actId="20577"/>
          <ac:spMkLst>
            <pc:docMk/>
            <pc:sldMk cId="2355786622" sldId="2146847413"/>
            <ac:spMk id="3" creationId="{C57F1E1F-3521-45C1-9CD2-360C7A8ED649}"/>
          </ac:spMkLst>
        </pc:spChg>
      </pc:sldChg>
      <pc:sldChg chg="modSp mod">
        <pc:chgData name="神谷 聖二" userId="517b2053-71b1-4492-bbd9-c8e4b39141e4" providerId="ADAL" clId="{AAB0666E-E105-4B86-BD4F-FDD5F3321F12}" dt="2024-07-12T07:36:54.657" v="752" actId="20577"/>
        <pc:sldMkLst>
          <pc:docMk/>
          <pc:sldMk cId="1869527861" sldId="2147378640"/>
        </pc:sldMkLst>
        <pc:spChg chg="mod">
          <ac:chgData name="神谷 聖二" userId="517b2053-71b1-4492-bbd9-c8e4b39141e4" providerId="ADAL" clId="{AAB0666E-E105-4B86-BD4F-FDD5F3321F12}" dt="2024-07-12T07:36:54.657" v="752" actId="20577"/>
          <ac:spMkLst>
            <pc:docMk/>
            <pc:sldMk cId="1869527861" sldId="2147378640"/>
            <ac:spMk id="10" creationId="{80E6EF29-A9F8-46B2-8DDE-5092A65E485F}"/>
          </ac:spMkLst>
        </pc:spChg>
      </pc:sldChg>
      <pc:sldChg chg="modSp mod">
        <pc:chgData name="神谷 聖二" userId="517b2053-71b1-4492-bbd9-c8e4b39141e4" providerId="ADAL" clId="{AAB0666E-E105-4B86-BD4F-FDD5F3321F12}" dt="2024-07-12T07:37:01.612" v="753" actId="20577"/>
        <pc:sldMkLst>
          <pc:docMk/>
          <pc:sldMk cId="2854292604" sldId="2147378652"/>
        </pc:sldMkLst>
        <pc:spChg chg="mod">
          <ac:chgData name="神谷 聖二" userId="517b2053-71b1-4492-bbd9-c8e4b39141e4" providerId="ADAL" clId="{AAB0666E-E105-4B86-BD4F-FDD5F3321F12}" dt="2024-07-12T07:37:01.612" v="753" actId="20577"/>
          <ac:spMkLst>
            <pc:docMk/>
            <pc:sldMk cId="2854292604" sldId="2147378652"/>
            <ac:spMk id="10" creationId="{3FBABAD3-5FB4-0114-9B7B-795B1762F04A}"/>
          </ac:spMkLst>
        </pc:spChg>
      </pc:sldChg>
      <pc:sldChg chg="modSp mod">
        <pc:chgData name="神谷 聖二" userId="517b2053-71b1-4492-bbd9-c8e4b39141e4" providerId="ADAL" clId="{AAB0666E-E105-4B86-BD4F-FDD5F3321F12}" dt="2024-07-12T07:37:12.016" v="754" actId="14100"/>
        <pc:sldMkLst>
          <pc:docMk/>
          <pc:sldMk cId="1245055399" sldId="2147378653"/>
        </pc:sldMkLst>
        <pc:spChg chg="mod">
          <ac:chgData name="神谷 聖二" userId="517b2053-71b1-4492-bbd9-c8e4b39141e4" providerId="ADAL" clId="{AAB0666E-E105-4B86-BD4F-FDD5F3321F12}" dt="2024-07-12T07:37:12.016" v="754" actId="14100"/>
          <ac:spMkLst>
            <pc:docMk/>
            <pc:sldMk cId="1245055399" sldId="2147378653"/>
            <ac:spMk id="9" creationId="{B79A90FB-8F87-BD8C-CDDB-781282C516A5}"/>
          </ac:spMkLst>
        </pc:spChg>
        <pc:spChg chg="mod">
          <ac:chgData name="神谷 聖二" userId="517b2053-71b1-4492-bbd9-c8e4b39141e4" providerId="ADAL" clId="{AAB0666E-E105-4B86-BD4F-FDD5F3321F12}" dt="2024-07-12T07:36:47.089" v="751" actId="20577"/>
          <ac:spMkLst>
            <pc:docMk/>
            <pc:sldMk cId="1245055399" sldId="2147378653"/>
            <ac:spMk id="10" creationId="{F4A72386-C363-032B-B0E0-9FB1031C9979}"/>
          </ac:spMkLst>
        </pc:spChg>
      </pc:sldChg>
      <pc:sldChg chg="modSp mod">
        <pc:chgData name="神谷 聖二" userId="517b2053-71b1-4492-bbd9-c8e4b39141e4" providerId="ADAL" clId="{AAB0666E-E105-4B86-BD4F-FDD5F3321F12}" dt="2024-07-12T07:44:53.755" v="806" actId="1036"/>
        <pc:sldMkLst>
          <pc:docMk/>
          <pc:sldMk cId="1132711422" sldId="2147378657"/>
        </pc:sldMkLst>
        <pc:graphicFrameChg chg="mod modGraphic">
          <ac:chgData name="神谷 聖二" userId="517b2053-71b1-4492-bbd9-c8e4b39141e4" providerId="ADAL" clId="{AAB0666E-E105-4B86-BD4F-FDD5F3321F12}" dt="2024-07-12T07:44:53.755" v="806" actId="1036"/>
          <ac:graphicFrameMkLst>
            <pc:docMk/>
            <pc:sldMk cId="1132711422" sldId="2147378657"/>
            <ac:graphicFrameMk id="13" creationId="{6B84DF48-8B2E-7483-E19E-A4C36C91AA03}"/>
          </ac:graphicFrameMkLst>
        </pc:graphicFrameChg>
      </pc:sldChg>
      <pc:sldChg chg="modSp mod">
        <pc:chgData name="神谷 聖二" userId="517b2053-71b1-4492-bbd9-c8e4b39141e4" providerId="ADAL" clId="{AAB0666E-E105-4B86-BD4F-FDD5F3321F12}" dt="2024-07-12T07:36:19.395" v="750" actId="20577"/>
        <pc:sldMkLst>
          <pc:docMk/>
          <pc:sldMk cId="2807815468" sldId="2147378693"/>
        </pc:sldMkLst>
        <pc:spChg chg="mod">
          <ac:chgData name="神谷 聖二" userId="517b2053-71b1-4492-bbd9-c8e4b39141e4" providerId="ADAL" clId="{AAB0666E-E105-4B86-BD4F-FDD5F3321F12}" dt="2024-07-12T07:36:08.860" v="734" actId="20577"/>
          <ac:spMkLst>
            <pc:docMk/>
            <pc:sldMk cId="2807815468" sldId="2147378693"/>
            <ac:spMk id="4" creationId="{6F71EB31-C9B7-4098-9EFB-8216961CCBDC}"/>
          </ac:spMkLst>
        </pc:spChg>
        <pc:spChg chg="mod">
          <ac:chgData name="神谷 聖二" userId="517b2053-71b1-4492-bbd9-c8e4b39141e4" providerId="ADAL" clId="{AAB0666E-E105-4B86-BD4F-FDD5F3321F12}" dt="2024-07-12T07:36:19.395" v="750" actId="20577"/>
          <ac:spMkLst>
            <pc:docMk/>
            <pc:sldMk cId="2807815468" sldId="2147378693"/>
            <ac:spMk id="8" creationId="{9B252D3D-6288-96C4-6851-3CB5CABE93B0}"/>
          </ac:spMkLst>
        </pc:spChg>
        <pc:spChg chg="mod">
          <ac:chgData name="神谷 聖二" userId="517b2053-71b1-4492-bbd9-c8e4b39141e4" providerId="ADAL" clId="{AAB0666E-E105-4B86-BD4F-FDD5F3321F12}" dt="2024-07-12T07:36:14.872" v="743" actId="20577"/>
          <ac:spMkLst>
            <pc:docMk/>
            <pc:sldMk cId="2807815468" sldId="2147378693"/>
            <ac:spMk id="14" creationId="{5BC8482B-CF2B-219A-8F08-419E3A5FC47F}"/>
          </ac:spMkLst>
        </pc:spChg>
        <pc:spChg chg="mod">
          <ac:chgData name="神谷 聖二" userId="517b2053-71b1-4492-bbd9-c8e4b39141e4" providerId="ADAL" clId="{AAB0666E-E105-4B86-BD4F-FDD5F3321F12}" dt="2024-07-12T07:36:04.082" v="727" actId="20577"/>
          <ac:spMkLst>
            <pc:docMk/>
            <pc:sldMk cId="2807815468" sldId="2147378693"/>
            <ac:spMk id="17" creationId="{C9C43BC8-810D-E426-4335-300BCA945BC0}"/>
          </ac:spMkLst>
        </pc:spChg>
        <pc:spChg chg="mod">
          <ac:chgData name="神谷 聖二" userId="517b2053-71b1-4492-bbd9-c8e4b39141e4" providerId="ADAL" clId="{AAB0666E-E105-4B86-BD4F-FDD5F3321F12}" dt="2024-07-12T07:35:59.743" v="720" actId="20577"/>
          <ac:spMkLst>
            <pc:docMk/>
            <pc:sldMk cId="2807815468" sldId="2147378693"/>
            <ac:spMk id="20" creationId="{B5AB1C34-EB45-F138-564F-B61D792CEA4E}"/>
          </ac:spMkLst>
        </pc:spChg>
      </pc:sldChg>
      <pc:sldChg chg="modSp mod">
        <pc:chgData name="神谷 聖二" userId="517b2053-71b1-4492-bbd9-c8e4b39141e4" providerId="ADAL" clId="{AAB0666E-E105-4B86-BD4F-FDD5F3321F12}" dt="2024-07-12T07:28:56.557" v="698" actId="14734"/>
        <pc:sldMkLst>
          <pc:docMk/>
          <pc:sldMk cId="190838501" sldId="2147378699"/>
        </pc:sldMkLst>
        <pc:spChg chg="mod">
          <ac:chgData name="神谷 聖二" userId="517b2053-71b1-4492-bbd9-c8e4b39141e4" providerId="ADAL" clId="{AAB0666E-E105-4B86-BD4F-FDD5F3321F12}" dt="2024-07-12T07:20:59.342" v="187" actId="20577"/>
          <ac:spMkLst>
            <pc:docMk/>
            <pc:sldMk cId="190838501" sldId="2147378699"/>
            <ac:spMk id="13" creationId="{820553A6-BC6E-8438-3B81-A49B23C28ABF}"/>
          </ac:spMkLst>
        </pc:spChg>
        <pc:graphicFrameChg chg="mod modGraphic">
          <ac:chgData name="神谷 聖二" userId="517b2053-71b1-4492-bbd9-c8e4b39141e4" providerId="ADAL" clId="{AAB0666E-E105-4B86-BD4F-FDD5F3321F12}" dt="2024-07-12T07:28:56.557" v="698" actId="14734"/>
          <ac:graphicFrameMkLst>
            <pc:docMk/>
            <pc:sldMk cId="190838501" sldId="2147378699"/>
            <ac:graphicFrameMk id="2" creationId="{5E62C5DD-8E38-39C6-A171-A79017DD18C4}"/>
          </ac:graphicFrameMkLst>
        </pc:graphicFrameChg>
      </pc:sldChg>
      <pc:sldChg chg="modSp mod">
        <pc:chgData name="神谷 聖二" userId="517b2053-71b1-4492-bbd9-c8e4b39141e4" providerId="ADAL" clId="{AAB0666E-E105-4B86-BD4F-FDD5F3321F12}" dt="2024-07-12T07:30:54.997" v="711" actId="2711"/>
        <pc:sldMkLst>
          <pc:docMk/>
          <pc:sldMk cId="959679513" sldId="2147378701"/>
        </pc:sldMkLst>
        <pc:spChg chg="mod">
          <ac:chgData name="神谷 聖二" userId="517b2053-71b1-4492-bbd9-c8e4b39141e4" providerId="ADAL" clId="{AAB0666E-E105-4B86-BD4F-FDD5F3321F12}" dt="2024-07-12T07:24:04.476" v="308" actId="20577"/>
          <ac:spMkLst>
            <pc:docMk/>
            <pc:sldMk cId="959679513" sldId="2147378701"/>
            <ac:spMk id="8" creationId="{71D39E2A-2214-4448-8774-2A3AB120A9B7}"/>
          </ac:spMkLst>
        </pc:spChg>
        <pc:graphicFrameChg chg="mod modGraphic">
          <ac:chgData name="神谷 聖二" userId="517b2053-71b1-4492-bbd9-c8e4b39141e4" providerId="ADAL" clId="{AAB0666E-E105-4B86-BD4F-FDD5F3321F12}" dt="2024-07-12T07:30:54.997" v="711" actId="2711"/>
          <ac:graphicFrameMkLst>
            <pc:docMk/>
            <pc:sldMk cId="959679513" sldId="2147378701"/>
            <ac:graphicFrameMk id="3" creationId="{1E352AD7-4D05-33EE-61E0-3F07FA0F915F}"/>
          </ac:graphicFrameMkLst>
        </pc:graphicFrameChg>
      </pc:sldChg>
      <pc:sldChg chg="modSp mod">
        <pc:chgData name="神谷 聖二" userId="517b2053-71b1-4492-bbd9-c8e4b39141e4" providerId="ADAL" clId="{AAB0666E-E105-4B86-BD4F-FDD5F3321F12}" dt="2024-07-12T07:30:38.095" v="709" actId="2711"/>
        <pc:sldMkLst>
          <pc:docMk/>
          <pc:sldMk cId="444370572" sldId="2147378702"/>
        </pc:sldMkLst>
        <pc:spChg chg="mod">
          <ac:chgData name="神谷 聖二" userId="517b2053-71b1-4492-bbd9-c8e4b39141e4" providerId="ADAL" clId="{AAB0666E-E105-4B86-BD4F-FDD5F3321F12}" dt="2024-07-12T07:27:48.444" v="667" actId="20577"/>
          <ac:spMkLst>
            <pc:docMk/>
            <pc:sldMk cId="444370572" sldId="2147378702"/>
            <ac:spMk id="8" creationId="{D1777F5A-ADD4-8079-B2FB-C275A4CB4350}"/>
          </ac:spMkLst>
        </pc:spChg>
        <pc:graphicFrameChg chg="mod modGraphic">
          <ac:chgData name="神谷 聖二" userId="517b2053-71b1-4492-bbd9-c8e4b39141e4" providerId="ADAL" clId="{AAB0666E-E105-4B86-BD4F-FDD5F3321F12}" dt="2024-07-12T07:30:38.095" v="709" actId="2711"/>
          <ac:graphicFrameMkLst>
            <pc:docMk/>
            <pc:sldMk cId="444370572" sldId="2147378702"/>
            <ac:graphicFrameMk id="4" creationId="{07092873-AD2F-3B69-2A42-020154D983DE}"/>
          </ac:graphicFrameMkLst>
        </pc:graphicFrameChg>
      </pc:sldChg>
      <pc:sldChg chg="modSp mod">
        <pc:chgData name="神谷 聖二" userId="517b2053-71b1-4492-bbd9-c8e4b39141e4" providerId="ADAL" clId="{AAB0666E-E105-4B86-BD4F-FDD5F3321F12}" dt="2024-07-12T07:31:16.267" v="712" actId="255"/>
        <pc:sldMkLst>
          <pc:docMk/>
          <pc:sldMk cId="936371591" sldId="2147378704"/>
        </pc:sldMkLst>
        <pc:graphicFrameChg chg="modGraphic">
          <ac:chgData name="神谷 聖二" userId="517b2053-71b1-4492-bbd9-c8e4b39141e4" providerId="ADAL" clId="{AAB0666E-E105-4B86-BD4F-FDD5F3321F12}" dt="2024-07-12T07:31:16.267" v="712" actId="255"/>
          <ac:graphicFrameMkLst>
            <pc:docMk/>
            <pc:sldMk cId="936371591" sldId="2147378704"/>
            <ac:graphicFrameMk id="2" creationId="{160D2BC7-24B6-9403-A602-4F7ED4041F1F}"/>
          </ac:graphicFrameMkLst>
        </pc:graphicFrameChg>
      </pc:sldChg>
      <pc:sldChg chg="addSp delSp modSp mod">
        <pc:chgData name="神谷 聖二" userId="517b2053-71b1-4492-bbd9-c8e4b39141e4" providerId="ADAL" clId="{AAB0666E-E105-4B86-BD4F-FDD5F3321F12}" dt="2024-07-12T07:42:12.115" v="802" actId="20577"/>
        <pc:sldMkLst>
          <pc:docMk/>
          <pc:sldMk cId="3497080636" sldId="2147378710"/>
        </pc:sldMkLst>
        <pc:spChg chg="add del">
          <ac:chgData name="神谷 聖二" userId="517b2053-71b1-4492-bbd9-c8e4b39141e4" providerId="ADAL" clId="{AAB0666E-E105-4B86-BD4F-FDD5F3321F12}" dt="2024-07-12T07:41:28.771" v="756" actId="22"/>
          <ac:spMkLst>
            <pc:docMk/>
            <pc:sldMk cId="3497080636" sldId="2147378710"/>
            <ac:spMk id="3" creationId="{7DBF9C84-C34D-5A31-B576-5EFF54AED7D1}"/>
          </ac:spMkLst>
        </pc:spChg>
        <pc:spChg chg="add mod">
          <ac:chgData name="神谷 聖二" userId="517b2053-71b1-4492-bbd9-c8e4b39141e4" providerId="ADAL" clId="{AAB0666E-E105-4B86-BD4F-FDD5F3321F12}" dt="2024-07-12T07:42:12.115" v="802" actId="20577"/>
          <ac:spMkLst>
            <pc:docMk/>
            <pc:sldMk cId="3497080636" sldId="2147378710"/>
            <ac:spMk id="4" creationId="{80B6D8FA-FA52-A865-4CFC-504B74113B8E}"/>
          </ac:spMkLst>
        </pc:spChg>
        <pc:picChg chg="mod">
          <ac:chgData name="神谷 聖二" userId="517b2053-71b1-4492-bbd9-c8e4b39141e4" providerId="ADAL" clId="{AAB0666E-E105-4B86-BD4F-FDD5F3321F12}" dt="2024-07-12T07:41:49.169" v="776" actId="1037"/>
          <ac:picMkLst>
            <pc:docMk/>
            <pc:sldMk cId="3497080636" sldId="2147378710"/>
            <ac:picMk id="9" creationId="{E49B5309-848C-8288-7894-63BF86CA0951}"/>
          </ac:picMkLst>
        </pc:picChg>
      </pc:sldChg>
    </pc:docChg>
  </pc:docChgLst>
  <pc:docChgLst>
    <pc:chgData name="森田 光貴" userId="314cf0e2-2175-4948-8a4a-96924aa0786a" providerId="ADAL" clId="{54D8577C-5196-4E3B-AC07-5AAB674B8325}"/>
    <pc:docChg chg="undo redo custSel addSld delSld modSld sldOrd modSection">
      <pc:chgData name="森田 光貴" userId="314cf0e2-2175-4948-8a4a-96924aa0786a" providerId="ADAL" clId="{54D8577C-5196-4E3B-AC07-5AAB674B8325}" dt="2025-02-07T12:38:27.992" v="8265"/>
      <pc:docMkLst>
        <pc:docMk/>
      </pc:docMkLst>
      <pc:sldChg chg="addSp modSp mod">
        <pc:chgData name="森田 光貴" userId="314cf0e2-2175-4948-8a4a-96924aa0786a" providerId="ADAL" clId="{54D8577C-5196-4E3B-AC07-5AAB674B8325}" dt="2025-02-07T03:36:43.199" v="5499" actId="1076"/>
        <pc:sldMkLst>
          <pc:docMk/>
          <pc:sldMk cId="2355786622" sldId="2146847413"/>
        </pc:sldMkLst>
        <pc:spChg chg="add mod">
          <ac:chgData name="森田 光貴" userId="314cf0e2-2175-4948-8a4a-96924aa0786a" providerId="ADAL" clId="{54D8577C-5196-4E3B-AC07-5AAB674B8325}" dt="2025-02-07T03:36:33.591" v="5497"/>
          <ac:spMkLst>
            <pc:docMk/>
            <pc:sldMk cId="2355786622" sldId="2146847413"/>
            <ac:spMk id="4" creationId="{D1674E72-C516-BF39-3FD1-09098ED944CC}"/>
          </ac:spMkLst>
        </pc:spChg>
        <pc:spChg chg="add mod">
          <ac:chgData name="森田 光貴" userId="314cf0e2-2175-4948-8a4a-96924aa0786a" providerId="ADAL" clId="{54D8577C-5196-4E3B-AC07-5AAB674B8325}" dt="2025-02-07T03:36:43.199" v="5499" actId="1076"/>
          <ac:spMkLst>
            <pc:docMk/>
            <pc:sldMk cId="2355786622" sldId="2146847413"/>
            <ac:spMk id="7" creationId="{C23EF085-1DE8-3334-557F-6FB6ECFBC739}"/>
          </ac:spMkLst>
        </pc:spChg>
      </pc:sldChg>
      <pc:sldChg chg="modSp mod">
        <pc:chgData name="森田 光貴" userId="314cf0e2-2175-4948-8a4a-96924aa0786a" providerId="ADAL" clId="{54D8577C-5196-4E3B-AC07-5AAB674B8325}" dt="2025-02-06T17:34:51.700" v="3085" actId="1076"/>
        <pc:sldMkLst>
          <pc:docMk/>
          <pc:sldMk cId="2852443830" sldId="2147378632"/>
        </pc:sldMkLst>
        <pc:spChg chg="mod">
          <ac:chgData name="森田 光貴" userId="314cf0e2-2175-4948-8a4a-96924aa0786a" providerId="ADAL" clId="{54D8577C-5196-4E3B-AC07-5AAB674B8325}" dt="2025-02-06T17:34:51.700" v="3085" actId="1076"/>
          <ac:spMkLst>
            <pc:docMk/>
            <pc:sldMk cId="2852443830" sldId="2147378632"/>
            <ac:spMk id="11" creationId="{F3C7DC9A-525C-F63B-8EA0-A1FD3AEF7283}"/>
          </ac:spMkLst>
        </pc:spChg>
      </pc:sldChg>
      <pc:sldChg chg="modSp mod">
        <pc:chgData name="森田 光貴" userId="314cf0e2-2175-4948-8a4a-96924aa0786a" providerId="ADAL" clId="{54D8577C-5196-4E3B-AC07-5AAB674B8325}" dt="2025-02-06T13:21:51.835" v="24" actId="14100"/>
        <pc:sldMkLst>
          <pc:docMk/>
          <pc:sldMk cId="1869527861" sldId="2147378640"/>
        </pc:sldMkLst>
        <pc:spChg chg="mod">
          <ac:chgData name="森田 光貴" userId="314cf0e2-2175-4948-8a4a-96924aa0786a" providerId="ADAL" clId="{54D8577C-5196-4E3B-AC07-5AAB674B8325}" dt="2025-02-06T13:21:51.835" v="24" actId="14100"/>
          <ac:spMkLst>
            <pc:docMk/>
            <pc:sldMk cId="1869527861" sldId="2147378640"/>
            <ac:spMk id="9" creationId="{67FD600D-F712-D335-9DCD-5DDA57077E60}"/>
          </ac:spMkLst>
        </pc:spChg>
        <pc:spChg chg="mod">
          <ac:chgData name="森田 光貴" userId="314cf0e2-2175-4948-8a4a-96924aa0786a" providerId="ADAL" clId="{54D8577C-5196-4E3B-AC07-5AAB674B8325}" dt="2025-02-06T12:58:11.882" v="21" actId="9"/>
          <ac:spMkLst>
            <pc:docMk/>
            <pc:sldMk cId="1869527861" sldId="2147378640"/>
            <ac:spMk id="10" creationId="{80E6EF29-A9F8-46B2-8DDE-5092A65E485F}"/>
          </ac:spMkLst>
        </pc:spChg>
      </pc:sldChg>
      <pc:sldChg chg="addSp delSp modSp del mod">
        <pc:chgData name="森田 光貴" userId="314cf0e2-2175-4948-8a4a-96924aa0786a" providerId="ADAL" clId="{54D8577C-5196-4E3B-AC07-5AAB674B8325}" dt="2025-02-07T12:11:45.451" v="8242" actId="47"/>
        <pc:sldMkLst>
          <pc:docMk/>
          <pc:sldMk cId="1132711422" sldId="2147378657"/>
        </pc:sldMkLst>
        <pc:graphicFrameChg chg="add del mod modGraphic">
          <ac:chgData name="森田 光貴" userId="314cf0e2-2175-4948-8a4a-96924aa0786a" providerId="ADAL" clId="{54D8577C-5196-4E3B-AC07-5AAB674B8325}" dt="2025-02-07T11:35:07.767" v="7886" actId="478"/>
          <ac:graphicFrameMkLst>
            <pc:docMk/>
            <pc:sldMk cId="1132711422" sldId="2147378657"/>
            <ac:graphicFrameMk id="5" creationId="{6F20B3C2-7932-BA1D-3A4E-18BD6D75E285}"/>
          </ac:graphicFrameMkLst>
        </pc:graphicFrameChg>
        <pc:graphicFrameChg chg="add mod">
          <ac:chgData name="森田 光貴" userId="314cf0e2-2175-4948-8a4a-96924aa0786a" providerId="ADAL" clId="{54D8577C-5196-4E3B-AC07-5AAB674B8325}" dt="2025-02-07T04:13:56.027" v="6542"/>
          <ac:graphicFrameMkLst>
            <pc:docMk/>
            <pc:sldMk cId="1132711422" sldId="2147378657"/>
            <ac:graphicFrameMk id="5" creationId="{E9ACF459-428B-4901-A341-038D2659B038}"/>
          </ac:graphicFrameMkLst>
        </pc:graphicFrameChg>
        <pc:graphicFrameChg chg="mod modGraphic">
          <ac:chgData name="森田 光貴" userId="314cf0e2-2175-4948-8a4a-96924aa0786a" providerId="ADAL" clId="{54D8577C-5196-4E3B-AC07-5AAB674B8325}" dt="2025-02-07T04:14:06.696" v="6544"/>
          <ac:graphicFrameMkLst>
            <pc:docMk/>
            <pc:sldMk cId="1132711422" sldId="2147378657"/>
            <ac:graphicFrameMk id="13" creationId="{6B84DF48-8B2E-7483-E19E-A4C36C91AA03}"/>
          </ac:graphicFrameMkLst>
        </pc:graphicFrameChg>
      </pc:sldChg>
      <pc:sldChg chg="modSp mod">
        <pc:chgData name="森田 光貴" userId="314cf0e2-2175-4948-8a4a-96924aa0786a" providerId="ADAL" clId="{54D8577C-5196-4E3B-AC07-5AAB674B8325}" dt="2025-02-06T17:10:37.949" v="3082" actId="1076"/>
        <pc:sldMkLst>
          <pc:docMk/>
          <pc:sldMk cId="2708077593" sldId="2147378681"/>
        </pc:sldMkLst>
        <pc:spChg chg="mod">
          <ac:chgData name="森田 光貴" userId="314cf0e2-2175-4948-8a4a-96924aa0786a" providerId="ADAL" clId="{54D8577C-5196-4E3B-AC07-5AAB674B8325}" dt="2025-02-06T17:10:37.949" v="3082" actId="1076"/>
          <ac:spMkLst>
            <pc:docMk/>
            <pc:sldMk cId="2708077593" sldId="2147378681"/>
            <ac:spMk id="53" creationId="{600AE28E-2F7C-E1F6-5796-97DD1A8A0830}"/>
          </ac:spMkLst>
        </pc:spChg>
      </pc:sldChg>
      <pc:sldChg chg="addSp delSp modSp mod">
        <pc:chgData name="森田 光貴" userId="314cf0e2-2175-4948-8a4a-96924aa0786a" providerId="ADAL" clId="{54D8577C-5196-4E3B-AC07-5AAB674B8325}" dt="2025-02-07T00:55:02.835" v="3625" actId="1076"/>
        <pc:sldMkLst>
          <pc:docMk/>
          <pc:sldMk cId="2629355078" sldId="2147378682"/>
        </pc:sldMkLst>
        <pc:spChg chg="add mod">
          <ac:chgData name="森田 光貴" userId="314cf0e2-2175-4948-8a4a-96924aa0786a" providerId="ADAL" clId="{54D8577C-5196-4E3B-AC07-5AAB674B8325}" dt="2025-02-07T00:47:29.289" v="3434" actId="14100"/>
          <ac:spMkLst>
            <pc:docMk/>
            <pc:sldMk cId="2629355078" sldId="2147378682"/>
            <ac:spMk id="7" creationId="{92059B74-994D-07CA-F86B-836ED37BAD3F}"/>
          </ac:spMkLst>
        </pc:spChg>
        <pc:spChg chg="mod">
          <ac:chgData name="森田 光貴" userId="314cf0e2-2175-4948-8a4a-96924aa0786a" providerId="ADAL" clId="{54D8577C-5196-4E3B-AC07-5AAB674B8325}" dt="2025-02-07T00:54:54.704" v="3624"/>
          <ac:spMkLst>
            <pc:docMk/>
            <pc:sldMk cId="2629355078" sldId="2147378682"/>
            <ac:spMk id="14" creationId="{B9F3B646-3966-B82B-45E7-9F03CD875178}"/>
          </ac:spMkLst>
        </pc:spChg>
        <pc:spChg chg="del">
          <ac:chgData name="森田 光貴" userId="314cf0e2-2175-4948-8a4a-96924aa0786a" providerId="ADAL" clId="{54D8577C-5196-4E3B-AC07-5AAB674B8325}" dt="2025-02-07T00:46:01.857" v="3418" actId="478"/>
          <ac:spMkLst>
            <pc:docMk/>
            <pc:sldMk cId="2629355078" sldId="2147378682"/>
            <ac:spMk id="15" creationId="{B4B33CBB-85A1-D661-8244-BA4AC3199F2D}"/>
          </ac:spMkLst>
        </pc:spChg>
        <pc:spChg chg="add mod">
          <ac:chgData name="森田 光貴" userId="314cf0e2-2175-4948-8a4a-96924aa0786a" providerId="ADAL" clId="{54D8577C-5196-4E3B-AC07-5AAB674B8325}" dt="2025-02-07T00:55:02.835" v="3625" actId="1076"/>
          <ac:spMkLst>
            <pc:docMk/>
            <pc:sldMk cId="2629355078" sldId="2147378682"/>
            <ac:spMk id="17" creationId="{06A9795E-0AF7-9AE1-FEDA-F367EEF9D749}"/>
          </ac:spMkLst>
        </pc:spChg>
      </pc:sldChg>
      <pc:sldChg chg="addSp modSp mod">
        <pc:chgData name="森田 光貴" userId="314cf0e2-2175-4948-8a4a-96924aa0786a" providerId="ADAL" clId="{54D8577C-5196-4E3B-AC07-5AAB674B8325}" dt="2025-02-07T01:42:20.486" v="4144" actId="14100"/>
        <pc:sldMkLst>
          <pc:docMk/>
          <pc:sldMk cId="239223960" sldId="2147378686"/>
        </pc:sldMkLst>
        <pc:spChg chg="add mod">
          <ac:chgData name="森田 光貴" userId="314cf0e2-2175-4948-8a4a-96924aa0786a" providerId="ADAL" clId="{54D8577C-5196-4E3B-AC07-5AAB674B8325}" dt="2025-02-07T01:42:20.486" v="4144" actId="14100"/>
          <ac:spMkLst>
            <pc:docMk/>
            <pc:sldMk cId="239223960" sldId="2147378686"/>
            <ac:spMk id="10" creationId="{543B1571-BEDE-37BA-F555-DB23CA2FA0C5}"/>
          </ac:spMkLst>
        </pc:spChg>
      </pc:sldChg>
      <pc:sldChg chg="addSp delSp modSp mod">
        <pc:chgData name="森田 光貴" userId="314cf0e2-2175-4948-8a4a-96924aa0786a" providerId="ADAL" clId="{54D8577C-5196-4E3B-AC07-5AAB674B8325}" dt="2025-02-06T12:03:14.921" v="20" actId="1076"/>
        <pc:sldMkLst>
          <pc:docMk/>
          <pc:sldMk cId="2452595465" sldId="2147378688"/>
        </pc:sldMkLst>
        <pc:spChg chg="del">
          <ac:chgData name="森田 光貴" userId="314cf0e2-2175-4948-8a4a-96924aa0786a" providerId="ADAL" clId="{54D8577C-5196-4E3B-AC07-5AAB674B8325}" dt="2025-02-06T11:36:59.887" v="0" actId="478"/>
          <ac:spMkLst>
            <pc:docMk/>
            <pc:sldMk cId="2452595465" sldId="2147378688"/>
            <ac:spMk id="6" creationId="{ACC8D349-1EFF-0794-6A68-D89EF8F84DCB}"/>
          </ac:spMkLst>
        </pc:spChg>
        <pc:spChg chg="add mod">
          <ac:chgData name="森田 光貴" userId="314cf0e2-2175-4948-8a4a-96924aa0786a" providerId="ADAL" clId="{54D8577C-5196-4E3B-AC07-5AAB674B8325}" dt="2025-02-06T11:40:53.727" v="8" actId="1076"/>
          <ac:spMkLst>
            <pc:docMk/>
            <pc:sldMk cId="2452595465" sldId="2147378688"/>
            <ac:spMk id="7" creationId="{4CC34C06-2770-D52E-887C-60A7718811AC}"/>
          </ac:spMkLst>
        </pc:spChg>
        <pc:spChg chg="add mod">
          <ac:chgData name="森田 光貴" userId="314cf0e2-2175-4948-8a4a-96924aa0786a" providerId="ADAL" clId="{54D8577C-5196-4E3B-AC07-5AAB674B8325}" dt="2025-02-06T11:40:53.727" v="8" actId="1076"/>
          <ac:spMkLst>
            <pc:docMk/>
            <pc:sldMk cId="2452595465" sldId="2147378688"/>
            <ac:spMk id="8" creationId="{1E2378D2-462D-DC21-377B-1F2BE4C99A33}"/>
          </ac:spMkLst>
        </pc:spChg>
        <pc:spChg chg="mod">
          <ac:chgData name="森田 光貴" userId="314cf0e2-2175-4948-8a4a-96924aa0786a" providerId="ADAL" clId="{54D8577C-5196-4E3B-AC07-5AAB674B8325}" dt="2025-02-06T11:40:29.733" v="7" actId="1076"/>
          <ac:spMkLst>
            <pc:docMk/>
            <pc:sldMk cId="2452595465" sldId="2147378688"/>
            <ac:spMk id="9" creationId="{D22A0A06-D5A8-4A1A-B66F-2A8EDBD644F1}"/>
          </ac:spMkLst>
        </pc:spChg>
        <pc:spChg chg="add mod">
          <ac:chgData name="森田 光貴" userId="314cf0e2-2175-4948-8a4a-96924aa0786a" providerId="ADAL" clId="{54D8577C-5196-4E3B-AC07-5AAB674B8325}" dt="2025-02-06T11:40:53.727" v="8" actId="1076"/>
          <ac:spMkLst>
            <pc:docMk/>
            <pc:sldMk cId="2452595465" sldId="2147378688"/>
            <ac:spMk id="11" creationId="{D9546854-B4CE-1F65-2F6D-8A404DD40BB1}"/>
          </ac:spMkLst>
        </pc:spChg>
        <pc:spChg chg="add mod">
          <ac:chgData name="森田 光貴" userId="314cf0e2-2175-4948-8a4a-96924aa0786a" providerId="ADAL" clId="{54D8577C-5196-4E3B-AC07-5AAB674B8325}" dt="2025-02-06T11:40:53.727" v="8" actId="1076"/>
          <ac:spMkLst>
            <pc:docMk/>
            <pc:sldMk cId="2452595465" sldId="2147378688"/>
            <ac:spMk id="13" creationId="{B43B6931-1CB3-5574-1F6D-B4058353AD33}"/>
          </ac:spMkLst>
        </pc:spChg>
        <pc:spChg chg="add del mod">
          <ac:chgData name="森田 光貴" userId="314cf0e2-2175-4948-8a4a-96924aa0786a" providerId="ADAL" clId="{54D8577C-5196-4E3B-AC07-5AAB674B8325}" dt="2025-02-06T12:01:47.159" v="12" actId="478"/>
          <ac:spMkLst>
            <pc:docMk/>
            <pc:sldMk cId="2452595465" sldId="2147378688"/>
            <ac:spMk id="16" creationId="{0C987423-F58D-2A59-68C2-54B191C334AE}"/>
          </ac:spMkLst>
        </pc:spChg>
        <pc:spChg chg="add mod">
          <ac:chgData name="森田 光貴" userId="314cf0e2-2175-4948-8a4a-96924aa0786a" providerId="ADAL" clId="{54D8577C-5196-4E3B-AC07-5AAB674B8325}" dt="2025-02-06T12:01:56.189" v="13"/>
          <ac:spMkLst>
            <pc:docMk/>
            <pc:sldMk cId="2452595465" sldId="2147378688"/>
            <ac:spMk id="17" creationId="{159BE264-9942-E766-987F-6CA378A61798}"/>
          </ac:spMkLst>
        </pc:spChg>
        <pc:spChg chg="add mod">
          <ac:chgData name="森田 光貴" userId="314cf0e2-2175-4948-8a4a-96924aa0786a" providerId="ADAL" clId="{54D8577C-5196-4E3B-AC07-5AAB674B8325}" dt="2025-02-06T12:02:41.584" v="15"/>
          <ac:spMkLst>
            <pc:docMk/>
            <pc:sldMk cId="2452595465" sldId="2147378688"/>
            <ac:spMk id="18" creationId="{9F0F2AAC-782C-F229-FFC8-701F3C40EE9E}"/>
          </ac:spMkLst>
        </pc:spChg>
        <pc:spChg chg="add mod">
          <ac:chgData name="森田 光貴" userId="314cf0e2-2175-4948-8a4a-96924aa0786a" providerId="ADAL" clId="{54D8577C-5196-4E3B-AC07-5AAB674B8325}" dt="2025-02-06T12:02:48.977" v="17" actId="1076"/>
          <ac:spMkLst>
            <pc:docMk/>
            <pc:sldMk cId="2452595465" sldId="2147378688"/>
            <ac:spMk id="19" creationId="{F4F6AADC-220D-BFC7-4F32-89892ED6B785}"/>
          </ac:spMkLst>
        </pc:spChg>
        <pc:spChg chg="mod">
          <ac:chgData name="森田 光貴" userId="314cf0e2-2175-4948-8a4a-96924aa0786a" providerId="ADAL" clId="{54D8577C-5196-4E3B-AC07-5AAB674B8325}" dt="2025-02-06T12:03:05.605" v="18"/>
          <ac:spMkLst>
            <pc:docMk/>
            <pc:sldMk cId="2452595465" sldId="2147378688"/>
            <ac:spMk id="21" creationId="{101C9E5D-E4BD-B248-C6DE-89A38666474E}"/>
          </ac:spMkLst>
        </pc:spChg>
        <pc:spChg chg="mod">
          <ac:chgData name="森田 光貴" userId="314cf0e2-2175-4948-8a4a-96924aa0786a" providerId="ADAL" clId="{54D8577C-5196-4E3B-AC07-5AAB674B8325}" dt="2025-02-06T12:03:09.137" v="19"/>
          <ac:spMkLst>
            <pc:docMk/>
            <pc:sldMk cId="2452595465" sldId="2147378688"/>
            <ac:spMk id="24" creationId="{C05D70C8-A0E4-1745-E63B-587FB5CC9386}"/>
          </ac:spMkLst>
        </pc:spChg>
        <pc:grpChg chg="add mod">
          <ac:chgData name="森田 光貴" userId="314cf0e2-2175-4948-8a4a-96924aa0786a" providerId="ADAL" clId="{54D8577C-5196-4E3B-AC07-5AAB674B8325}" dt="2025-02-06T12:03:05.605" v="18"/>
          <ac:grpSpMkLst>
            <pc:docMk/>
            <pc:sldMk cId="2452595465" sldId="2147378688"/>
            <ac:grpSpMk id="20" creationId="{19466086-9C64-43DB-BE72-C6257123AF9B}"/>
          </ac:grpSpMkLst>
        </pc:grpChg>
        <pc:grpChg chg="add mod">
          <ac:chgData name="森田 光貴" userId="314cf0e2-2175-4948-8a4a-96924aa0786a" providerId="ADAL" clId="{54D8577C-5196-4E3B-AC07-5AAB674B8325}" dt="2025-02-06T12:03:14.921" v="20" actId="1076"/>
          <ac:grpSpMkLst>
            <pc:docMk/>
            <pc:sldMk cId="2452595465" sldId="2147378688"/>
            <ac:grpSpMk id="23" creationId="{A07996F8-B910-E0AB-D4FD-7620B6D4FD6E}"/>
          </ac:grpSpMkLst>
        </pc:grpChg>
        <pc:graphicFrameChg chg="del">
          <ac:chgData name="森田 光貴" userId="314cf0e2-2175-4948-8a4a-96924aa0786a" providerId="ADAL" clId="{54D8577C-5196-4E3B-AC07-5AAB674B8325}" dt="2025-02-06T11:40:10.976" v="5" actId="478"/>
          <ac:graphicFrameMkLst>
            <pc:docMk/>
            <pc:sldMk cId="2452595465" sldId="2147378688"/>
            <ac:graphicFrameMk id="3" creationId="{5CD75058-DF54-3019-BEEC-A9CC2112B9F4}"/>
          </ac:graphicFrameMkLst>
        </pc:graphicFrameChg>
        <pc:graphicFrameChg chg="add mod">
          <ac:chgData name="森田 光貴" userId="314cf0e2-2175-4948-8a4a-96924aa0786a" providerId="ADAL" clId="{54D8577C-5196-4E3B-AC07-5AAB674B8325}" dt="2025-02-06T12:02:37.765" v="14" actId="1076"/>
          <ac:graphicFrameMkLst>
            <pc:docMk/>
            <pc:sldMk cId="2452595465" sldId="2147378688"/>
            <ac:graphicFrameMk id="15" creationId="{6BA7322B-8E83-4959-AED5-CDCB2DC09E66}"/>
          </ac:graphicFrameMkLst>
        </pc:graphicFrameChg>
        <pc:picChg chg="add mod">
          <ac:chgData name="森田 光貴" userId="314cf0e2-2175-4948-8a4a-96924aa0786a" providerId="ADAL" clId="{54D8577C-5196-4E3B-AC07-5AAB674B8325}" dt="2025-02-06T11:40:53.727" v="8" actId="1076"/>
          <ac:picMkLst>
            <pc:docMk/>
            <pc:sldMk cId="2452595465" sldId="2147378688"/>
            <ac:picMk id="4" creationId="{45F9E099-4110-7BC2-05FA-9F23A7A33434}"/>
          </ac:picMkLst>
        </pc:picChg>
        <pc:cxnChg chg="add mod">
          <ac:chgData name="森田 光貴" userId="314cf0e2-2175-4948-8a4a-96924aa0786a" providerId="ADAL" clId="{54D8577C-5196-4E3B-AC07-5AAB674B8325}" dt="2025-02-06T11:40:53.727" v="8" actId="1076"/>
          <ac:cxnSpMkLst>
            <pc:docMk/>
            <pc:sldMk cId="2452595465" sldId="2147378688"/>
            <ac:cxnSpMk id="12" creationId="{36894EAB-405F-0998-1890-37C962DD7CF6}"/>
          </ac:cxnSpMkLst>
        </pc:cxnChg>
        <pc:cxnChg chg="add mod">
          <ac:chgData name="森田 光貴" userId="314cf0e2-2175-4948-8a4a-96924aa0786a" providerId="ADAL" clId="{54D8577C-5196-4E3B-AC07-5AAB674B8325}" dt="2025-02-06T11:40:53.727" v="8" actId="1076"/>
          <ac:cxnSpMkLst>
            <pc:docMk/>
            <pc:sldMk cId="2452595465" sldId="2147378688"/>
            <ac:cxnSpMk id="14" creationId="{3AA73118-94F8-70C1-35F7-26CD5AF7F242}"/>
          </ac:cxnSpMkLst>
        </pc:cxnChg>
        <pc:cxnChg chg="mod">
          <ac:chgData name="森田 光貴" userId="314cf0e2-2175-4948-8a4a-96924aa0786a" providerId="ADAL" clId="{54D8577C-5196-4E3B-AC07-5AAB674B8325}" dt="2025-02-06T12:03:05.605" v="18"/>
          <ac:cxnSpMkLst>
            <pc:docMk/>
            <pc:sldMk cId="2452595465" sldId="2147378688"/>
            <ac:cxnSpMk id="22" creationId="{13E14347-8BFA-CC36-4648-8400EF89E301}"/>
          </ac:cxnSpMkLst>
        </pc:cxnChg>
        <pc:cxnChg chg="mod">
          <ac:chgData name="森田 光貴" userId="314cf0e2-2175-4948-8a4a-96924aa0786a" providerId="ADAL" clId="{54D8577C-5196-4E3B-AC07-5AAB674B8325}" dt="2025-02-06T12:03:09.137" v="19"/>
          <ac:cxnSpMkLst>
            <pc:docMk/>
            <pc:sldMk cId="2452595465" sldId="2147378688"/>
            <ac:cxnSpMk id="25" creationId="{9B8C3470-E35E-E2A6-58B9-6E0188FCF49E}"/>
          </ac:cxnSpMkLst>
        </pc:cxnChg>
      </pc:sldChg>
      <pc:sldChg chg="addSp modSp mod">
        <pc:chgData name="森田 光貴" userId="314cf0e2-2175-4948-8a4a-96924aa0786a" providerId="ADAL" clId="{54D8577C-5196-4E3B-AC07-5AAB674B8325}" dt="2025-02-07T11:03:55.124" v="7560" actId="14734"/>
        <pc:sldMkLst>
          <pc:docMk/>
          <pc:sldMk cId="64176771" sldId="2147378692"/>
        </pc:sldMkLst>
        <pc:spChg chg="add mod">
          <ac:chgData name="森田 光貴" userId="314cf0e2-2175-4948-8a4a-96924aa0786a" providerId="ADAL" clId="{54D8577C-5196-4E3B-AC07-5AAB674B8325}" dt="2025-02-07T11:03:03.943" v="7557" actId="1076"/>
          <ac:spMkLst>
            <pc:docMk/>
            <pc:sldMk cId="64176771" sldId="2147378692"/>
            <ac:spMk id="6" creationId="{DF1069CE-7F5A-0645-E891-CDDA1E49F184}"/>
          </ac:spMkLst>
        </pc:spChg>
        <pc:graphicFrameChg chg="mod modGraphic">
          <ac:chgData name="森田 光貴" userId="314cf0e2-2175-4948-8a4a-96924aa0786a" providerId="ADAL" clId="{54D8577C-5196-4E3B-AC07-5AAB674B8325}" dt="2025-02-07T11:03:55.124" v="7560" actId="14734"/>
          <ac:graphicFrameMkLst>
            <pc:docMk/>
            <pc:sldMk cId="64176771" sldId="2147378692"/>
            <ac:graphicFrameMk id="2" creationId="{12ACD507-CDCD-7967-B093-33A8EA8B50AD}"/>
          </ac:graphicFrameMkLst>
        </pc:graphicFrameChg>
      </pc:sldChg>
      <pc:sldChg chg="modSp mod">
        <pc:chgData name="森田 光貴" userId="314cf0e2-2175-4948-8a4a-96924aa0786a" providerId="ADAL" clId="{54D8577C-5196-4E3B-AC07-5AAB674B8325}" dt="2025-02-06T15:10:12.141" v="532"/>
        <pc:sldMkLst>
          <pc:docMk/>
          <pc:sldMk cId="2807815468" sldId="2147378693"/>
        </pc:sldMkLst>
        <pc:spChg chg="mod">
          <ac:chgData name="森田 光貴" userId="314cf0e2-2175-4948-8a4a-96924aa0786a" providerId="ADAL" clId="{54D8577C-5196-4E3B-AC07-5AAB674B8325}" dt="2025-02-06T15:10:12.141" v="532"/>
          <ac:spMkLst>
            <pc:docMk/>
            <pc:sldMk cId="2807815468" sldId="2147378693"/>
            <ac:spMk id="9" creationId="{D22A0A06-D5A8-4A1A-B66F-2A8EDBD644F1}"/>
          </ac:spMkLst>
        </pc:spChg>
      </pc:sldChg>
      <pc:sldChg chg="delSp modSp mod">
        <pc:chgData name="森田 光貴" userId="314cf0e2-2175-4948-8a4a-96924aa0786a" providerId="ADAL" clId="{54D8577C-5196-4E3B-AC07-5AAB674B8325}" dt="2025-02-06T15:12:28.771" v="540" actId="1076"/>
        <pc:sldMkLst>
          <pc:docMk/>
          <pc:sldMk cId="1631142101" sldId="2147378694"/>
        </pc:sldMkLst>
        <pc:spChg chg="del">
          <ac:chgData name="森田 光貴" userId="314cf0e2-2175-4948-8a4a-96924aa0786a" providerId="ADAL" clId="{54D8577C-5196-4E3B-AC07-5AAB674B8325}" dt="2025-02-06T15:12:14.067" v="537" actId="478"/>
          <ac:spMkLst>
            <pc:docMk/>
            <pc:sldMk cId="1631142101" sldId="2147378694"/>
            <ac:spMk id="7" creationId="{6A1171CD-F747-91BE-E5EA-3E2C7283A629}"/>
          </ac:spMkLst>
        </pc:spChg>
        <pc:spChg chg="mod">
          <ac:chgData name="森田 光貴" userId="314cf0e2-2175-4948-8a4a-96924aa0786a" providerId="ADAL" clId="{54D8577C-5196-4E3B-AC07-5AAB674B8325}" dt="2025-02-06T15:12:03.443" v="536" actId="20577"/>
          <ac:spMkLst>
            <pc:docMk/>
            <pc:sldMk cId="1631142101" sldId="2147378694"/>
            <ac:spMk id="9" creationId="{D22A0A06-D5A8-4A1A-B66F-2A8EDBD644F1}"/>
          </ac:spMkLst>
        </pc:spChg>
        <pc:picChg chg="mod">
          <ac:chgData name="森田 光貴" userId="314cf0e2-2175-4948-8a4a-96924aa0786a" providerId="ADAL" clId="{54D8577C-5196-4E3B-AC07-5AAB674B8325}" dt="2025-02-06T15:12:28.771" v="540" actId="1076"/>
          <ac:picMkLst>
            <pc:docMk/>
            <pc:sldMk cId="1631142101" sldId="2147378694"/>
            <ac:picMk id="2" creationId="{C73CE7FB-87DE-3BC3-10E0-D337B38D128B}"/>
          </ac:picMkLst>
        </pc:picChg>
      </pc:sldChg>
      <pc:sldChg chg="addSp delSp modSp mod">
        <pc:chgData name="森田 光貴" userId="314cf0e2-2175-4948-8a4a-96924aa0786a" providerId="ADAL" clId="{54D8577C-5196-4E3B-AC07-5AAB674B8325}" dt="2025-02-06T14:17:33.254" v="437" actId="1076"/>
        <pc:sldMkLst>
          <pc:docMk/>
          <pc:sldMk cId="3347821416" sldId="2147378698"/>
        </pc:sldMkLst>
        <pc:spChg chg="del">
          <ac:chgData name="森田 光貴" userId="314cf0e2-2175-4948-8a4a-96924aa0786a" providerId="ADAL" clId="{54D8577C-5196-4E3B-AC07-5AAB674B8325}" dt="2025-02-06T14:16:38.153" v="433" actId="478"/>
          <ac:spMkLst>
            <pc:docMk/>
            <pc:sldMk cId="3347821416" sldId="2147378698"/>
            <ac:spMk id="3" creationId="{23107F22-3699-2626-6271-5D1E8D182DFD}"/>
          </ac:spMkLst>
        </pc:spChg>
        <pc:spChg chg="add mod">
          <ac:chgData name="森田 光貴" userId="314cf0e2-2175-4948-8a4a-96924aa0786a" providerId="ADAL" clId="{54D8577C-5196-4E3B-AC07-5AAB674B8325}" dt="2025-02-06T14:17:33.254" v="437" actId="1076"/>
          <ac:spMkLst>
            <pc:docMk/>
            <pc:sldMk cId="3347821416" sldId="2147378698"/>
            <ac:spMk id="4" creationId="{2D0F773D-7F31-6F9D-4700-F8F75C3164F8}"/>
          </ac:spMkLst>
        </pc:spChg>
        <pc:spChg chg="mod">
          <ac:chgData name="森田 光貴" userId="314cf0e2-2175-4948-8a4a-96924aa0786a" providerId="ADAL" clId="{54D8577C-5196-4E3B-AC07-5AAB674B8325}" dt="2025-02-06T14:16:54.529" v="435"/>
          <ac:spMkLst>
            <pc:docMk/>
            <pc:sldMk cId="3347821416" sldId="2147378698"/>
            <ac:spMk id="8" creationId="{FC1AB3A4-9382-A032-5903-9A510E8475E3}"/>
          </ac:spMkLst>
        </pc:spChg>
        <pc:spChg chg="mod">
          <ac:chgData name="森田 光貴" userId="314cf0e2-2175-4948-8a4a-96924aa0786a" providerId="ADAL" clId="{54D8577C-5196-4E3B-AC07-5AAB674B8325}" dt="2025-02-06T14:16:54.529" v="435"/>
          <ac:spMkLst>
            <pc:docMk/>
            <pc:sldMk cId="3347821416" sldId="2147378698"/>
            <ac:spMk id="14" creationId="{5C0D0E8C-3811-F6B0-69BB-69EE7E33FC74}"/>
          </ac:spMkLst>
        </pc:spChg>
        <pc:spChg chg="mod">
          <ac:chgData name="森田 光貴" userId="314cf0e2-2175-4948-8a4a-96924aa0786a" providerId="ADAL" clId="{54D8577C-5196-4E3B-AC07-5AAB674B8325}" dt="2025-02-06T14:16:54.529" v="435"/>
          <ac:spMkLst>
            <pc:docMk/>
            <pc:sldMk cId="3347821416" sldId="2147378698"/>
            <ac:spMk id="15" creationId="{96FB319F-2503-4EE3-8CBC-47A4CDE48CA8}"/>
          </ac:spMkLst>
        </pc:spChg>
        <pc:spChg chg="mod">
          <ac:chgData name="森田 光貴" userId="314cf0e2-2175-4948-8a4a-96924aa0786a" providerId="ADAL" clId="{54D8577C-5196-4E3B-AC07-5AAB674B8325}" dt="2025-02-06T14:16:54.529" v="435"/>
          <ac:spMkLst>
            <pc:docMk/>
            <pc:sldMk cId="3347821416" sldId="2147378698"/>
            <ac:spMk id="16" creationId="{47DA8D64-CEC9-1F56-B9E9-35C546FFCD9E}"/>
          </ac:spMkLst>
        </pc:spChg>
        <pc:spChg chg="mod">
          <ac:chgData name="森田 光貴" userId="314cf0e2-2175-4948-8a4a-96924aa0786a" providerId="ADAL" clId="{54D8577C-5196-4E3B-AC07-5AAB674B8325}" dt="2025-02-06T14:16:54.529" v="435"/>
          <ac:spMkLst>
            <pc:docMk/>
            <pc:sldMk cId="3347821416" sldId="2147378698"/>
            <ac:spMk id="17" creationId="{2C56FA59-6C77-7FC1-AD1B-BBB66647627D}"/>
          </ac:spMkLst>
        </pc:spChg>
        <pc:spChg chg="mod">
          <ac:chgData name="森田 光貴" userId="314cf0e2-2175-4948-8a4a-96924aa0786a" providerId="ADAL" clId="{54D8577C-5196-4E3B-AC07-5AAB674B8325}" dt="2025-02-06T14:16:54.529" v="435"/>
          <ac:spMkLst>
            <pc:docMk/>
            <pc:sldMk cId="3347821416" sldId="2147378698"/>
            <ac:spMk id="19" creationId="{46CA9831-E830-18A4-36D3-B1CB18F4532A}"/>
          </ac:spMkLst>
        </pc:spChg>
        <pc:spChg chg="mod">
          <ac:chgData name="森田 光貴" userId="314cf0e2-2175-4948-8a4a-96924aa0786a" providerId="ADAL" clId="{54D8577C-5196-4E3B-AC07-5AAB674B8325}" dt="2025-02-06T14:16:54.529" v="435"/>
          <ac:spMkLst>
            <pc:docMk/>
            <pc:sldMk cId="3347821416" sldId="2147378698"/>
            <ac:spMk id="21" creationId="{2795B796-42AA-2A86-F5EC-F78EB5494350}"/>
          </ac:spMkLst>
        </pc:spChg>
        <pc:grpChg chg="add mod">
          <ac:chgData name="森田 光貴" userId="314cf0e2-2175-4948-8a4a-96924aa0786a" providerId="ADAL" clId="{54D8577C-5196-4E3B-AC07-5AAB674B8325}" dt="2025-02-06T14:16:54.529" v="435"/>
          <ac:grpSpMkLst>
            <pc:docMk/>
            <pc:sldMk cId="3347821416" sldId="2147378698"/>
            <ac:grpSpMk id="7" creationId="{52002093-DF50-FA02-BA5F-6BBF146BCA66}"/>
          </ac:grpSpMkLst>
        </pc:grpChg>
        <pc:grpChg chg="mod">
          <ac:chgData name="森田 光貴" userId="314cf0e2-2175-4948-8a4a-96924aa0786a" providerId="ADAL" clId="{54D8577C-5196-4E3B-AC07-5AAB674B8325}" dt="2025-02-06T14:16:54.529" v="435"/>
          <ac:grpSpMkLst>
            <pc:docMk/>
            <pc:sldMk cId="3347821416" sldId="2147378698"/>
            <ac:grpSpMk id="10" creationId="{B738998B-D1C7-4DA0-CFF5-9A123E597911}"/>
          </ac:grpSpMkLst>
        </pc:grpChg>
        <pc:grpChg chg="mod">
          <ac:chgData name="森田 光貴" userId="314cf0e2-2175-4948-8a4a-96924aa0786a" providerId="ADAL" clId="{54D8577C-5196-4E3B-AC07-5AAB674B8325}" dt="2025-02-06T14:16:54.529" v="435"/>
          <ac:grpSpMkLst>
            <pc:docMk/>
            <pc:sldMk cId="3347821416" sldId="2147378698"/>
            <ac:grpSpMk id="11" creationId="{F9A3E8B6-D4F7-9975-8B59-D2F396C06F28}"/>
          </ac:grpSpMkLst>
        </pc:grpChg>
        <pc:grpChg chg="mod">
          <ac:chgData name="森田 光貴" userId="314cf0e2-2175-4948-8a4a-96924aa0786a" providerId="ADAL" clId="{54D8577C-5196-4E3B-AC07-5AAB674B8325}" dt="2025-02-06T14:16:54.529" v="435"/>
          <ac:grpSpMkLst>
            <pc:docMk/>
            <pc:sldMk cId="3347821416" sldId="2147378698"/>
            <ac:grpSpMk id="12" creationId="{F1638528-25FC-34FB-615D-AC43812FAD07}"/>
          </ac:grpSpMkLst>
        </pc:grpChg>
        <pc:grpChg chg="mod">
          <ac:chgData name="森田 光貴" userId="314cf0e2-2175-4948-8a4a-96924aa0786a" providerId="ADAL" clId="{54D8577C-5196-4E3B-AC07-5AAB674B8325}" dt="2025-02-06T14:16:54.529" v="435"/>
          <ac:grpSpMkLst>
            <pc:docMk/>
            <pc:sldMk cId="3347821416" sldId="2147378698"/>
            <ac:grpSpMk id="13" creationId="{0C48BC36-F017-A7FD-EFE5-3DD062E75EDB}"/>
          </ac:grpSpMkLst>
        </pc:grpChg>
        <pc:picChg chg="mod">
          <ac:chgData name="森田 光貴" userId="314cf0e2-2175-4948-8a4a-96924aa0786a" providerId="ADAL" clId="{54D8577C-5196-4E3B-AC07-5AAB674B8325}" dt="2025-02-06T14:16:54.529" v="435"/>
          <ac:picMkLst>
            <pc:docMk/>
            <pc:sldMk cId="3347821416" sldId="2147378698"/>
            <ac:picMk id="18" creationId="{2507B095-8B76-5E1D-3144-5AC3E998E4FB}"/>
          </ac:picMkLst>
        </pc:picChg>
        <pc:picChg chg="mod">
          <ac:chgData name="森田 光貴" userId="314cf0e2-2175-4948-8a4a-96924aa0786a" providerId="ADAL" clId="{54D8577C-5196-4E3B-AC07-5AAB674B8325}" dt="2025-02-06T14:16:54.529" v="435"/>
          <ac:picMkLst>
            <pc:docMk/>
            <pc:sldMk cId="3347821416" sldId="2147378698"/>
            <ac:picMk id="20" creationId="{5F251E6C-56B2-4EEE-259F-0A6F4F938D4F}"/>
          </ac:picMkLst>
        </pc:picChg>
        <pc:picChg chg="mod">
          <ac:chgData name="森田 光貴" userId="314cf0e2-2175-4948-8a4a-96924aa0786a" providerId="ADAL" clId="{54D8577C-5196-4E3B-AC07-5AAB674B8325}" dt="2025-02-06T14:17:15.169" v="436" actId="14100"/>
          <ac:picMkLst>
            <pc:docMk/>
            <pc:sldMk cId="3347821416" sldId="2147378698"/>
            <ac:picMk id="31" creationId="{16020430-00B1-287F-A924-BAA06D233495}"/>
          </ac:picMkLst>
        </pc:picChg>
      </pc:sldChg>
      <pc:sldChg chg="addSp modSp mod">
        <pc:chgData name="森田 光貴" userId="314cf0e2-2175-4948-8a4a-96924aa0786a" providerId="ADAL" clId="{54D8577C-5196-4E3B-AC07-5AAB674B8325}" dt="2025-02-06T15:16:40.779" v="547"/>
        <pc:sldMkLst>
          <pc:docMk/>
          <pc:sldMk cId="190838501" sldId="2147378699"/>
        </pc:sldMkLst>
        <pc:spChg chg="add mod">
          <ac:chgData name="森田 光貴" userId="314cf0e2-2175-4948-8a4a-96924aa0786a" providerId="ADAL" clId="{54D8577C-5196-4E3B-AC07-5AAB674B8325}" dt="2025-02-06T15:16:40.779" v="547"/>
          <ac:spMkLst>
            <pc:docMk/>
            <pc:sldMk cId="190838501" sldId="2147378699"/>
            <ac:spMk id="3" creationId="{D69F45AB-97DA-86D6-7B3F-F21CC23CCBBD}"/>
          </ac:spMkLst>
        </pc:spChg>
        <pc:graphicFrameChg chg="modGraphic">
          <ac:chgData name="森田 光貴" userId="314cf0e2-2175-4948-8a4a-96924aa0786a" providerId="ADAL" clId="{54D8577C-5196-4E3B-AC07-5AAB674B8325}" dt="2025-02-06T14:19:25.018" v="447" actId="20577"/>
          <ac:graphicFrameMkLst>
            <pc:docMk/>
            <pc:sldMk cId="190838501" sldId="2147378699"/>
            <ac:graphicFrameMk id="2" creationId="{5E62C5DD-8E38-39C6-A171-A79017DD18C4}"/>
          </ac:graphicFrameMkLst>
        </pc:graphicFrameChg>
      </pc:sldChg>
      <pc:sldChg chg="addSp delSp modSp mod">
        <pc:chgData name="森田 光貴" userId="314cf0e2-2175-4948-8a4a-96924aa0786a" providerId="ADAL" clId="{54D8577C-5196-4E3B-AC07-5AAB674B8325}" dt="2025-02-07T04:06:21.843" v="6405"/>
        <pc:sldMkLst>
          <pc:docMk/>
          <pc:sldMk cId="112285639" sldId="2147378703"/>
        </pc:sldMkLst>
        <pc:spChg chg="del">
          <ac:chgData name="森田 光貴" userId="314cf0e2-2175-4948-8a4a-96924aa0786a" providerId="ADAL" clId="{54D8577C-5196-4E3B-AC07-5AAB674B8325}" dt="2025-02-07T04:06:19.217" v="6404" actId="478"/>
          <ac:spMkLst>
            <pc:docMk/>
            <pc:sldMk cId="112285639" sldId="2147378703"/>
            <ac:spMk id="5" creationId="{07FDD3E2-893C-7C7D-69AA-ED74F7AC6940}"/>
          </ac:spMkLst>
        </pc:spChg>
        <pc:spChg chg="add mod">
          <ac:chgData name="森田 光貴" userId="314cf0e2-2175-4948-8a4a-96924aa0786a" providerId="ADAL" clId="{54D8577C-5196-4E3B-AC07-5AAB674B8325}" dt="2025-02-07T04:06:21.843" v="6405"/>
          <ac:spMkLst>
            <pc:docMk/>
            <pc:sldMk cId="112285639" sldId="2147378703"/>
            <ac:spMk id="7" creationId="{BFEF2AAF-C7FE-A74C-9228-F5BBA7BB817E}"/>
          </ac:spMkLst>
        </pc:spChg>
        <pc:picChg chg="mod">
          <ac:chgData name="森田 光貴" userId="314cf0e2-2175-4948-8a4a-96924aa0786a" providerId="ADAL" clId="{54D8577C-5196-4E3B-AC07-5AAB674B8325}" dt="2025-02-06T14:25:50.658" v="449" actId="1076"/>
          <ac:picMkLst>
            <pc:docMk/>
            <pc:sldMk cId="112285639" sldId="2147378703"/>
            <ac:picMk id="12" creationId="{920D49B5-780A-0B0E-081E-8188B35BACC6}"/>
          </ac:picMkLst>
        </pc:picChg>
      </pc:sldChg>
      <pc:sldChg chg="addSp modSp mod">
        <pc:chgData name="森田 光貴" userId="314cf0e2-2175-4948-8a4a-96924aa0786a" providerId="ADAL" clId="{54D8577C-5196-4E3B-AC07-5AAB674B8325}" dt="2025-02-07T04:07:57.717" v="6482"/>
        <pc:sldMkLst>
          <pc:docMk/>
          <pc:sldMk cId="936371591" sldId="2147378704"/>
        </pc:sldMkLst>
        <pc:spChg chg="add mod">
          <ac:chgData name="森田 光貴" userId="314cf0e2-2175-4948-8a4a-96924aa0786a" providerId="ADAL" clId="{54D8577C-5196-4E3B-AC07-5AAB674B8325}" dt="2025-02-07T04:07:57.717" v="6482"/>
          <ac:spMkLst>
            <pc:docMk/>
            <pc:sldMk cId="936371591" sldId="2147378704"/>
            <ac:spMk id="6" creationId="{3436CB90-C2D8-4C71-8598-E7CDF6DA3EE9}"/>
          </ac:spMkLst>
        </pc:spChg>
      </pc:sldChg>
      <pc:sldChg chg="addSp modSp mod">
        <pc:chgData name="森田 光貴" userId="314cf0e2-2175-4948-8a4a-96924aa0786a" providerId="ADAL" clId="{54D8577C-5196-4E3B-AC07-5AAB674B8325}" dt="2025-02-07T04:08:52.448" v="6486"/>
        <pc:sldMkLst>
          <pc:docMk/>
          <pc:sldMk cId="1075793544" sldId="2147378706"/>
        </pc:sldMkLst>
        <pc:spChg chg="add mod">
          <ac:chgData name="森田 光貴" userId="314cf0e2-2175-4948-8a4a-96924aa0786a" providerId="ADAL" clId="{54D8577C-5196-4E3B-AC07-5AAB674B8325}" dt="2025-02-07T04:08:52.448" v="6486"/>
          <ac:spMkLst>
            <pc:docMk/>
            <pc:sldMk cId="1075793544" sldId="2147378706"/>
            <ac:spMk id="63" creationId="{7C6B3982-F0AE-8DE6-BAA9-70D33CDCF18C}"/>
          </ac:spMkLst>
        </pc:spChg>
      </pc:sldChg>
      <pc:sldChg chg="addSp modSp mod">
        <pc:chgData name="森田 光貴" userId="314cf0e2-2175-4948-8a4a-96924aa0786a" providerId="ADAL" clId="{54D8577C-5196-4E3B-AC07-5AAB674B8325}" dt="2025-02-07T04:09:47.382" v="6524"/>
        <pc:sldMkLst>
          <pc:docMk/>
          <pc:sldMk cId="1215250369" sldId="2147378707"/>
        </pc:sldMkLst>
        <pc:spChg chg="add mod">
          <ac:chgData name="森田 光貴" userId="314cf0e2-2175-4948-8a4a-96924aa0786a" providerId="ADAL" clId="{54D8577C-5196-4E3B-AC07-5AAB674B8325}" dt="2025-02-07T04:09:47.382" v="6524"/>
          <ac:spMkLst>
            <pc:docMk/>
            <pc:sldMk cId="1215250369" sldId="2147378707"/>
            <ac:spMk id="6" creationId="{0EF1E65A-B109-F41E-1B7B-F0E1CB735B01}"/>
          </ac:spMkLst>
        </pc:spChg>
      </pc:sldChg>
      <pc:sldChg chg="modSp mod">
        <pc:chgData name="森田 光貴" userId="314cf0e2-2175-4948-8a4a-96924aa0786a" providerId="ADAL" clId="{54D8577C-5196-4E3B-AC07-5AAB674B8325}" dt="2025-02-06T14:08:50.458" v="432"/>
        <pc:sldMkLst>
          <pc:docMk/>
          <pc:sldMk cId="355750652" sldId="2147378708"/>
        </pc:sldMkLst>
        <pc:graphicFrameChg chg="mod modGraphic">
          <ac:chgData name="森田 光貴" userId="314cf0e2-2175-4948-8a4a-96924aa0786a" providerId="ADAL" clId="{54D8577C-5196-4E3B-AC07-5AAB674B8325}" dt="2025-02-06T14:08:50.458" v="432"/>
          <ac:graphicFrameMkLst>
            <pc:docMk/>
            <pc:sldMk cId="355750652" sldId="2147378708"/>
            <ac:graphicFrameMk id="2" creationId="{C643ECC8-A3AC-933C-3E81-E0D6449A8658}"/>
          </ac:graphicFrameMkLst>
        </pc:graphicFrameChg>
      </pc:sldChg>
      <pc:sldChg chg="addSp delSp modSp mod ord">
        <pc:chgData name="森田 光貴" userId="314cf0e2-2175-4948-8a4a-96924aa0786a" providerId="ADAL" clId="{54D8577C-5196-4E3B-AC07-5AAB674B8325}" dt="2025-02-07T03:59:29.019" v="6323"/>
        <pc:sldMkLst>
          <pc:docMk/>
          <pc:sldMk cId="3685116316" sldId="2147378709"/>
        </pc:sldMkLst>
        <pc:spChg chg="add del mod">
          <ac:chgData name="森田 光貴" userId="314cf0e2-2175-4948-8a4a-96924aa0786a" providerId="ADAL" clId="{54D8577C-5196-4E3B-AC07-5AAB674B8325}" dt="2025-02-06T16:06:19.865" v="1613" actId="478"/>
          <ac:spMkLst>
            <pc:docMk/>
            <pc:sldMk cId="3685116316" sldId="2147378709"/>
            <ac:spMk id="3" creationId="{50194887-9594-1739-7E8C-7DB10129298E}"/>
          </ac:spMkLst>
        </pc:spChg>
        <pc:spChg chg="add del mod">
          <ac:chgData name="森田 光貴" userId="314cf0e2-2175-4948-8a4a-96924aa0786a" providerId="ADAL" clId="{54D8577C-5196-4E3B-AC07-5AAB674B8325}" dt="2025-02-06T16:06:48.386" v="1615" actId="478"/>
          <ac:spMkLst>
            <pc:docMk/>
            <pc:sldMk cId="3685116316" sldId="2147378709"/>
            <ac:spMk id="4" creationId="{E87394A1-BCC3-1153-ED3A-B8E41D2628AB}"/>
          </ac:spMkLst>
        </pc:spChg>
        <pc:spChg chg="mod">
          <ac:chgData name="森田 光貴" userId="314cf0e2-2175-4948-8a4a-96924aa0786a" providerId="ADAL" clId="{54D8577C-5196-4E3B-AC07-5AAB674B8325}" dt="2025-02-06T16:14:26.072" v="1712" actId="20577"/>
          <ac:spMkLst>
            <pc:docMk/>
            <pc:sldMk cId="3685116316" sldId="2147378709"/>
            <ac:spMk id="6" creationId="{06F06DD2-9B90-695B-AD25-50F75DE8988B}"/>
          </ac:spMkLst>
        </pc:spChg>
        <pc:spChg chg="add del mod">
          <ac:chgData name="森田 光貴" userId="314cf0e2-2175-4948-8a4a-96924aa0786a" providerId="ADAL" clId="{54D8577C-5196-4E3B-AC07-5AAB674B8325}" dt="2025-02-07T03:59:27.304" v="6322" actId="478"/>
          <ac:spMkLst>
            <pc:docMk/>
            <pc:sldMk cId="3685116316" sldId="2147378709"/>
            <ac:spMk id="7" creationId="{DAEF76F3-C44B-93C1-72B8-D2D2FB9498DC}"/>
          </ac:spMkLst>
        </pc:spChg>
        <pc:spChg chg="add mod">
          <ac:chgData name="森田 光貴" userId="314cf0e2-2175-4948-8a4a-96924aa0786a" providerId="ADAL" clId="{54D8577C-5196-4E3B-AC07-5AAB674B8325}" dt="2025-02-07T03:59:29.019" v="6323"/>
          <ac:spMkLst>
            <pc:docMk/>
            <pc:sldMk cId="3685116316" sldId="2147378709"/>
            <ac:spMk id="8" creationId="{01400420-A405-9FA0-FB58-53E4DBC1233D}"/>
          </ac:spMkLst>
        </pc:spChg>
        <pc:spChg chg="mod">
          <ac:chgData name="森田 光貴" userId="314cf0e2-2175-4948-8a4a-96924aa0786a" providerId="ADAL" clId="{54D8577C-5196-4E3B-AC07-5AAB674B8325}" dt="2025-02-07T02:30:54.698" v="4474"/>
          <ac:spMkLst>
            <pc:docMk/>
            <pc:sldMk cId="3685116316" sldId="2147378709"/>
            <ac:spMk id="17" creationId="{53F10FF5-7C3A-04E7-4D0E-3EC2A9EB89FC}"/>
          </ac:spMkLst>
        </pc:spChg>
        <pc:spChg chg="mod">
          <ac:chgData name="森田 光貴" userId="314cf0e2-2175-4948-8a4a-96924aa0786a" providerId="ADAL" clId="{54D8577C-5196-4E3B-AC07-5AAB674B8325}" dt="2025-02-07T02:31:03.008" v="4489"/>
          <ac:spMkLst>
            <pc:docMk/>
            <pc:sldMk cId="3685116316" sldId="2147378709"/>
            <ac:spMk id="22" creationId="{E3A53034-9097-A2B0-BA00-9805C113B3C4}"/>
          </ac:spMkLst>
        </pc:spChg>
        <pc:spChg chg="mod">
          <ac:chgData name="森田 光貴" userId="314cf0e2-2175-4948-8a4a-96924aa0786a" providerId="ADAL" clId="{54D8577C-5196-4E3B-AC07-5AAB674B8325}" dt="2025-02-07T02:31:23.305" v="4529" actId="20577"/>
          <ac:spMkLst>
            <pc:docMk/>
            <pc:sldMk cId="3685116316" sldId="2147378709"/>
            <ac:spMk id="23" creationId="{548B53C1-9515-859C-4FF6-ED37AFEFE4B3}"/>
          </ac:spMkLst>
        </pc:spChg>
        <pc:spChg chg="mod">
          <ac:chgData name="森田 光貴" userId="314cf0e2-2175-4948-8a4a-96924aa0786a" providerId="ADAL" clId="{54D8577C-5196-4E3B-AC07-5AAB674B8325}" dt="2025-02-07T02:30:44.102" v="4444"/>
          <ac:spMkLst>
            <pc:docMk/>
            <pc:sldMk cId="3685116316" sldId="2147378709"/>
            <ac:spMk id="25" creationId="{B623064F-1224-9D0A-91B9-574A09BD6B31}"/>
          </ac:spMkLst>
        </pc:spChg>
        <pc:spChg chg="mod">
          <ac:chgData name="森田 光貴" userId="314cf0e2-2175-4948-8a4a-96924aa0786a" providerId="ADAL" clId="{54D8577C-5196-4E3B-AC07-5AAB674B8325}" dt="2025-02-07T01:00:52.483" v="3659" actId="207"/>
          <ac:spMkLst>
            <pc:docMk/>
            <pc:sldMk cId="3685116316" sldId="2147378709"/>
            <ac:spMk id="28" creationId="{90FD0E77-3888-581E-76F2-D03B3D6A162F}"/>
          </ac:spMkLst>
        </pc:spChg>
        <pc:spChg chg="mod">
          <ac:chgData name="森田 光貴" userId="314cf0e2-2175-4948-8a4a-96924aa0786a" providerId="ADAL" clId="{54D8577C-5196-4E3B-AC07-5AAB674B8325}" dt="2025-02-07T02:07:05.515" v="4213"/>
          <ac:spMkLst>
            <pc:docMk/>
            <pc:sldMk cId="3685116316" sldId="2147378709"/>
            <ac:spMk id="29" creationId="{51548927-EDC2-8320-9763-1100DEEB5C3D}"/>
          </ac:spMkLst>
        </pc:spChg>
        <pc:spChg chg="mod">
          <ac:chgData name="森田 光貴" userId="314cf0e2-2175-4948-8a4a-96924aa0786a" providerId="ADAL" clId="{54D8577C-5196-4E3B-AC07-5AAB674B8325}" dt="2025-02-07T02:07:07.183" v="4214"/>
          <ac:spMkLst>
            <pc:docMk/>
            <pc:sldMk cId="3685116316" sldId="2147378709"/>
            <ac:spMk id="30" creationId="{ABA7E6E7-22B8-6897-CAD1-5BB1F7243A11}"/>
          </ac:spMkLst>
        </pc:spChg>
        <pc:spChg chg="mod">
          <ac:chgData name="森田 光貴" userId="314cf0e2-2175-4948-8a4a-96924aa0786a" providerId="ADAL" clId="{54D8577C-5196-4E3B-AC07-5AAB674B8325}" dt="2025-02-07T02:44:37.288" v="4924"/>
          <ac:spMkLst>
            <pc:docMk/>
            <pc:sldMk cId="3685116316" sldId="2147378709"/>
            <ac:spMk id="31" creationId="{97AC2652-6A11-4525-3831-C5116BDDAFD4}"/>
          </ac:spMkLst>
        </pc:spChg>
        <pc:spChg chg="mod">
          <ac:chgData name="森田 光貴" userId="314cf0e2-2175-4948-8a4a-96924aa0786a" providerId="ADAL" clId="{54D8577C-5196-4E3B-AC07-5AAB674B8325}" dt="2025-02-07T02:07:12.507" v="4217"/>
          <ac:spMkLst>
            <pc:docMk/>
            <pc:sldMk cId="3685116316" sldId="2147378709"/>
            <ac:spMk id="32" creationId="{226A0974-299A-DA5C-F13B-FA16A7D473D9}"/>
          </ac:spMkLst>
        </pc:spChg>
        <pc:spChg chg="mod">
          <ac:chgData name="森田 光貴" userId="314cf0e2-2175-4948-8a4a-96924aa0786a" providerId="ADAL" clId="{54D8577C-5196-4E3B-AC07-5AAB674B8325}" dt="2025-02-07T02:41:20.682" v="4782"/>
          <ac:spMkLst>
            <pc:docMk/>
            <pc:sldMk cId="3685116316" sldId="2147378709"/>
            <ac:spMk id="33" creationId="{C9FC6D16-CAD4-5B3E-F8B5-81D2A2D8CDCA}"/>
          </ac:spMkLst>
        </pc:spChg>
        <pc:spChg chg="mod">
          <ac:chgData name="森田 光貴" userId="314cf0e2-2175-4948-8a4a-96924aa0786a" providerId="ADAL" clId="{54D8577C-5196-4E3B-AC07-5AAB674B8325}" dt="2025-02-07T02:35:46.952" v="4531"/>
          <ac:spMkLst>
            <pc:docMk/>
            <pc:sldMk cId="3685116316" sldId="2147378709"/>
            <ac:spMk id="34" creationId="{C89FC4AA-2731-E92F-D907-2D16595912E8}"/>
          </ac:spMkLst>
        </pc:spChg>
        <pc:spChg chg="mod">
          <ac:chgData name="森田 光貴" userId="314cf0e2-2175-4948-8a4a-96924aa0786a" providerId="ADAL" clId="{54D8577C-5196-4E3B-AC07-5AAB674B8325}" dt="2025-02-07T02:39:10.517" v="4708"/>
          <ac:spMkLst>
            <pc:docMk/>
            <pc:sldMk cId="3685116316" sldId="2147378709"/>
            <ac:spMk id="35" creationId="{708AB7D6-2CDF-65E4-DFCF-96EFAC6FF818}"/>
          </ac:spMkLst>
        </pc:spChg>
      </pc:sldChg>
      <pc:sldChg chg="addSp modSp mod">
        <pc:chgData name="森田 光貴" userId="314cf0e2-2175-4948-8a4a-96924aa0786a" providerId="ADAL" clId="{54D8577C-5196-4E3B-AC07-5AAB674B8325}" dt="2025-02-07T03:14:02.934" v="5392" actId="20577"/>
        <pc:sldMkLst>
          <pc:docMk/>
          <pc:sldMk cId="2249235288" sldId="2147378710"/>
        </pc:sldMkLst>
        <pc:spChg chg="mod">
          <ac:chgData name="森田 光貴" userId="314cf0e2-2175-4948-8a4a-96924aa0786a" providerId="ADAL" clId="{54D8577C-5196-4E3B-AC07-5AAB674B8325}" dt="2025-02-07T03:14:02.934" v="5392" actId="20577"/>
          <ac:spMkLst>
            <pc:docMk/>
            <pc:sldMk cId="2249235288" sldId="2147378710"/>
            <ac:spMk id="13" creationId="{EDAD2185-EC0D-868E-795C-E7F2FB4ACC64}"/>
          </ac:spMkLst>
        </pc:spChg>
        <pc:spChg chg="mod">
          <ac:chgData name="森田 光貴" userId="314cf0e2-2175-4948-8a4a-96924aa0786a" providerId="ADAL" clId="{54D8577C-5196-4E3B-AC07-5AAB674B8325}" dt="2025-02-07T03:13:48.885" v="5363" actId="20577"/>
          <ac:spMkLst>
            <pc:docMk/>
            <pc:sldMk cId="2249235288" sldId="2147378710"/>
            <ac:spMk id="14" creationId="{EB154E72-D468-E337-5176-249A512E7AD4}"/>
          </ac:spMkLst>
        </pc:spChg>
        <pc:spChg chg="add mod">
          <ac:chgData name="森田 光貴" userId="314cf0e2-2175-4948-8a4a-96924aa0786a" providerId="ADAL" clId="{54D8577C-5196-4E3B-AC07-5AAB674B8325}" dt="2025-02-07T03:07:15.847" v="5131" actId="1076"/>
          <ac:spMkLst>
            <pc:docMk/>
            <pc:sldMk cId="2249235288" sldId="2147378710"/>
            <ac:spMk id="15" creationId="{A9796D27-DDEF-1B7A-97DA-28272B9383AC}"/>
          </ac:spMkLst>
        </pc:spChg>
      </pc:sldChg>
      <pc:sldChg chg="addSp delSp modSp mod">
        <pc:chgData name="森田 光貴" userId="314cf0e2-2175-4948-8a4a-96924aa0786a" providerId="ADAL" clId="{54D8577C-5196-4E3B-AC07-5AAB674B8325}" dt="2025-02-07T03:41:58.021" v="5664"/>
        <pc:sldMkLst>
          <pc:docMk/>
          <pc:sldMk cId="1302942433" sldId="2147378711"/>
        </pc:sldMkLst>
        <pc:spChg chg="mod">
          <ac:chgData name="森田 光貴" userId="314cf0e2-2175-4948-8a4a-96924aa0786a" providerId="ADAL" clId="{54D8577C-5196-4E3B-AC07-5AAB674B8325}" dt="2025-02-07T03:41:58.021" v="5664"/>
          <ac:spMkLst>
            <pc:docMk/>
            <pc:sldMk cId="1302942433" sldId="2147378711"/>
            <ac:spMk id="13" creationId="{EDAD2185-EC0D-868E-795C-E7F2FB4ACC64}"/>
          </ac:spMkLst>
        </pc:spChg>
        <pc:spChg chg="del">
          <ac:chgData name="森田 光貴" userId="314cf0e2-2175-4948-8a4a-96924aa0786a" providerId="ADAL" clId="{54D8577C-5196-4E3B-AC07-5AAB674B8325}" dt="2025-02-07T01:11:45.010" v="3794" actId="478"/>
          <ac:spMkLst>
            <pc:docMk/>
            <pc:sldMk cId="1302942433" sldId="2147378711"/>
            <ac:spMk id="14" creationId="{18C1D74E-EB9E-1CE0-ED28-285496344003}"/>
          </ac:spMkLst>
        </pc:spChg>
        <pc:spChg chg="add mod">
          <ac:chgData name="森田 光貴" userId="314cf0e2-2175-4948-8a4a-96924aa0786a" providerId="ADAL" clId="{54D8577C-5196-4E3B-AC07-5AAB674B8325}" dt="2025-02-07T02:23:19.067" v="4367"/>
          <ac:spMkLst>
            <pc:docMk/>
            <pc:sldMk cId="1302942433" sldId="2147378711"/>
            <ac:spMk id="16" creationId="{CE3710F1-B30E-EA02-A69C-61327FEC95E4}"/>
          </ac:spMkLst>
        </pc:spChg>
        <pc:spChg chg="add mod">
          <ac:chgData name="森田 光貴" userId="314cf0e2-2175-4948-8a4a-96924aa0786a" providerId="ADAL" clId="{54D8577C-5196-4E3B-AC07-5AAB674B8325}" dt="2025-02-07T01:11:49.459" v="3795" actId="1076"/>
          <ac:spMkLst>
            <pc:docMk/>
            <pc:sldMk cId="1302942433" sldId="2147378711"/>
            <ac:spMk id="17" creationId="{B8742A06-7726-04DB-07A0-15A44946BF87}"/>
          </ac:spMkLst>
        </pc:spChg>
      </pc:sldChg>
      <pc:sldChg chg="modSp mod">
        <pc:chgData name="森田 光貴" userId="314cf0e2-2175-4948-8a4a-96924aa0786a" providerId="ADAL" clId="{54D8577C-5196-4E3B-AC07-5AAB674B8325}" dt="2025-02-07T02:25:52.821" v="4415"/>
        <pc:sldMkLst>
          <pc:docMk/>
          <pc:sldMk cId="958813593" sldId="2147378712"/>
        </pc:sldMkLst>
        <pc:spChg chg="mod">
          <ac:chgData name="森田 光貴" userId="314cf0e2-2175-4948-8a4a-96924aa0786a" providerId="ADAL" clId="{54D8577C-5196-4E3B-AC07-5AAB674B8325}" dt="2025-02-07T02:25:52.821" v="4415"/>
          <ac:spMkLst>
            <pc:docMk/>
            <pc:sldMk cId="958813593" sldId="2147378712"/>
            <ac:spMk id="6" creationId="{09D775EB-351B-C236-C043-A7DD108D7C85}"/>
          </ac:spMkLst>
        </pc:spChg>
      </pc:sldChg>
      <pc:sldChg chg="addSp delSp modSp mod">
        <pc:chgData name="森田 光貴" userId="314cf0e2-2175-4948-8a4a-96924aa0786a" providerId="ADAL" clId="{54D8577C-5196-4E3B-AC07-5AAB674B8325}" dt="2025-02-06T15:15:29.749" v="546" actId="478"/>
        <pc:sldMkLst>
          <pc:docMk/>
          <pc:sldMk cId="89963991" sldId="2147378715"/>
        </pc:sldMkLst>
        <pc:spChg chg="del mod">
          <ac:chgData name="森田 光貴" userId="314cf0e2-2175-4948-8a4a-96924aa0786a" providerId="ADAL" clId="{54D8577C-5196-4E3B-AC07-5AAB674B8325}" dt="2025-02-06T15:15:29.749" v="546" actId="478"/>
          <ac:spMkLst>
            <pc:docMk/>
            <pc:sldMk cId="89963991" sldId="2147378715"/>
            <ac:spMk id="3" creationId="{564B8093-4C76-84FC-9FFB-6B5460E1262B}"/>
          </ac:spMkLst>
        </pc:spChg>
        <pc:spChg chg="add mod">
          <ac:chgData name="森田 光貴" userId="314cf0e2-2175-4948-8a4a-96924aa0786a" providerId="ADAL" clId="{54D8577C-5196-4E3B-AC07-5AAB674B8325}" dt="2025-02-06T15:15:25.814" v="545"/>
          <ac:spMkLst>
            <pc:docMk/>
            <pc:sldMk cId="89963991" sldId="2147378715"/>
            <ac:spMk id="4" creationId="{834D33ED-6B34-20EF-8172-D3E49E7DF7FF}"/>
          </ac:spMkLst>
        </pc:spChg>
      </pc:sldChg>
      <pc:sldChg chg="addSp delSp modSp mod">
        <pc:chgData name="森田 光貴" userId="314cf0e2-2175-4948-8a4a-96924aa0786a" providerId="ADAL" clId="{54D8577C-5196-4E3B-AC07-5AAB674B8325}" dt="2025-02-06T14:18:52.767" v="443"/>
        <pc:sldMkLst>
          <pc:docMk/>
          <pc:sldMk cId="1575785639" sldId="2147378716"/>
        </pc:sldMkLst>
        <pc:spChg chg="del">
          <ac:chgData name="森田 光貴" userId="314cf0e2-2175-4948-8a4a-96924aa0786a" providerId="ADAL" clId="{54D8577C-5196-4E3B-AC07-5AAB674B8325}" dt="2025-02-06T14:18:33.068" v="438" actId="478"/>
          <ac:spMkLst>
            <pc:docMk/>
            <pc:sldMk cId="1575785639" sldId="2147378716"/>
            <ac:spMk id="3" creationId="{6D8BE3DE-8ABE-633A-41E7-260D52926EB8}"/>
          </ac:spMkLst>
        </pc:spChg>
        <pc:spChg chg="add mod">
          <ac:chgData name="森田 光貴" userId="314cf0e2-2175-4948-8a4a-96924aa0786a" providerId="ADAL" clId="{54D8577C-5196-4E3B-AC07-5AAB674B8325}" dt="2025-02-06T14:18:49.402" v="442"/>
          <ac:spMkLst>
            <pc:docMk/>
            <pc:sldMk cId="1575785639" sldId="2147378716"/>
            <ac:spMk id="4" creationId="{B58CBB79-28B6-0F3B-6486-A15BFAC06F57}"/>
          </ac:spMkLst>
        </pc:spChg>
        <pc:spChg chg="add mod">
          <ac:chgData name="森田 光貴" userId="314cf0e2-2175-4948-8a4a-96924aa0786a" providerId="ADAL" clId="{54D8577C-5196-4E3B-AC07-5AAB674B8325}" dt="2025-02-06T14:18:52.767" v="443"/>
          <ac:spMkLst>
            <pc:docMk/>
            <pc:sldMk cId="1575785639" sldId="2147378716"/>
            <ac:spMk id="7" creationId="{753EDDE2-9BD8-2942-AFF5-CB0966A2B583}"/>
          </ac:spMkLst>
        </pc:spChg>
        <pc:picChg chg="mod">
          <ac:chgData name="森田 光貴" userId="314cf0e2-2175-4948-8a4a-96924aa0786a" providerId="ADAL" clId="{54D8577C-5196-4E3B-AC07-5AAB674B8325}" dt="2025-02-06T14:18:45.390" v="441" actId="1076"/>
          <ac:picMkLst>
            <pc:docMk/>
            <pc:sldMk cId="1575785639" sldId="2147378716"/>
            <ac:picMk id="14" creationId="{14F881AA-A9DD-5D4C-6B41-DC64E37C5F31}"/>
          </ac:picMkLst>
        </pc:picChg>
      </pc:sldChg>
      <pc:sldChg chg="addSp modSp mod">
        <pc:chgData name="森田 光貴" userId="314cf0e2-2175-4948-8a4a-96924aa0786a" providerId="ADAL" clId="{54D8577C-5196-4E3B-AC07-5AAB674B8325}" dt="2025-02-07T04:08:13.479" v="6484"/>
        <pc:sldMkLst>
          <pc:docMk/>
          <pc:sldMk cId="2574112575" sldId="2147378718"/>
        </pc:sldMkLst>
        <pc:spChg chg="add mod">
          <ac:chgData name="森田 光貴" userId="314cf0e2-2175-4948-8a4a-96924aa0786a" providerId="ADAL" clId="{54D8577C-5196-4E3B-AC07-5AAB674B8325}" dt="2025-02-07T04:08:13.479" v="6484"/>
          <ac:spMkLst>
            <pc:docMk/>
            <pc:sldMk cId="2574112575" sldId="2147378718"/>
            <ac:spMk id="2" creationId="{C2B92959-466B-8EBF-B6C6-3BFCC839C237}"/>
          </ac:spMkLst>
        </pc:spChg>
      </pc:sldChg>
      <pc:sldChg chg="del">
        <pc:chgData name="森田 光貴" userId="314cf0e2-2175-4948-8a4a-96924aa0786a" providerId="ADAL" clId="{54D8577C-5196-4E3B-AC07-5AAB674B8325}" dt="2025-02-07T03:56:00.404" v="6311" actId="47"/>
        <pc:sldMkLst>
          <pc:docMk/>
          <pc:sldMk cId="2471951817" sldId="2147378720"/>
        </pc:sldMkLst>
      </pc:sldChg>
      <pc:sldChg chg="addSp delSp modSp add mod ord">
        <pc:chgData name="森田 光貴" userId="314cf0e2-2175-4948-8a4a-96924aa0786a" providerId="ADAL" clId="{54D8577C-5196-4E3B-AC07-5AAB674B8325}" dt="2025-02-06T15:10:26.778" v="534"/>
        <pc:sldMkLst>
          <pc:docMk/>
          <pc:sldMk cId="684831738" sldId="2147378726"/>
        </pc:sldMkLst>
        <pc:spChg chg="add del mod">
          <ac:chgData name="森田 光貴" userId="314cf0e2-2175-4948-8a4a-96924aa0786a" providerId="ADAL" clId="{54D8577C-5196-4E3B-AC07-5AAB674B8325}" dt="2025-02-06T14:37:50.114" v="458" actId="478"/>
          <ac:spMkLst>
            <pc:docMk/>
            <pc:sldMk cId="684831738" sldId="2147378726"/>
            <ac:spMk id="6" creationId="{F9349DCB-D57B-37DE-E062-17FBFD409D91}"/>
          </ac:spMkLst>
        </pc:spChg>
        <pc:spChg chg="add mod">
          <ac:chgData name="森田 光貴" userId="314cf0e2-2175-4948-8a4a-96924aa0786a" providerId="ADAL" clId="{54D8577C-5196-4E3B-AC07-5AAB674B8325}" dt="2025-02-06T15:10:03.186" v="516"/>
          <ac:spMkLst>
            <pc:docMk/>
            <pc:sldMk cId="684831738" sldId="2147378726"/>
            <ac:spMk id="7" creationId="{33997F28-3F7D-9ADB-4329-31223649892B}"/>
          </ac:spMkLst>
        </pc:spChg>
        <pc:spChg chg="del">
          <ac:chgData name="森田 光貴" userId="314cf0e2-2175-4948-8a4a-96924aa0786a" providerId="ADAL" clId="{54D8577C-5196-4E3B-AC07-5AAB674B8325}" dt="2025-02-06T14:37:44.482" v="456" actId="478"/>
          <ac:spMkLst>
            <pc:docMk/>
            <pc:sldMk cId="684831738" sldId="2147378726"/>
            <ac:spMk id="9" creationId="{D22A0A06-D5A8-4A1A-B66F-2A8EDBD644F1}"/>
          </ac:spMkLst>
        </pc:spChg>
        <pc:spChg chg="add del mod">
          <ac:chgData name="森田 光貴" userId="314cf0e2-2175-4948-8a4a-96924aa0786a" providerId="ADAL" clId="{54D8577C-5196-4E3B-AC07-5AAB674B8325}" dt="2025-02-06T15:08:01.406" v="474" actId="478"/>
          <ac:spMkLst>
            <pc:docMk/>
            <pc:sldMk cId="684831738" sldId="2147378726"/>
            <ac:spMk id="10" creationId="{053256CB-727F-419B-3F3F-768FED61C4DC}"/>
          </ac:spMkLst>
        </pc:spChg>
        <pc:spChg chg="add mod">
          <ac:chgData name="森田 光貴" userId="314cf0e2-2175-4948-8a4a-96924aa0786a" providerId="ADAL" clId="{54D8577C-5196-4E3B-AC07-5AAB674B8325}" dt="2025-02-06T15:09:37.825" v="500" actId="1076"/>
          <ac:spMkLst>
            <pc:docMk/>
            <pc:sldMk cId="684831738" sldId="2147378726"/>
            <ac:spMk id="14" creationId="{599622DA-66D8-0ABD-60C7-5972EA4F1882}"/>
          </ac:spMkLst>
        </pc:spChg>
        <pc:graphicFrameChg chg="del">
          <ac:chgData name="森田 光貴" userId="314cf0e2-2175-4948-8a4a-96924aa0786a" providerId="ADAL" clId="{54D8577C-5196-4E3B-AC07-5AAB674B8325}" dt="2025-02-06T14:37:31.634" v="455" actId="478"/>
          <ac:graphicFrameMkLst>
            <pc:docMk/>
            <pc:sldMk cId="684831738" sldId="2147378726"/>
            <ac:graphicFrameMk id="3" creationId="{C2FBD78A-42F9-DBB2-6819-EF5E9FDD5F77}"/>
          </ac:graphicFrameMkLst>
        </pc:graphicFrameChg>
        <pc:picChg chg="add del mod">
          <ac:chgData name="森田 光貴" userId="314cf0e2-2175-4948-8a4a-96924aa0786a" providerId="ADAL" clId="{54D8577C-5196-4E3B-AC07-5AAB674B8325}" dt="2025-02-06T14:38:13.982" v="462" actId="478"/>
          <ac:picMkLst>
            <pc:docMk/>
            <pc:sldMk cId="684831738" sldId="2147378726"/>
            <ac:picMk id="11" creationId="{AC7C440A-2B82-E4A5-0368-3058E1AB6B60}"/>
          </ac:picMkLst>
        </pc:picChg>
        <pc:picChg chg="add mod modCrop">
          <ac:chgData name="森田 光貴" userId="314cf0e2-2175-4948-8a4a-96924aa0786a" providerId="ADAL" clId="{54D8577C-5196-4E3B-AC07-5AAB674B8325}" dt="2025-02-06T15:08:08.347" v="476" actId="1076"/>
          <ac:picMkLst>
            <pc:docMk/>
            <pc:sldMk cId="684831738" sldId="2147378726"/>
            <ac:picMk id="13" creationId="{DE8618E3-6CA7-9D3B-3100-5E13086E18EC}"/>
          </ac:picMkLst>
        </pc:picChg>
      </pc:sldChg>
      <pc:sldChg chg="add del">
        <pc:chgData name="森田 光貴" userId="314cf0e2-2175-4948-8a4a-96924aa0786a" providerId="ADAL" clId="{54D8577C-5196-4E3B-AC07-5AAB674B8325}" dt="2025-02-06T14:37:21.405" v="453" actId="47"/>
        <pc:sldMkLst>
          <pc:docMk/>
          <pc:sldMk cId="1093784301" sldId="2147378726"/>
        </pc:sldMkLst>
      </pc:sldChg>
      <pc:sldChg chg="add del">
        <pc:chgData name="森田 光貴" userId="314cf0e2-2175-4948-8a4a-96924aa0786a" providerId="ADAL" clId="{54D8577C-5196-4E3B-AC07-5AAB674B8325}" dt="2025-02-06T14:37:03.283" v="451" actId="47"/>
        <pc:sldMkLst>
          <pc:docMk/>
          <pc:sldMk cId="2151657549" sldId="2147378726"/>
        </pc:sldMkLst>
      </pc:sldChg>
      <pc:sldChg chg="modSp mod">
        <pc:chgData name="森田 光貴" userId="314cf0e2-2175-4948-8a4a-96924aa0786a" providerId="ADAL" clId="{54D8577C-5196-4E3B-AC07-5AAB674B8325}" dt="2025-02-06T15:17:38.663" v="548" actId="1076"/>
        <pc:sldMkLst>
          <pc:docMk/>
          <pc:sldMk cId="2425091294" sldId="2147378727"/>
        </pc:sldMkLst>
        <pc:spChg chg="mod">
          <ac:chgData name="森田 光貴" userId="314cf0e2-2175-4948-8a4a-96924aa0786a" providerId="ADAL" clId="{54D8577C-5196-4E3B-AC07-5AAB674B8325}" dt="2025-02-06T15:17:38.663" v="548" actId="1076"/>
          <ac:spMkLst>
            <pc:docMk/>
            <pc:sldMk cId="2425091294" sldId="2147378727"/>
            <ac:spMk id="53" creationId="{600AE28E-2F7C-E1F6-5796-97DD1A8A0830}"/>
          </ac:spMkLst>
        </pc:spChg>
      </pc:sldChg>
      <pc:sldChg chg="addSp delSp modSp mod ord">
        <pc:chgData name="森田 光貴" userId="314cf0e2-2175-4948-8a4a-96924aa0786a" providerId="ADAL" clId="{54D8577C-5196-4E3B-AC07-5AAB674B8325}" dt="2025-02-07T03:59:22.061" v="6321" actId="20577"/>
        <pc:sldMkLst>
          <pc:docMk/>
          <pc:sldMk cId="1108136930" sldId="2147378728"/>
        </pc:sldMkLst>
        <pc:spChg chg="add mod">
          <ac:chgData name="森田 光貴" userId="314cf0e2-2175-4948-8a4a-96924aa0786a" providerId="ADAL" clId="{54D8577C-5196-4E3B-AC07-5AAB674B8325}" dt="2025-02-06T16:00:36.046" v="1492" actId="1036"/>
          <ac:spMkLst>
            <pc:docMk/>
            <pc:sldMk cId="1108136930" sldId="2147378728"/>
            <ac:spMk id="3" creationId="{59B34644-110E-1C8E-FC11-B0A08110804F}"/>
          </ac:spMkLst>
        </pc:spChg>
        <pc:spChg chg="add del mod">
          <ac:chgData name="森田 光貴" userId="314cf0e2-2175-4948-8a4a-96924aa0786a" providerId="ADAL" clId="{54D8577C-5196-4E3B-AC07-5AAB674B8325}" dt="2025-02-06T15:55:23.852" v="1125" actId="478"/>
          <ac:spMkLst>
            <pc:docMk/>
            <pc:sldMk cId="1108136930" sldId="2147378728"/>
            <ac:spMk id="4" creationId="{6B179B1C-2B30-9456-8716-4F370BD2B57C}"/>
          </ac:spMkLst>
        </pc:spChg>
        <pc:spChg chg="mod">
          <ac:chgData name="森田 光貴" userId="314cf0e2-2175-4948-8a4a-96924aa0786a" providerId="ADAL" clId="{54D8577C-5196-4E3B-AC07-5AAB674B8325}" dt="2025-02-06T16:14:28.711" v="1713" actId="20577"/>
          <ac:spMkLst>
            <pc:docMk/>
            <pc:sldMk cId="1108136930" sldId="2147378728"/>
            <ac:spMk id="6" creationId="{06F06DD2-9B90-695B-AD25-50F75DE8988B}"/>
          </ac:spMkLst>
        </pc:spChg>
        <pc:spChg chg="add mod">
          <ac:chgData name="森田 光貴" userId="314cf0e2-2175-4948-8a4a-96924aa0786a" providerId="ADAL" clId="{54D8577C-5196-4E3B-AC07-5AAB674B8325}" dt="2025-02-06T16:00:36.046" v="1492" actId="1036"/>
          <ac:spMkLst>
            <pc:docMk/>
            <pc:sldMk cId="1108136930" sldId="2147378728"/>
            <ac:spMk id="7" creationId="{9E1F97B9-D0E5-41B1-D2C7-9ACEFF3039F1}"/>
          </ac:spMkLst>
        </pc:spChg>
        <pc:spChg chg="add mod">
          <ac:chgData name="森田 光貴" userId="314cf0e2-2175-4948-8a4a-96924aa0786a" providerId="ADAL" clId="{54D8577C-5196-4E3B-AC07-5AAB674B8325}" dt="2025-02-06T16:00:43.136" v="1501" actId="1036"/>
          <ac:spMkLst>
            <pc:docMk/>
            <pc:sldMk cId="1108136930" sldId="2147378728"/>
            <ac:spMk id="8" creationId="{9806A545-7B24-7E3B-5128-CCBF51102301}"/>
          </ac:spMkLst>
        </pc:spChg>
        <pc:spChg chg="add mod">
          <ac:chgData name="森田 光貴" userId="314cf0e2-2175-4948-8a4a-96924aa0786a" providerId="ADAL" clId="{54D8577C-5196-4E3B-AC07-5AAB674B8325}" dt="2025-02-07T00:59:35.342" v="3639"/>
          <ac:spMkLst>
            <pc:docMk/>
            <pc:sldMk cId="1108136930" sldId="2147378728"/>
            <ac:spMk id="12" creationId="{97073F6A-3E4A-69EF-5342-4F0020D33B85}"/>
          </ac:spMkLst>
        </pc:spChg>
        <pc:spChg chg="add mod">
          <ac:chgData name="森田 光貴" userId="314cf0e2-2175-4948-8a4a-96924aa0786a" providerId="ADAL" clId="{54D8577C-5196-4E3B-AC07-5AAB674B8325}" dt="2025-02-06T16:00:43.136" v="1501" actId="1036"/>
          <ac:spMkLst>
            <pc:docMk/>
            <pc:sldMk cId="1108136930" sldId="2147378728"/>
            <ac:spMk id="14" creationId="{C01E8876-7CB8-4130-D9EB-1A867271B772}"/>
          </ac:spMkLst>
        </pc:spChg>
        <pc:spChg chg="add mod">
          <ac:chgData name="森田 光貴" userId="314cf0e2-2175-4948-8a4a-96924aa0786a" providerId="ADAL" clId="{54D8577C-5196-4E3B-AC07-5AAB674B8325}" dt="2025-02-07T01:00:16.088" v="3658"/>
          <ac:spMkLst>
            <pc:docMk/>
            <pc:sldMk cId="1108136930" sldId="2147378728"/>
            <ac:spMk id="15" creationId="{E5C9762A-A073-07A3-7CE0-56A1CD76D492}"/>
          </ac:spMkLst>
        </pc:spChg>
        <pc:spChg chg="add del mod">
          <ac:chgData name="森田 光貴" userId="314cf0e2-2175-4948-8a4a-96924aa0786a" providerId="ADAL" clId="{54D8577C-5196-4E3B-AC07-5AAB674B8325}" dt="2025-02-07T03:58:45.127" v="6315" actId="478"/>
          <ac:spMkLst>
            <pc:docMk/>
            <pc:sldMk cId="1108136930" sldId="2147378728"/>
            <ac:spMk id="16" creationId="{B5953DB6-F86D-D7C6-0536-1D8DF4D8F2C7}"/>
          </ac:spMkLst>
        </pc:spChg>
        <pc:spChg chg="mod">
          <ac:chgData name="森田 光貴" userId="314cf0e2-2175-4948-8a4a-96924aa0786a" providerId="ADAL" clId="{54D8577C-5196-4E3B-AC07-5AAB674B8325}" dt="2025-02-06T16:00:19.577" v="1477" actId="1036"/>
          <ac:spMkLst>
            <pc:docMk/>
            <pc:sldMk cId="1108136930" sldId="2147378728"/>
            <ac:spMk id="17" creationId="{53F10FF5-7C3A-04E7-4D0E-3EC2A9EB89FC}"/>
          </ac:spMkLst>
        </pc:spChg>
        <pc:spChg chg="mod">
          <ac:chgData name="森田 光貴" userId="314cf0e2-2175-4948-8a4a-96924aa0786a" providerId="ADAL" clId="{54D8577C-5196-4E3B-AC07-5AAB674B8325}" dt="2025-02-06T16:00:26.413" v="1485" actId="1036"/>
          <ac:spMkLst>
            <pc:docMk/>
            <pc:sldMk cId="1108136930" sldId="2147378728"/>
            <ac:spMk id="22" creationId="{E3A53034-9097-A2B0-BA00-9805C113B3C4}"/>
          </ac:spMkLst>
        </pc:spChg>
        <pc:spChg chg="del mod">
          <ac:chgData name="森田 光貴" userId="314cf0e2-2175-4948-8a4a-96924aa0786a" providerId="ADAL" clId="{54D8577C-5196-4E3B-AC07-5AAB674B8325}" dt="2025-02-06T15:55:13.537" v="1122" actId="478"/>
          <ac:spMkLst>
            <pc:docMk/>
            <pc:sldMk cId="1108136930" sldId="2147378728"/>
            <ac:spMk id="23" creationId="{548B53C1-9515-859C-4FF6-ED37AFEFE4B3}"/>
          </ac:spMkLst>
        </pc:spChg>
        <pc:spChg chg="mod">
          <ac:chgData name="森田 光貴" userId="314cf0e2-2175-4948-8a4a-96924aa0786a" providerId="ADAL" clId="{54D8577C-5196-4E3B-AC07-5AAB674B8325}" dt="2025-02-06T15:50:01.489" v="813" actId="14100"/>
          <ac:spMkLst>
            <pc:docMk/>
            <pc:sldMk cId="1108136930" sldId="2147378728"/>
            <ac:spMk id="25" creationId="{B623064F-1224-9D0A-91B9-574A09BD6B31}"/>
          </ac:spMkLst>
        </pc:spChg>
        <pc:spChg chg="mod">
          <ac:chgData name="森田 光貴" userId="314cf0e2-2175-4948-8a4a-96924aa0786a" providerId="ADAL" clId="{54D8577C-5196-4E3B-AC07-5AAB674B8325}" dt="2025-02-06T15:39:26.134" v="624"/>
          <ac:spMkLst>
            <pc:docMk/>
            <pc:sldMk cId="1108136930" sldId="2147378728"/>
            <ac:spMk id="28" creationId="{90FD0E77-3888-581E-76F2-D03B3D6A162F}"/>
          </ac:spMkLst>
        </pc:spChg>
        <pc:spChg chg="mod">
          <ac:chgData name="森田 光貴" userId="314cf0e2-2175-4948-8a4a-96924aa0786a" providerId="ADAL" clId="{54D8577C-5196-4E3B-AC07-5AAB674B8325}" dt="2025-02-06T16:00:19.577" v="1477" actId="1036"/>
          <ac:spMkLst>
            <pc:docMk/>
            <pc:sldMk cId="1108136930" sldId="2147378728"/>
            <ac:spMk id="29" creationId="{51548927-EDC2-8320-9763-1100DEEB5C3D}"/>
          </ac:spMkLst>
        </pc:spChg>
        <pc:spChg chg="mod">
          <ac:chgData name="森田 光貴" userId="314cf0e2-2175-4948-8a4a-96924aa0786a" providerId="ADAL" clId="{54D8577C-5196-4E3B-AC07-5AAB674B8325}" dt="2025-02-06T15:40:21.907" v="649" actId="207"/>
          <ac:spMkLst>
            <pc:docMk/>
            <pc:sldMk cId="1108136930" sldId="2147378728"/>
            <ac:spMk id="30" creationId="{ABA7E6E7-22B8-6897-CAD1-5BB1F7243A11}"/>
          </ac:spMkLst>
        </pc:spChg>
        <pc:spChg chg="mod">
          <ac:chgData name="森田 光貴" userId="314cf0e2-2175-4948-8a4a-96924aa0786a" providerId="ADAL" clId="{54D8577C-5196-4E3B-AC07-5AAB674B8325}" dt="2025-02-06T16:00:19.577" v="1477" actId="1036"/>
          <ac:spMkLst>
            <pc:docMk/>
            <pc:sldMk cId="1108136930" sldId="2147378728"/>
            <ac:spMk id="31" creationId="{97AC2652-6A11-4525-3831-C5116BDDAFD4}"/>
          </ac:spMkLst>
        </pc:spChg>
        <pc:spChg chg="mod">
          <ac:chgData name="森田 光貴" userId="314cf0e2-2175-4948-8a4a-96924aa0786a" providerId="ADAL" clId="{54D8577C-5196-4E3B-AC07-5AAB674B8325}" dt="2025-02-06T16:00:26.413" v="1485" actId="1036"/>
          <ac:spMkLst>
            <pc:docMk/>
            <pc:sldMk cId="1108136930" sldId="2147378728"/>
            <ac:spMk id="32" creationId="{226A0974-299A-DA5C-F13B-FA16A7D473D9}"/>
          </ac:spMkLst>
        </pc:spChg>
        <pc:spChg chg="mod">
          <ac:chgData name="森田 光貴" userId="314cf0e2-2175-4948-8a4a-96924aa0786a" providerId="ADAL" clId="{54D8577C-5196-4E3B-AC07-5AAB674B8325}" dt="2025-02-06T16:00:26.413" v="1485" actId="1036"/>
          <ac:spMkLst>
            <pc:docMk/>
            <pc:sldMk cId="1108136930" sldId="2147378728"/>
            <ac:spMk id="33" creationId="{C9FC6D16-CAD4-5B3E-F8B5-81D2A2D8CDCA}"/>
          </ac:spMkLst>
        </pc:spChg>
        <pc:spChg chg="del mod">
          <ac:chgData name="森田 光貴" userId="314cf0e2-2175-4948-8a4a-96924aa0786a" providerId="ADAL" clId="{54D8577C-5196-4E3B-AC07-5AAB674B8325}" dt="2025-02-06T15:55:16.349" v="1123" actId="478"/>
          <ac:spMkLst>
            <pc:docMk/>
            <pc:sldMk cId="1108136930" sldId="2147378728"/>
            <ac:spMk id="34" creationId="{C89FC4AA-2731-E92F-D907-2D16595912E8}"/>
          </ac:spMkLst>
        </pc:spChg>
        <pc:spChg chg="del mod">
          <ac:chgData name="森田 光貴" userId="314cf0e2-2175-4948-8a4a-96924aa0786a" providerId="ADAL" clId="{54D8577C-5196-4E3B-AC07-5AAB674B8325}" dt="2025-02-06T15:53:51.958" v="1033" actId="478"/>
          <ac:spMkLst>
            <pc:docMk/>
            <pc:sldMk cId="1108136930" sldId="2147378728"/>
            <ac:spMk id="35" creationId="{708AB7D6-2CDF-65E4-DFCF-96EFAC6FF818}"/>
          </ac:spMkLst>
        </pc:spChg>
        <pc:spChg chg="add mod">
          <ac:chgData name="森田 光貴" userId="314cf0e2-2175-4948-8a4a-96924aa0786a" providerId="ADAL" clId="{54D8577C-5196-4E3B-AC07-5AAB674B8325}" dt="2025-02-07T03:59:22.061" v="6321" actId="20577"/>
          <ac:spMkLst>
            <pc:docMk/>
            <pc:sldMk cId="1108136930" sldId="2147378728"/>
            <ac:spMk id="36" creationId="{53AE2DB5-E8E9-D05F-00E2-5156E585C9A8}"/>
          </ac:spMkLst>
        </pc:spChg>
        <pc:cxnChg chg="add mod">
          <ac:chgData name="森田 光貴" userId="314cf0e2-2175-4948-8a4a-96924aa0786a" providerId="ADAL" clId="{54D8577C-5196-4E3B-AC07-5AAB674B8325}" dt="2025-02-06T16:00:43.136" v="1501" actId="1036"/>
          <ac:cxnSpMkLst>
            <pc:docMk/>
            <pc:sldMk cId="1108136930" sldId="2147378728"/>
            <ac:cxnSpMk id="10" creationId="{7AB227D4-2B59-71E8-9257-8212D4AA605A}"/>
          </ac:cxnSpMkLst>
        </pc:cxnChg>
        <pc:cxnChg chg="add mod">
          <ac:chgData name="森田 光貴" userId="314cf0e2-2175-4948-8a4a-96924aa0786a" providerId="ADAL" clId="{54D8577C-5196-4E3B-AC07-5AAB674B8325}" dt="2025-02-06T16:00:43.136" v="1501" actId="1036"/>
          <ac:cxnSpMkLst>
            <pc:docMk/>
            <pc:sldMk cId="1108136930" sldId="2147378728"/>
            <ac:cxnSpMk id="13" creationId="{DF0A3789-2513-7F7E-6347-DBBE95C7B4F6}"/>
          </ac:cxnSpMkLst>
        </pc:cxnChg>
        <pc:cxnChg chg="mod">
          <ac:chgData name="森田 光貴" userId="314cf0e2-2175-4948-8a4a-96924aa0786a" providerId="ADAL" clId="{54D8577C-5196-4E3B-AC07-5AAB674B8325}" dt="2025-02-06T16:00:19.577" v="1477" actId="1036"/>
          <ac:cxnSpMkLst>
            <pc:docMk/>
            <pc:sldMk cId="1108136930" sldId="2147378728"/>
            <ac:cxnSpMk id="24" creationId="{67CF960F-BF89-4129-340B-68AB5FDE8755}"/>
          </ac:cxnSpMkLst>
        </pc:cxnChg>
        <pc:cxnChg chg="mod">
          <ac:chgData name="森田 光貴" userId="314cf0e2-2175-4948-8a4a-96924aa0786a" providerId="ADAL" clId="{54D8577C-5196-4E3B-AC07-5AAB674B8325}" dt="2025-02-06T16:00:26.413" v="1485" actId="1036"/>
          <ac:cxnSpMkLst>
            <pc:docMk/>
            <pc:sldMk cId="1108136930" sldId="2147378728"/>
            <ac:cxnSpMk id="26" creationId="{D275D890-34D1-720A-5568-058C5CE60E89}"/>
          </ac:cxnSpMkLst>
        </pc:cxnChg>
        <pc:cxnChg chg="mod">
          <ac:chgData name="森田 光貴" userId="314cf0e2-2175-4948-8a4a-96924aa0786a" providerId="ADAL" clId="{54D8577C-5196-4E3B-AC07-5AAB674B8325}" dt="2025-02-06T16:00:36.046" v="1492" actId="1036"/>
          <ac:cxnSpMkLst>
            <pc:docMk/>
            <pc:sldMk cId="1108136930" sldId="2147378728"/>
            <ac:cxnSpMk id="27" creationId="{E7CB3556-2936-30A4-AEC6-65D0A1738CDB}"/>
          </ac:cxnSpMkLst>
        </pc:cxnChg>
      </pc:sldChg>
      <pc:sldChg chg="addSp delSp modSp mod">
        <pc:chgData name="森田 光貴" userId="314cf0e2-2175-4948-8a4a-96924aa0786a" providerId="ADAL" clId="{54D8577C-5196-4E3B-AC07-5AAB674B8325}" dt="2025-02-07T03:59:38.525" v="6325"/>
        <pc:sldMkLst>
          <pc:docMk/>
          <pc:sldMk cId="2933890016" sldId="2147378729"/>
        </pc:sldMkLst>
        <pc:spChg chg="add del mod">
          <ac:chgData name="森田 光貴" userId="314cf0e2-2175-4948-8a4a-96924aa0786a" providerId="ADAL" clId="{54D8577C-5196-4E3B-AC07-5AAB674B8325}" dt="2025-02-07T03:59:37.117" v="6324" actId="478"/>
          <ac:spMkLst>
            <pc:docMk/>
            <pc:sldMk cId="2933890016" sldId="2147378729"/>
            <ac:spMk id="3" creationId="{61CA821C-76E3-1202-90AF-B187325E1F32}"/>
          </ac:spMkLst>
        </pc:spChg>
        <pc:spChg chg="add mod">
          <ac:chgData name="森田 光貴" userId="314cf0e2-2175-4948-8a4a-96924aa0786a" providerId="ADAL" clId="{54D8577C-5196-4E3B-AC07-5AAB674B8325}" dt="2025-02-07T03:59:38.525" v="6325"/>
          <ac:spMkLst>
            <pc:docMk/>
            <pc:sldMk cId="2933890016" sldId="2147378729"/>
            <ac:spMk id="4" creationId="{59E4C0AC-1EA3-A883-AD00-D81FA7B914F5}"/>
          </ac:spMkLst>
        </pc:spChg>
        <pc:spChg chg="mod">
          <ac:chgData name="森田 光貴" userId="314cf0e2-2175-4948-8a4a-96924aa0786a" providerId="ADAL" clId="{54D8577C-5196-4E3B-AC07-5AAB674B8325}" dt="2025-02-06T16:01:51.820" v="1581" actId="207"/>
          <ac:spMkLst>
            <pc:docMk/>
            <pc:sldMk cId="2933890016" sldId="2147378729"/>
            <ac:spMk id="17" creationId="{53F10FF5-7C3A-04E7-4D0E-3EC2A9EB89FC}"/>
          </ac:spMkLst>
        </pc:spChg>
        <pc:spChg chg="mod">
          <ac:chgData name="森田 光貴" userId="314cf0e2-2175-4948-8a4a-96924aa0786a" providerId="ADAL" clId="{54D8577C-5196-4E3B-AC07-5AAB674B8325}" dt="2025-02-06T16:02:41.443" v="1599" actId="207"/>
          <ac:spMkLst>
            <pc:docMk/>
            <pc:sldMk cId="2933890016" sldId="2147378729"/>
            <ac:spMk id="22" creationId="{E3A53034-9097-A2B0-BA00-9805C113B3C4}"/>
          </ac:spMkLst>
        </pc:spChg>
        <pc:spChg chg="mod">
          <ac:chgData name="森田 光貴" userId="314cf0e2-2175-4948-8a4a-96924aa0786a" providerId="ADAL" clId="{54D8577C-5196-4E3B-AC07-5AAB674B8325}" dt="2025-02-06T16:03:10.610" v="1611"/>
          <ac:spMkLst>
            <pc:docMk/>
            <pc:sldMk cId="2933890016" sldId="2147378729"/>
            <ac:spMk id="23" creationId="{548B53C1-9515-859C-4FF6-ED37AFEFE4B3}"/>
          </ac:spMkLst>
        </pc:spChg>
        <pc:spChg chg="mod">
          <ac:chgData name="森田 光貴" userId="314cf0e2-2175-4948-8a4a-96924aa0786a" providerId="ADAL" clId="{54D8577C-5196-4E3B-AC07-5AAB674B8325}" dt="2025-02-06T16:01:32.570" v="1550" actId="207"/>
          <ac:spMkLst>
            <pc:docMk/>
            <pc:sldMk cId="2933890016" sldId="2147378729"/>
            <ac:spMk id="25" creationId="{B623064F-1224-9D0A-91B9-574A09BD6B31}"/>
          </ac:spMkLst>
        </pc:spChg>
        <pc:spChg chg="mod">
          <ac:chgData name="森田 光貴" userId="314cf0e2-2175-4948-8a4a-96924aa0786a" providerId="ADAL" clId="{54D8577C-5196-4E3B-AC07-5AAB674B8325}" dt="2025-02-07T03:14:36.861" v="5397"/>
          <ac:spMkLst>
            <pc:docMk/>
            <pc:sldMk cId="2933890016" sldId="2147378729"/>
            <ac:spMk id="28" creationId="{90FD0E77-3888-581E-76F2-D03B3D6A162F}"/>
          </ac:spMkLst>
        </pc:spChg>
        <pc:spChg chg="mod">
          <ac:chgData name="森田 光貴" userId="314cf0e2-2175-4948-8a4a-96924aa0786a" providerId="ADAL" clId="{54D8577C-5196-4E3B-AC07-5AAB674B8325}" dt="2025-02-07T03:14:48.604" v="5400"/>
          <ac:spMkLst>
            <pc:docMk/>
            <pc:sldMk cId="2933890016" sldId="2147378729"/>
            <ac:spMk id="29" creationId="{51548927-EDC2-8320-9763-1100DEEB5C3D}"/>
          </ac:spMkLst>
        </pc:spChg>
        <pc:spChg chg="mod">
          <ac:chgData name="森田 光貴" userId="314cf0e2-2175-4948-8a4a-96924aa0786a" providerId="ADAL" clId="{54D8577C-5196-4E3B-AC07-5AAB674B8325}" dt="2025-02-07T03:14:42.734" v="5398"/>
          <ac:spMkLst>
            <pc:docMk/>
            <pc:sldMk cId="2933890016" sldId="2147378729"/>
            <ac:spMk id="30" creationId="{ABA7E6E7-22B8-6897-CAD1-5BB1F7243A11}"/>
          </ac:spMkLst>
        </pc:spChg>
        <pc:spChg chg="mod">
          <ac:chgData name="森田 光貴" userId="314cf0e2-2175-4948-8a4a-96924aa0786a" providerId="ADAL" clId="{54D8577C-5196-4E3B-AC07-5AAB674B8325}" dt="2025-02-07T03:14:55.822" v="5403"/>
          <ac:spMkLst>
            <pc:docMk/>
            <pc:sldMk cId="2933890016" sldId="2147378729"/>
            <ac:spMk id="31" creationId="{97AC2652-6A11-4525-3831-C5116BDDAFD4}"/>
          </ac:spMkLst>
        </pc:spChg>
        <pc:spChg chg="mod">
          <ac:chgData name="森田 光貴" userId="314cf0e2-2175-4948-8a4a-96924aa0786a" providerId="ADAL" clId="{54D8577C-5196-4E3B-AC07-5AAB674B8325}" dt="2025-02-07T03:15:03.400" v="5407"/>
          <ac:spMkLst>
            <pc:docMk/>
            <pc:sldMk cId="2933890016" sldId="2147378729"/>
            <ac:spMk id="32" creationId="{226A0974-299A-DA5C-F13B-FA16A7D473D9}"/>
          </ac:spMkLst>
        </pc:spChg>
        <pc:spChg chg="mod">
          <ac:chgData name="森田 光貴" userId="314cf0e2-2175-4948-8a4a-96924aa0786a" providerId="ADAL" clId="{54D8577C-5196-4E3B-AC07-5AAB674B8325}" dt="2025-02-07T03:15:06.945" v="5410"/>
          <ac:spMkLst>
            <pc:docMk/>
            <pc:sldMk cId="2933890016" sldId="2147378729"/>
            <ac:spMk id="33" creationId="{C9FC6D16-CAD4-5B3E-F8B5-81D2A2D8CDCA}"/>
          </ac:spMkLst>
        </pc:spChg>
        <pc:spChg chg="mod">
          <ac:chgData name="森田 光貴" userId="314cf0e2-2175-4948-8a4a-96924aa0786a" providerId="ADAL" clId="{54D8577C-5196-4E3B-AC07-5AAB674B8325}" dt="2025-02-07T03:15:19.268" v="5420"/>
          <ac:spMkLst>
            <pc:docMk/>
            <pc:sldMk cId="2933890016" sldId="2147378729"/>
            <ac:spMk id="34" creationId="{C89FC4AA-2731-E92F-D907-2D16595912E8}"/>
          </ac:spMkLst>
        </pc:spChg>
        <pc:spChg chg="mod">
          <ac:chgData name="森田 光貴" userId="314cf0e2-2175-4948-8a4a-96924aa0786a" providerId="ADAL" clId="{54D8577C-5196-4E3B-AC07-5AAB674B8325}" dt="2025-02-07T03:15:23.401" v="5423"/>
          <ac:spMkLst>
            <pc:docMk/>
            <pc:sldMk cId="2933890016" sldId="2147378729"/>
            <ac:spMk id="35" creationId="{708AB7D6-2CDF-65E4-DFCF-96EFAC6FF818}"/>
          </ac:spMkLst>
        </pc:spChg>
      </pc:sldChg>
      <pc:sldChg chg="modSp mod">
        <pc:chgData name="森田 光貴" userId="314cf0e2-2175-4948-8a4a-96924aa0786a" providerId="ADAL" clId="{54D8577C-5196-4E3B-AC07-5AAB674B8325}" dt="2025-02-07T12:36:41.792" v="8253"/>
        <pc:sldMkLst>
          <pc:docMk/>
          <pc:sldMk cId="2433251148" sldId="2147378730"/>
        </pc:sldMkLst>
        <pc:graphicFrameChg chg="mod modGraphic">
          <ac:chgData name="森田 光貴" userId="314cf0e2-2175-4948-8a4a-96924aa0786a" providerId="ADAL" clId="{54D8577C-5196-4E3B-AC07-5AAB674B8325}" dt="2025-02-07T12:36:41.792" v="8253"/>
          <ac:graphicFrameMkLst>
            <pc:docMk/>
            <pc:sldMk cId="2433251148" sldId="2147378730"/>
            <ac:graphicFrameMk id="32" creationId="{3B80BC24-01AA-213D-76FD-38F653AD9B7C}"/>
          </ac:graphicFrameMkLst>
        </pc:graphicFrameChg>
      </pc:sldChg>
      <pc:sldChg chg="addSp delSp modSp mod">
        <pc:chgData name="森田 光貴" userId="314cf0e2-2175-4948-8a4a-96924aa0786a" providerId="ADAL" clId="{54D8577C-5196-4E3B-AC07-5AAB674B8325}" dt="2025-02-07T02:21:14.891" v="4325"/>
        <pc:sldMkLst>
          <pc:docMk/>
          <pc:sldMk cId="866572055" sldId="2147378731"/>
        </pc:sldMkLst>
        <pc:spChg chg="mod">
          <ac:chgData name="森田 光貴" userId="314cf0e2-2175-4948-8a4a-96924aa0786a" providerId="ADAL" clId="{54D8577C-5196-4E3B-AC07-5AAB674B8325}" dt="2025-02-06T16:43:54.287" v="2237" actId="207"/>
          <ac:spMkLst>
            <pc:docMk/>
            <pc:sldMk cId="866572055" sldId="2147378731"/>
            <ac:spMk id="13" creationId="{EDAD2185-EC0D-868E-795C-E7F2FB4ACC64}"/>
          </ac:spMkLst>
        </pc:spChg>
        <pc:spChg chg="mod">
          <ac:chgData name="森田 光貴" userId="314cf0e2-2175-4948-8a4a-96924aa0786a" providerId="ADAL" clId="{54D8577C-5196-4E3B-AC07-5AAB674B8325}" dt="2025-02-06T16:44:40.722" v="2284"/>
          <ac:spMkLst>
            <pc:docMk/>
            <pc:sldMk cId="866572055" sldId="2147378731"/>
            <ac:spMk id="14" creationId="{EB154E72-D468-E337-5176-249A512E7AD4}"/>
          </ac:spMkLst>
        </pc:spChg>
        <pc:spChg chg="add del mod">
          <ac:chgData name="森田 光貴" userId="314cf0e2-2175-4948-8a4a-96924aa0786a" providerId="ADAL" clId="{54D8577C-5196-4E3B-AC07-5AAB674B8325}" dt="2025-02-07T02:21:11.660" v="4324" actId="478"/>
          <ac:spMkLst>
            <pc:docMk/>
            <pc:sldMk cId="866572055" sldId="2147378731"/>
            <ac:spMk id="15" creationId="{2AF36397-1CF7-93E8-B3F7-0CDAA7783A39}"/>
          </ac:spMkLst>
        </pc:spChg>
        <pc:spChg chg="add mod">
          <ac:chgData name="森田 光貴" userId="314cf0e2-2175-4948-8a4a-96924aa0786a" providerId="ADAL" clId="{54D8577C-5196-4E3B-AC07-5AAB674B8325}" dt="2025-02-07T02:21:14.891" v="4325"/>
          <ac:spMkLst>
            <pc:docMk/>
            <pc:sldMk cId="866572055" sldId="2147378731"/>
            <ac:spMk id="16" creationId="{7D1DF7C9-B22D-7878-CE7C-F671592FAA6D}"/>
          </ac:spMkLst>
        </pc:spChg>
      </pc:sldChg>
      <pc:sldChg chg="addSp delSp modSp mod">
        <pc:chgData name="森田 光貴" userId="314cf0e2-2175-4948-8a4a-96924aa0786a" providerId="ADAL" clId="{54D8577C-5196-4E3B-AC07-5AAB674B8325}" dt="2025-02-07T02:21:22.063" v="4327"/>
        <pc:sldMkLst>
          <pc:docMk/>
          <pc:sldMk cId="2588649303" sldId="2147378732"/>
        </pc:sldMkLst>
        <pc:spChg chg="mod">
          <ac:chgData name="森田 光貴" userId="314cf0e2-2175-4948-8a4a-96924aa0786a" providerId="ADAL" clId="{54D8577C-5196-4E3B-AC07-5AAB674B8325}" dt="2025-02-06T17:01:41.043" v="3081" actId="207"/>
          <ac:spMkLst>
            <pc:docMk/>
            <pc:sldMk cId="2588649303" sldId="2147378732"/>
            <ac:spMk id="13" creationId="{EDAD2185-EC0D-868E-795C-E7F2FB4ACC64}"/>
          </ac:spMkLst>
        </pc:spChg>
        <pc:spChg chg="mod">
          <ac:chgData name="森田 光貴" userId="314cf0e2-2175-4948-8a4a-96924aa0786a" providerId="ADAL" clId="{54D8577C-5196-4E3B-AC07-5AAB674B8325}" dt="2025-02-07T01:18:25.566" v="4017"/>
          <ac:spMkLst>
            <pc:docMk/>
            <pc:sldMk cId="2588649303" sldId="2147378732"/>
            <ac:spMk id="14" creationId="{EB154E72-D468-E337-5176-249A512E7AD4}"/>
          </ac:spMkLst>
        </pc:spChg>
        <pc:spChg chg="add del mod">
          <ac:chgData name="森田 光貴" userId="314cf0e2-2175-4948-8a4a-96924aa0786a" providerId="ADAL" clId="{54D8577C-5196-4E3B-AC07-5AAB674B8325}" dt="2025-02-07T02:21:19.341" v="4326" actId="478"/>
          <ac:spMkLst>
            <pc:docMk/>
            <pc:sldMk cId="2588649303" sldId="2147378732"/>
            <ac:spMk id="15" creationId="{CDDAFBA8-DBA5-90DC-D23E-19643EEC63F6}"/>
          </ac:spMkLst>
        </pc:spChg>
        <pc:spChg chg="add mod">
          <ac:chgData name="森田 光貴" userId="314cf0e2-2175-4948-8a4a-96924aa0786a" providerId="ADAL" clId="{54D8577C-5196-4E3B-AC07-5AAB674B8325}" dt="2025-02-07T02:21:22.063" v="4327"/>
          <ac:spMkLst>
            <pc:docMk/>
            <pc:sldMk cId="2588649303" sldId="2147378732"/>
            <ac:spMk id="16" creationId="{088ECDFF-B871-3B4F-0FC7-C986C6F1A6FC}"/>
          </ac:spMkLst>
        </pc:spChg>
      </pc:sldChg>
      <pc:sldChg chg="addSp delSp modSp mod">
        <pc:chgData name="森田 光貴" userId="314cf0e2-2175-4948-8a4a-96924aa0786a" providerId="ADAL" clId="{54D8577C-5196-4E3B-AC07-5AAB674B8325}" dt="2025-02-07T03:51:07.714" v="6305"/>
        <pc:sldMkLst>
          <pc:docMk/>
          <pc:sldMk cId="1978006436" sldId="2147378733"/>
        </pc:sldMkLst>
        <pc:spChg chg="add mod">
          <ac:chgData name="森田 光貴" userId="314cf0e2-2175-4948-8a4a-96924aa0786a" providerId="ADAL" clId="{54D8577C-5196-4E3B-AC07-5AAB674B8325}" dt="2025-02-07T02:46:43.888" v="4954"/>
          <ac:spMkLst>
            <pc:docMk/>
            <pc:sldMk cId="1978006436" sldId="2147378733"/>
            <ac:spMk id="11" creationId="{A12A54EC-FA39-9EC7-4DA0-3FF3D4DE53BD}"/>
          </ac:spMkLst>
        </pc:spChg>
        <pc:spChg chg="mod">
          <ac:chgData name="森田 光貴" userId="314cf0e2-2175-4948-8a4a-96924aa0786a" providerId="ADAL" clId="{54D8577C-5196-4E3B-AC07-5AAB674B8325}" dt="2025-02-07T03:51:07.714" v="6305"/>
          <ac:spMkLst>
            <pc:docMk/>
            <pc:sldMk cId="1978006436" sldId="2147378733"/>
            <ac:spMk id="13" creationId="{EDAD2185-EC0D-868E-795C-E7F2FB4ACC64}"/>
          </ac:spMkLst>
        </pc:spChg>
        <pc:spChg chg="del">
          <ac:chgData name="森田 光貴" userId="314cf0e2-2175-4948-8a4a-96924aa0786a" providerId="ADAL" clId="{54D8577C-5196-4E3B-AC07-5AAB674B8325}" dt="2025-02-07T01:20:53.309" v="4055" actId="478"/>
          <ac:spMkLst>
            <pc:docMk/>
            <pc:sldMk cId="1978006436" sldId="2147378733"/>
            <ac:spMk id="14" creationId="{18C1D74E-EB9E-1CE0-ED28-285496344003}"/>
          </ac:spMkLst>
        </pc:spChg>
        <pc:spChg chg="add mod">
          <ac:chgData name="森田 光貴" userId="314cf0e2-2175-4948-8a4a-96924aa0786a" providerId="ADAL" clId="{54D8577C-5196-4E3B-AC07-5AAB674B8325}" dt="2025-02-07T01:20:55.103" v="4056"/>
          <ac:spMkLst>
            <pc:docMk/>
            <pc:sldMk cId="1978006436" sldId="2147378733"/>
            <ac:spMk id="16" creationId="{6AFFC85C-4915-C68E-6642-AACE2FECBCFD}"/>
          </ac:spMkLst>
        </pc:spChg>
      </pc:sldChg>
      <pc:sldChg chg="addSp delSp modSp mod">
        <pc:chgData name="森田 光貴" userId="314cf0e2-2175-4948-8a4a-96924aa0786a" providerId="ADAL" clId="{54D8577C-5196-4E3B-AC07-5AAB674B8325}" dt="2025-02-07T03:45:41.650" v="5906" actId="20577"/>
        <pc:sldMkLst>
          <pc:docMk/>
          <pc:sldMk cId="1849280669" sldId="2147378734"/>
        </pc:sldMkLst>
        <pc:spChg chg="add mod">
          <ac:chgData name="森田 光貴" userId="314cf0e2-2175-4948-8a4a-96924aa0786a" providerId="ADAL" clId="{54D8577C-5196-4E3B-AC07-5AAB674B8325}" dt="2025-02-07T02:47:40.916" v="5021"/>
          <ac:spMkLst>
            <pc:docMk/>
            <pc:sldMk cId="1849280669" sldId="2147378734"/>
            <ac:spMk id="11" creationId="{7AD700B5-152F-F8C1-01F8-E4F93E6DE0A2}"/>
          </ac:spMkLst>
        </pc:spChg>
        <pc:spChg chg="mod">
          <ac:chgData name="森田 光貴" userId="314cf0e2-2175-4948-8a4a-96924aa0786a" providerId="ADAL" clId="{54D8577C-5196-4E3B-AC07-5AAB674B8325}" dt="2025-02-07T03:45:41.650" v="5906" actId="20577"/>
          <ac:spMkLst>
            <pc:docMk/>
            <pc:sldMk cId="1849280669" sldId="2147378734"/>
            <ac:spMk id="13" creationId="{EDAD2185-EC0D-868E-795C-E7F2FB4ACC64}"/>
          </ac:spMkLst>
        </pc:spChg>
        <pc:spChg chg="del">
          <ac:chgData name="森田 光貴" userId="314cf0e2-2175-4948-8a4a-96924aa0786a" providerId="ADAL" clId="{54D8577C-5196-4E3B-AC07-5AAB674B8325}" dt="2025-02-07T01:20:57.931" v="4057" actId="478"/>
          <ac:spMkLst>
            <pc:docMk/>
            <pc:sldMk cId="1849280669" sldId="2147378734"/>
            <ac:spMk id="14" creationId="{18C1D74E-EB9E-1CE0-ED28-285496344003}"/>
          </ac:spMkLst>
        </pc:spChg>
        <pc:spChg chg="add mod">
          <ac:chgData name="森田 光貴" userId="314cf0e2-2175-4948-8a4a-96924aa0786a" providerId="ADAL" clId="{54D8577C-5196-4E3B-AC07-5AAB674B8325}" dt="2025-02-07T01:21:00.106" v="4058"/>
          <ac:spMkLst>
            <pc:docMk/>
            <pc:sldMk cId="1849280669" sldId="2147378734"/>
            <ac:spMk id="16" creationId="{BE049EA0-0CE2-CD5F-4666-C5B7AD461329}"/>
          </ac:spMkLst>
        </pc:spChg>
      </pc:sldChg>
      <pc:sldChg chg="addSp delSp modSp mod">
        <pc:chgData name="森田 光貴" userId="314cf0e2-2175-4948-8a4a-96924aa0786a" providerId="ADAL" clId="{54D8577C-5196-4E3B-AC07-5AAB674B8325}" dt="2025-02-07T02:26:03.708" v="4417"/>
        <pc:sldMkLst>
          <pc:docMk/>
          <pc:sldMk cId="4041357983" sldId="2147378735"/>
        </pc:sldMkLst>
        <pc:spChg chg="del">
          <ac:chgData name="森田 光貴" userId="314cf0e2-2175-4948-8a4a-96924aa0786a" providerId="ADAL" clId="{54D8577C-5196-4E3B-AC07-5AAB674B8325}" dt="2025-02-07T02:26:03.345" v="4416" actId="478"/>
          <ac:spMkLst>
            <pc:docMk/>
            <pc:sldMk cId="4041357983" sldId="2147378735"/>
            <ac:spMk id="6" creationId="{37429402-B7AC-B439-B2D0-65A1A7C50A8B}"/>
          </ac:spMkLst>
        </pc:spChg>
        <pc:spChg chg="add mod">
          <ac:chgData name="森田 光貴" userId="314cf0e2-2175-4948-8a4a-96924aa0786a" providerId="ADAL" clId="{54D8577C-5196-4E3B-AC07-5AAB674B8325}" dt="2025-02-07T02:26:03.708" v="4417"/>
          <ac:spMkLst>
            <pc:docMk/>
            <pc:sldMk cId="4041357983" sldId="2147378735"/>
            <ac:spMk id="8" creationId="{7208AD2A-E764-4A33-2FD8-D050A6ABBAE9}"/>
          </ac:spMkLst>
        </pc:spChg>
      </pc:sldChg>
      <pc:sldChg chg="addSp delSp modSp mod">
        <pc:chgData name="森田 光貴" userId="314cf0e2-2175-4948-8a4a-96924aa0786a" providerId="ADAL" clId="{54D8577C-5196-4E3B-AC07-5AAB674B8325}" dt="2025-02-07T02:26:06.954" v="4419"/>
        <pc:sldMkLst>
          <pc:docMk/>
          <pc:sldMk cId="662189618" sldId="2147378736"/>
        </pc:sldMkLst>
        <pc:spChg chg="del">
          <ac:chgData name="森田 光貴" userId="314cf0e2-2175-4948-8a4a-96924aa0786a" providerId="ADAL" clId="{54D8577C-5196-4E3B-AC07-5AAB674B8325}" dt="2025-02-07T02:26:06.554" v="4418" actId="478"/>
          <ac:spMkLst>
            <pc:docMk/>
            <pc:sldMk cId="662189618" sldId="2147378736"/>
            <ac:spMk id="6" creationId="{6A50203E-2E08-24A5-1C8C-6821C3AA528E}"/>
          </ac:spMkLst>
        </pc:spChg>
        <pc:spChg chg="add mod">
          <ac:chgData name="森田 光貴" userId="314cf0e2-2175-4948-8a4a-96924aa0786a" providerId="ADAL" clId="{54D8577C-5196-4E3B-AC07-5AAB674B8325}" dt="2025-02-07T02:26:06.954" v="4419"/>
          <ac:spMkLst>
            <pc:docMk/>
            <pc:sldMk cId="662189618" sldId="2147378736"/>
            <ac:spMk id="8" creationId="{989C3AF3-C4E8-7346-1E45-BFD6A10E9230}"/>
          </ac:spMkLst>
        </pc:spChg>
      </pc:sldChg>
      <pc:sldChg chg="modSp mod">
        <pc:chgData name="森田 光貴" userId="314cf0e2-2175-4948-8a4a-96924aa0786a" providerId="ADAL" clId="{54D8577C-5196-4E3B-AC07-5AAB674B8325}" dt="2025-02-07T02:26:22.080" v="4420" actId="14100"/>
        <pc:sldMkLst>
          <pc:docMk/>
          <pc:sldMk cId="3556400781" sldId="2147378741"/>
        </pc:sldMkLst>
        <pc:spChg chg="mod">
          <ac:chgData name="森田 光貴" userId="314cf0e2-2175-4948-8a4a-96924aa0786a" providerId="ADAL" clId="{54D8577C-5196-4E3B-AC07-5AAB674B8325}" dt="2025-02-07T02:26:22.080" v="4420" actId="14100"/>
          <ac:spMkLst>
            <pc:docMk/>
            <pc:sldMk cId="3556400781" sldId="2147378741"/>
            <ac:spMk id="4" creationId="{A1277F05-26FA-BC40-8E8E-34D0007C0DF7}"/>
          </ac:spMkLst>
        </pc:spChg>
      </pc:sldChg>
      <pc:sldChg chg="modSp mod modCm">
        <pc:chgData name="森田 光貴" userId="314cf0e2-2175-4948-8a4a-96924aa0786a" providerId="ADAL" clId="{54D8577C-5196-4E3B-AC07-5AAB674B8325}" dt="2025-02-07T11:27:36.224" v="7874" actId="6549"/>
        <pc:sldMkLst>
          <pc:docMk/>
          <pc:sldMk cId="4237138605" sldId="2147378742"/>
        </pc:sldMkLst>
        <pc:spChg chg="mod">
          <ac:chgData name="森田 光貴" userId="314cf0e2-2175-4948-8a4a-96924aa0786a" providerId="ADAL" clId="{54D8577C-5196-4E3B-AC07-5AAB674B8325}" dt="2025-02-07T11:27:36.224" v="7874" actId="6549"/>
          <ac:spMkLst>
            <pc:docMk/>
            <pc:sldMk cId="4237138605" sldId="2147378742"/>
            <ac:spMk id="6" creationId="{95B7D5A6-3733-419F-5F47-1323A3D8D852}"/>
          </ac:spMkLst>
        </pc:spChg>
        <pc:spChg chg="mod">
          <ac:chgData name="森田 光貴" userId="314cf0e2-2175-4948-8a4a-96924aa0786a" providerId="ADAL" clId="{54D8577C-5196-4E3B-AC07-5AAB674B8325}" dt="2025-02-07T11:18:24.707" v="7583" actId="1035"/>
          <ac:spMkLst>
            <pc:docMk/>
            <pc:sldMk cId="4237138605" sldId="2147378742"/>
            <ac:spMk id="8" creationId="{95ACE118-4131-DE79-F02F-66722864A02D}"/>
          </ac:spMkLst>
        </pc:spChg>
        <pc:spChg chg="mod">
          <ac:chgData name="森田 光貴" userId="314cf0e2-2175-4948-8a4a-96924aa0786a" providerId="ADAL" clId="{54D8577C-5196-4E3B-AC07-5AAB674B8325}" dt="2025-02-07T11:18:24.707" v="7583" actId="1035"/>
          <ac:spMkLst>
            <pc:docMk/>
            <pc:sldMk cId="4237138605" sldId="2147378742"/>
            <ac:spMk id="12" creationId="{0885EF34-1A86-AA39-1A1A-5F99ABF6B7EF}"/>
          </ac:spMkLst>
        </pc:spChg>
        <pc:grpChg chg="mod">
          <ac:chgData name="森田 光貴" userId="314cf0e2-2175-4948-8a4a-96924aa0786a" providerId="ADAL" clId="{54D8577C-5196-4E3B-AC07-5AAB674B8325}" dt="2025-02-07T11:18:24.707" v="7583" actId="1035"/>
          <ac:grpSpMkLst>
            <pc:docMk/>
            <pc:sldMk cId="4237138605" sldId="2147378742"/>
            <ac:grpSpMk id="3" creationId="{EBC23DA4-F36B-555D-CA5C-39F94E08823F}"/>
          </ac:grpSpMkLst>
        </pc:grpChg>
        <pc:grpChg chg="mod">
          <ac:chgData name="森田 光貴" userId="314cf0e2-2175-4948-8a4a-96924aa0786a" providerId="ADAL" clId="{54D8577C-5196-4E3B-AC07-5AAB674B8325}" dt="2025-02-07T11:18:24.707" v="7583" actId="1035"/>
          <ac:grpSpMkLst>
            <pc:docMk/>
            <pc:sldMk cId="4237138605" sldId="2147378742"/>
            <ac:grpSpMk id="4" creationId="{182836E8-0A6C-6508-BE54-D9FA5966D104}"/>
          </ac:grpSpMkLst>
        </pc:grpChg>
        <pc:grpChg chg="mod">
          <ac:chgData name="森田 光貴" userId="314cf0e2-2175-4948-8a4a-96924aa0786a" providerId="ADAL" clId="{54D8577C-5196-4E3B-AC07-5AAB674B8325}" dt="2025-02-07T11:18:24.707" v="7583" actId="1035"/>
          <ac:grpSpMkLst>
            <pc:docMk/>
            <pc:sldMk cId="4237138605" sldId="2147378742"/>
            <ac:grpSpMk id="7" creationId="{2FB98B28-3911-4D54-DF63-480395E4E9E6}"/>
          </ac:grpSpMkLst>
        </pc:grpChg>
        <pc:cxnChg chg="mod">
          <ac:chgData name="森田 光貴" userId="314cf0e2-2175-4948-8a4a-96924aa0786a" providerId="ADAL" clId="{54D8577C-5196-4E3B-AC07-5AAB674B8325}" dt="2025-02-07T11:18:24.707" v="7583" actId="1035"/>
          <ac:cxnSpMkLst>
            <pc:docMk/>
            <pc:sldMk cId="4237138605" sldId="2147378742"/>
            <ac:cxnSpMk id="10" creationId="{EEF86A98-39B5-3E9C-8313-F6410191C7AD}"/>
          </ac:cxnSpMkLst>
        </pc:cxnChg>
        <pc:cxnChg chg="mod">
          <ac:chgData name="森田 光貴" userId="314cf0e2-2175-4948-8a4a-96924aa0786a" providerId="ADAL" clId="{54D8577C-5196-4E3B-AC07-5AAB674B8325}" dt="2025-02-07T11:18:24.707" v="7583" actId="1035"/>
          <ac:cxnSpMkLst>
            <pc:docMk/>
            <pc:sldMk cId="4237138605" sldId="2147378742"/>
            <ac:cxnSpMk id="13" creationId="{819B2E49-17B8-3727-8812-69FD5702E69C}"/>
          </ac:cxnSpMkLst>
        </pc:cxnChg>
        <pc:extLst>
          <p:ext xmlns:p="http://schemas.openxmlformats.org/presentationml/2006/main" uri="{D6D511B9-2390-475A-947B-AFAB55BFBCF1}">
            <pc226:cmChg xmlns:pc226="http://schemas.microsoft.com/office/powerpoint/2022/06/main/command" chg="mod">
              <pc226:chgData name="森田 光貴" userId="314cf0e2-2175-4948-8a4a-96924aa0786a" providerId="ADAL" clId="{54D8577C-5196-4E3B-AC07-5AAB674B8325}" dt="2025-02-07T11:27:36.224" v="7874" actId="6549"/>
              <pc2:cmMkLst xmlns:pc2="http://schemas.microsoft.com/office/powerpoint/2019/9/main/command">
                <pc:docMk/>
                <pc:sldMk cId="4237138605" sldId="2147378742"/>
                <pc2:cmMk id="{77004874-076B-4049-A0E0-7BA24B50A2A9}"/>
              </pc2:cmMkLst>
            </pc226:cmChg>
          </p:ext>
        </pc:extLst>
      </pc:sldChg>
      <pc:sldChg chg="addSp modSp">
        <pc:chgData name="森田 光貴" userId="314cf0e2-2175-4948-8a4a-96924aa0786a" providerId="ADAL" clId="{54D8577C-5196-4E3B-AC07-5AAB674B8325}" dt="2025-02-07T04:01:46.572" v="6327"/>
        <pc:sldMkLst>
          <pc:docMk/>
          <pc:sldMk cId="3931455884" sldId="2147378743"/>
        </pc:sldMkLst>
        <pc:spChg chg="add mod">
          <ac:chgData name="森田 光貴" userId="314cf0e2-2175-4948-8a4a-96924aa0786a" providerId="ADAL" clId="{54D8577C-5196-4E3B-AC07-5AAB674B8325}" dt="2025-02-07T04:01:46.572" v="6327"/>
          <ac:spMkLst>
            <pc:docMk/>
            <pc:sldMk cId="3931455884" sldId="2147378743"/>
            <ac:spMk id="7" creationId="{EECA8A31-435A-50C0-5983-C69458EFAFD7}"/>
          </ac:spMkLst>
        </pc:spChg>
      </pc:sldChg>
      <pc:sldChg chg="addSp modSp">
        <pc:chgData name="森田 光貴" userId="314cf0e2-2175-4948-8a4a-96924aa0786a" providerId="ADAL" clId="{54D8577C-5196-4E3B-AC07-5AAB674B8325}" dt="2025-02-07T04:01:26.214" v="6326"/>
        <pc:sldMkLst>
          <pc:docMk/>
          <pc:sldMk cId="2340429532" sldId="2147378744"/>
        </pc:sldMkLst>
        <pc:spChg chg="add mod">
          <ac:chgData name="森田 光貴" userId="314cf0e2-2175-4948-8a4a-96924aa0786a" providerId="ADAL" clId="{54D8577C-5196-4E3B-AC07-5AAB674B8325}" dt="2025-02-07T04:01:26.214" v="6326"/>
          <ac:spMkLst>
            <pc:docMk/>
            <pc:sldMk cId="2340429532" sldId="2147378744"/>
            <ac:spMk id="15" creationId="{3C5209FD-4C36-2B74-83F8-CBA1D960F307}"/>
          </ac:spMkLst>
        </pc:spChg>
      </pc:sldChg>
      <pc:sldChg chg="addSp delSp modSp mod">
        <pc:chgData name="森田 光貴" userId="314cf0e2-2175-4948-8a4a-96924aa0786a" providerId="ADAL" clId="{54D8577C-5196-4E3B-AC07-5AAB674B8325}" dt="2025-02-07T04:02:10.310" v="6338"/>
        <pc:sldMkLst>
          <pc:docMk/>
          <pc:sldMk cId="2271814075" sldId="2147378745"/>
        </pc:sldMkLst>
        <pc:spChg chg="add mod">
          <ac:chgData name="森田 光貴" userId="314cf0e2-2175-4948-8a4a-96924aa0786a" providerId="ADAL" clId="{54D8577C-5196-4E3B-AC07-5AAB674B8325}" dt="2025-02-07T04:02:02.901" v="6329"/>
          <ac:spMkLst>
            <pc:docMk/>
            <pc:sldMk cId="2271814075" sldId="2147378745"/>
            <ac:spMk id="11" creationId="{88803321-5BCD-ED24-0112-088C72CF46F4}"/>
          </ac:spMkLst>
        </pc:spChg>
        <pc:spChg chg="mod">
          <ac:chgData name="森田 光貴" userId="314cf0e2-2175-4948-8a4a-96924aa0786a" providerId="ADAL" clId="{54D8577C-5196-4E3B-AC07-5AAB674B8325}" dt="2025-02-07T04:02:10.310" v="6338"/>
          <ac:spMkLst>
            <pc:docMk/>
            <pc:sldMk cId="2271814075" sldId="2147378745"/>
            <ac:spMk id="13" creationId="{EDAD2185-EC0D-868E-795C-E7F2FB4ACC64}"/>
          </ac:spMkLst>
        </pc:spChg>
        <pc:spChg chg="del">
          <ac:chgData name="森田 光貴" userId="314cf0e2-2175-4948-8a4a-96924aa0786a" providerId="ADAL" clId="{54D8577C-5196-4E3B-AC07-5AAB674B8325}" dt="2025-02-07T04:02:00.599" v="6328" actId="478"/>
          <ac:spMkLst>
            <pc:docMk/>
            <pc:sldMk cId="2271814075" sldId="2147378745"/>
            <ac:spMk id="14" creationId="{18C1D74E-EB9E-1CE0-ED28-285496344003}"/>
          </ac:spMkLst>
        </pc:spChg>
        <pc:spChg chg="add mod">
          <ac:chgData name="森田 光貴" userId="314cf0e2-2175-4948-8a4a-96924aa0786a" providerId="ADAL" clId="{54D8577C-5196-4E3B-AC07-5AAB674B8325}" dt="2025-02-07T04:02:02.901" v="6329"/>
          <ac:spMkLst>
            <pc:docMk/>
            <pc:sldMk cId="2271814075" sldId="2147378745"/>
            <ac:spMk id="16" creationId="{97C76F22-2E31-EE16-171A-90EDA8848E04}"/>
          </ac:spMkLst>
        </pc:spChg>
      </pc:sldChg>
      <pc:sldChg chg="addSp modSp">
        <pc:chgData name="森田 光貴" userId="314cf0e2-2175-4948-8a4a-96924aa0786a" providerId="ADAL" clId="{54D8577C-5196-4E3B-AC07-5AAB674B8325}" dt="2025-02-07T04:02:28.156" v="6339"/>
        <pc:sldMkLst>
          <pc:docMk/>
          <pc:sldMk cId="478136210" sldId="2147378746"/>
        </pc:sldMkLst>
        <pc:spChg chg="add mod">
          <ac:chgData name="森田 光貴" userId="314cf0e2-2175-4948-8a4a-96924aa0786a" providerId="ADAL" clId="{54D8577C-5196-4E3B-AC07-5AAB674B8325}" dt="2025-02-07T04:02:28.156" v="6339"/>
          <ac:spMkLst>
            <pc:docMk/>
            <pc:sldMk cId="478136210" sldId="2147378746"/>
            <ac:spMk id="6" creationId="{21D13A10-9062-ED6C-1199-D4C143403E83}"/>
          </ac:spMkLst>
        </pc:spChg>
      </pc:sldChg>
      <pc:sldChg chg="addSp delSp modSp mod">
        <pc:chgData name="森田 光貴" userId="314cf0e2-2175-4948-8a4a-96924aa0786a" providerId="ADAL" clId="{54D8577C-5196-4E3B-AC07-5AAB674B8325}" dt="2025-02-07T04:03:52.633" v="6344" actId="1076"/>
        <pc:sldMkLst>
          <pc:docMk/>
          <pc:sldMk cId="3772405785" sldId="2147378747"/>
        </pc:sldMkLst>
        <pc:spChg chg="add mod">
          <ac:chgData name="森田 光貴" userId="314cf0e2-2175-4948-8a4a-96924aa0786a" providerId="ADAL" clId="{54D8577C-5196-4E3B-AC07-5AAB674B8325}" dt="2025-02-07T04:03:52.633" v="6344" actId="1076"/>
          <ac:spMkLst>
            <pc:docMk/>
            <pc:sldMk cId="3772405785" sldId="2147378747"/>
            <ac:spMk id="3" creationId="{2DF77E87-6E2C-2B71-0508-C5B23997D182}"/>
          </ac:spMkLst>
        </pc:spChg>
        <pc:spChg chg="add del mod">
          <ac:chgData name="森田 光貴" userId="314cf0e2-2175-4948-8a4a-96924aa0786a" providerId="ADAL" clId="{54D8577C-5196-4E3B-AC07-5AAB674B8325}" dt="2025-02-07T04:03:44.964" v="6343" actId="478"/>
          <ac:spMkLst>
            <pc:docMk/>
            <pc:sldMk cId="3772405785" sldId="2147378747"/>
            <ac:spMk id="4" creationId="{8C1A8A3C-1D46-F806-2276-B6AF12B717A5}"/>
          </ac:spMkLst>
        </pc:spChg>
      </pc:sldChg>
      <pc:sldChg chg="addSp modSp mod">
        <pc:chgData name="森田 光貴" userId="314cf0e2-2175-4948-8a4a-96924aa0786a" providerId="ADAL" clId="{54D8577C-5196-4E3B-AC07-5AAB674B8325}" dt="2025-02-07T04:04:32.665" v="6403" actId="20577"/>
        <pc:sldMkLst>
          <pc:docMk/>
          <pc:sldMk cId="177420526" sldId="2147378748"/>
        </pc:sldMkLst>
        <pc:spChg chg="add mod">
          <ac:chgData name="森田 光貴" userId="314cf0e2-2175-4948-8a4a-96924aa0786a" providerId="ADAL" clId="{54D8577C-5196-4E3B-AC07-5AAB674B8325}" dt="2025-02-07T04:04:32.665" v="6403" actId="20577"/>
          <ac:spMkLst>
            <pc:docMk/>
            <pc:sldMk cId="177420526" sldId="2147378748"/>
            <ac:spMk id="7" creationId="{CD57A09D-0FAB-DCC5-4D8A-39E21554BE47}"/>
          </ac:spMkLst>
        </pc:spChg>
      </pc:sldChg>
      <pc:sldChg chg="addSp delSp modSp mod">
        <pc:chgData name="森田 光貴" userId="314cf0e2-2175-4948-8a4a-96924aa0786a" providerId="ADAL" clId="{54D8577C-5196-4E3B-AC07-5AAB674B8325}" dt="2025-02-07T11:30:00.922" v="7880" actId="21"/>
        <pc:sldMkLst>
          <pc:docMk/>
          <pc:sldMk cId="2929259541" sldId="2147378749"/>
        </pc:sldMkLst>
        <pc:spChg chg="add del">
          <ac:chgData name="森田 光貴" userId="314cf0e2-2175-4948-8a4a-96924aa0786a" providerId="ADAL" clId="{54D8577C-5196-4E3B-AC07-5AAB674B8325}" dt="2025-02-07T11:29:20.646" v="7876" actId="22"/>
          <ac:spMkLst>
            <pc:docMk/>
            <pc:sldMk cId="2929259541" sldId="2147378749"/>
            <ac:spMk id="6" creationId="{FA9B199A-3FB2-464F-70C6-6E1DA7DFE6AE}"/>
          </ac:spMkLst>
        </pc:spChg>
        <pc:spChg chg="add del mod">
          <ac:chgData name="森田 光貴" userId="314cf0e2-2175-4948-8a4a-96924aa0786a" providerId="ADAL" clId="{54D8577C-5196-4E3B-AC07-5AAB674B8325}" dt="2025-02-07T11:30:00.922" v="7880" actId="21"/>
          <ac:spMkLst>
            <pc:docMk/>
            <pc:sldMk cId="2929259541" sldId="2147378749"/>
            <ac:spMk id="20" creationId="{D542480A-6814-F279-8942-AEB85B21B311}"/>
          </ac:spMkLst>
        </pc:spChg>
        <pc:spChg chg="add del mod">
          <ac:chgData name="森田 光貴" userId="314cf0e2-2175-4948-8a4a-96924aa0786a" providerId="ADAL" clId="{54D8577C-5196-4E3B-AC07-5AAB674B8325}" dt="2025-02-07T11:30:00.922" v="7880" actId="21"/>
          <ac:spMkLst>
            <pc:docMk/>
            <pc:sldMk cId="2929259541" sldId="2147378749"/>
            <ac:spMk id="21" creationId="{3503A29F-02B4-B115-09FD-CCE4DAB630F5}"/>
          </ac:spMkLst>
        </pc:spChg>
        <pc:picChg chg="add del">
          <ac:chgData name="森田 光貴" userId="314cf0e2-2175-4948-8a4a-96924aa0786a" providerId="ADAL" clId="{54D8577C-5196-4E3B-AC07-5AAB674B8325}" dt="2025-02-07T11:29:24.192" v="7878" actId="22"/>
          <ac:picMkLst>
            <pc:docMk/>
            <pc:sldMk cId="2929259541" sldId="2147378749"/>
            <ac:picMk id="18" creationId="{4A807AE9-4543-9D38-3B5F-55DCC2F01479}"/>
          </ac:picMkLst>
        </pc:picChg>
      </pc:sldChg>
      <pc:sldChg chg="addSp modSp mod">
        <pc:chgData name="森田 光貴" userId="314cf0e2-2175-4948-8a4a-96924aa0786a" providerId="ADAL" clId="{54D8577C-5196-4E3B-AC07-5AAB674B8325}" dt="2025-02-07T04:07:10.332" v="6471"/>
        <pc:sldMkLst>
          <pc:docMk/>
          <pc:sldMk cId="4044403005" sldId="2147378750"/>
        </pc:sldMkLst>
        <pc:spChg chg="add mod">
          <ac:chgData name="森田 光貴" userId="314cf0e2-2175-4948-8a4a-96924aa0786a" providerId="ADAL" clId="{54D8577C-5196-4E3B-AC07-5AAB674B8325}" dt="2025-02-07T04:07:10.332" v="6471"/>
          <ac:spMkLst>
            <pc:docMk/>
            <pc:sldMk cId="4044403005" sldId="2147378750"/>
            <ac:spMk id="7" creationId="{79070467-F16A-2561-6732-C9883A64F9FC}"/>
          </ac:spMkLst>
        </pc:spChg>
      </pc:sldChg>
      <pc:sldChg chg="addSp delSp modSp mod">
        <pc:chgData name="森田 光貴" userId="314cf0e2-2175-4948-8a4a-96924aa0786a" providerId="ADAL" clId="{54D8577C-5196-4E3B-AC07-5AAB674B8325}" dt="2025-02-07T01:51:15.360" v="4158" actId="1076"/>
        <pc:sldMkLst>
          <pc:docMk/>
          <pc:sldMk cId="1359778448" sldId="2147378756"/>
        </pc:sldMkLst>
        <pc:spChg chg="del">
          <ac:chgData name="森田 光貴" userId="314cf0e2-2175-4948-8a4a-96924aa0786a" providerId="ADAL" clId="{54D8577C-5196-4E3B-AC07-5AAB674B8325}" dt="2025-02-07T01:42:47.318" v="4145" actId="478"/>
          <ac:spMkLst>
            <pc:docMk/>
            <pc:sldMk cId="1359778448" sldId="2147378756"/>
            <ac:spMk id="5" creationId="{07FDD3E2-893C-7C7D-69AA-ED74F7AC6940}"/>
          </ac:spMkLst>
        </pc:spChg>
        <pc:spChg chg="add mod">
          <ac:chgData name="森田 光貴" userId="314cf0e2-2175-4948-8a4a-96924aa0786a" providerId="ADAL" clId="{54D8577C-5196-4E3B-AC07-5AAB674B8325}" dt="2025-02-07T01:51:15.360" v="4158" actId="1076"/>
          <ac:spMkLst>
            <pc:docMk/>
            <pc:sldMk cId="1359778448" sldId="2147378756"/>
            <ac:spMk id="7" creationId="{4AF50D1B-B984-2378-E84F-10D1B7500960}"/>
          </ac:spMkLst>
        </pc:spChg>
      </pc:sldChg>
      <pc:sldChg chg="addSp modSp mod">
        <pc:chgData name="森田 光貴" userId="314cf0e2-2175-4948-8a4a-96924aa0786a" providerId="ADAL" clId="{54D8577C-5196-4E3B-AC07-5AAB674B8325}" dt="2025-02-07T04:06:52.276" v="6427"/>
        <pc:sldMkLst>
          <pc:docMk/>
          <pc:sldMk cId="3009745310" sldId="2147378767"/>
        </pc:sldMkLst>
        <pc:spChg chg="add mod">
          <ac:chgData name="森田 光貴" userId="314cf0e2-2175-4948-8a4a-96924aa0786a" providerId="ADAL" clId="{54D8577C-5196-4E3B-AC07-5AAB674B8325}" dt="2025-02-07T04:06:52.276" v="6427"/>
          <ac:spMkLst>
            <pc:docMk/>
            <pc:sldMk cId="3009745310" sldId="2147378767"/>
            <ac:spMk id="7" creationId="{22EDA371-0AEA-5966-0D9B-D47542A057F7}"/>
          </ac:spMkLst>
        </pc:spChg>
      </pc:sldChg>
      <pc:sldChg chg="addSp delSp modSp mod">
        <pc:chgData name="森田 光貴" userId="314cf0e2-2175-4948-8a4a-96924aa0786a" providerId="ADAL" clId="{54D8577C-5196-4E3B-AC07-5AAB674B8325}" dt="2025-02-07T04:02:53.174" v="6341"/>
        <pc:sldMkLst>
          <pc:docMk/>
          <pc:sldMk cId="2779406652" sldId="2147378770"/>
        </pc:sldMkLst>
        <pc:spChg chg="del mod">
          <ac:chgData name="森田 光貴" userId="314cf0e2-2175-4948-8a4a-96924aa0786a" providerId="ADAL" clId="{54D8577C-5196-4E3B-AC07-5AAB674B8325}" dt="2025-02-07T04:02:46.152" v="6340" actId="478"/>
          <ac:spMkLst>
            <pc:docMk/>
            <pc:sldMk cId="2779406652" sldId="2147378770"/>
            <ac:spMk id="3" creationId="{64E6FBA6-9471-354D-9859-2CBBDFCF1828}"/>
          </ac:spMkLst>
        </pc:spChg>
        <pc:spChg chg="add mod">
          <ac:chgData name="森田 光貴" userId="314cf0e2-2175-4948-8a4a-96924aa0786a" providerId="ADAL" clId="{54D8577C-5196-4E3B-AC07-5AAB674B8325}" dt="2025-02-07T04:02:53.174" v="6341"/>
          <ac:spMkLst>
            <pc:docMk/>
            <pc:sldMk cId="2779406652" sldId="2147378770"/>
            <ac:spMk id="4" creationId="{50019115-7B4A-AC62-27DD-796BB40B5F35}"/>
          </ac:spMkLst>
        </pc:spChg>
        <pc:graphicFrameChg chg="modGraphic">
          <ac:chgData name="森田 光貴" userId="314cf0e2-2175-4948-8a4a-96924aa0786a" providerId="ADAL" clId="{54D8577C-5196-4E3B-AC07-5AAB674B8325}" dt="2025-02-06T17:27:24.216" v="3083" actId="20577"/>
          <ac:graphicFrameMkLst>
            <pc:docMk/>
            <pc:sldMk cId="2779406652" sldId="2147378770"/>
            <ac:graphicFrameMk id="8" creationId="{628A4627-CAA7-6C39-A2F3-3AFB41DE8AAE}"/>
          </ac:graphicFrameMkLst>
        </pc:graphicFrameChg>
      </pc:sldChg>
      <pc:sldChg chg="modSp mod">
        <pc:chgData name="森田 光貴" userId="314cf0e2-2175-4948-8a4a-96924aa0786a" providerId="ADAL" clId="{54D8577C-5196-4E3B-AC07-5AAB674B8325}" dt="2025-02-07T12:38:27.992" v="8265"/>
        <pc:sldMkLst>
          <pc:docMk/>
          <pc:sldMk cId="1436977306" sldId="2147378771"/>
        </pc:sldMkLst>
        <pc:graphicFrameChg chg="mod modGraphic">
          <ac:chgData name="森田 光貴" userId="314cf0e2-2175-4948-8a4a-96924aa0786a" providerId="ADAL" clId="{54D8577C-5196-4E3B-AC07-5AAB674B8325}" dt="2025-02-07T12:38:27.992" v="8265"/>
          <ac:graphicFrameMkLst>
            <pc:docMk/>
            <pc:sldMk cId="1436977306" sldId="2147378771"/>
            <ac:graphicFrameMk id="32" creationId="{3B80BC24-01AA-213D-76FD-38F653AD9B7C}"/>
          </ac:graphicFrameMkLst>
        </pc:graphicFrameChg>
      </pc:sldChg>
      <pc:sldChg chg="new">
        <pc:chgData name="森田 光貴" userId="314cf0e2-2175-4948-8a4a-96924aa0786a" providerId="ADAL" clId="{54D8577C-5196-4E3B-AC07-5AAB674B8325}" dt="2025-02-06T17:38:19.951" v="3086" actId="680"/>
        <pc:sldMkLst>
          <pc:docMk/>
          <pc:sldMk cId="2499204696" sldId="2147378773"/>
        </pc:sldMkLst>
      </pc:sldChg>
      <pc:sldChg chg="add del">
        <pc:chgData name="森田 光貴" userId="314cf0e2-2175-4948-8a4a-96924aa0786a" providerId="ADAL" clId="{54D8577C-5196-4E3B-AC07-5AAB674B8325}" dt="2025-02-07T03:55:52.804" v="6310"/>
        <pc:sldMkLst>
          <pc:docMk/>
          <pc:sldMk cId="1257564122" sldId="2147483275"/>
        </pc:sldMkLst>
      </pc:sldChg>
      <pc:sldChg chg="addSp delSp modSp del mod">
        <pc:chgData name="森田 光貴" userId="314cf0e2-2175-4948-8a4a-96924aa0786a" providerId="ADAL" clId="{54D8577C-5196-4E3B-AC07-5AAB674B8325}" dt="2025-02-07T12:02:14.221" v="8132" actId="47"/>
        <pc:sldMkLst>
          <pc:docMk/>
          <pc:sldMk cId="215412893" sldId="2147483283"/>
        </pc:sldMkLst>
        <pc:graphicFrameChg chg="del">
          <ac:chgData name="森田 光貴" userId="314cf0e2-2175-4948-8a4a-96924aa0786a" providerId="ADAL" clId="{54D8577C-5196-4E3B-AC07-5AAB674B8325}" dt="2025-02-07T11:35:13.297" v="7887" actId="478"/>
          <ac:graphicFrameMkLst>
            <pc:docMk/>
            <pc:sldMk cId="215412893" sldId="2147483283"/>
            <ac:graphicFrameMk id="5" creationId="{6F20B3C2-7932-BA1D-3A4E-18BD6D75E285}"/>
          </ac:graphicFrameMkLst>
        </pc:graphicFrameChg>
        <pc:graphicFrameChg chg="add del mod">
          <ac:chgData name="森田 光貴" userId="314cf0e2-2175-4948-8a4a-96924aa0786a" providerId="ADAL" clId="{54D8577C-5196-4E3B-AC07-5AAB674B8325}" dt="2025-02-07T11:37:57.163" v="7999" actId="478"/>
          <ac:graphicFrameMkLst>
            <pc:docMk/>
            <pc:sldMk cId="215412893" sldId="2147483283"/>
            <ac:graphicFrameMk id="7" creationId="{609A23BF-AD62-DF1C-D2EF-870376DB9D48}"/>
          </ac:graphicFrameMkLst>
        </pc:graphicFrameChg>
        <pc:graphicFrameChg chg="add del mod">
          <ac:chgData name="森田 光貴" userId="314cf0e2-2175-4948-8a4a-96924aa0786a" providerId="ADAL" clId="{54D8577C-5196-4E3B-AC07-5AAB674B8325}" dt="2025-02-07T11:51:29.199" v="8089" actId="478"/>
          <ac:graphicFrameMkLst>
            <pc:docMk/>
            <pc:sldMk cId="215412893" sldId="2147483283"/>
            <ac:graphicFrameMk id="8" creationId="{7FEE3059-6475-3D76-CD39-80F354D85FB9}"/>
          </ac:graphicFrameMkLst>
        </pc:graphicFrameChg>
        <pc:graphicFrameChg chg="add del mod modGraphic">
          <ac:chgData name="森田 光貴" userId="314cf0e2-2175-4948-8a4a-96924aa0786a" providerId="ADAL" clId="{54D8577C-5196-4E3B-AC07-5AAB674B8325}" dt="2025-02-07T11:53:43.842" v="8096" actId="478"/>
          <ac:graphicFrameMkLst>
            <pc:docMk/>
            <pc:sldMk cId="215412893" sldId="2147483283"/>
            <ac:graphicFrameMk id="9" creationId="{AC195AB0-EE00-7C84-DA0A-1F0C01696D42}"/>
          </ac:graphicFrameMkLst>
        </pc:graphicFrameChg>
        <pc:graphicFrameChg chg="add del mod">
          <ac:chgData name="森田 光貴" userId="314cf0e2-2175-4948-8a4a-96924aa0786a" providerId="ADAL" clId="{54D8577C-5196-4E3B-AC07-5AAB674B8325}" dt="2025-02-07T11:53:54.883" v="8098" actId="478"/>
          <ac:graphicFrameMkLst>
            <pc:docMk/>
            <pc:sldMk cId="215412893" sldId="2147483283"/>
            <ac:graphicFrameMk id="10" creationId="{FF2FB961-6C15-CB7A-F797-F5A1B3067230}"/>
          </ac:graphicFrameMkLst>
        </pc:graphicFrameChg>
        <pc:graphicFrameChg chg="add del mod modGraphic">
          <ac:chgData name="森田 光貴" userId="314cf0e2-2175-4948-8a4a-96924aa0786a" providerId="ADAL" clId="{54D8577C-5196-4E3B-AC07-5AAB674B8325}" dt="2025-02-07T11:57:38.490" v="8106" actId="478"/>
          <ac:graphicFrameMkLst>
            <pc:docMk/>
            <pc:sldMk cId="215412893" sldId="2147483283"/>
            <ac:graphicFrameMk id="11" creationId="{BFCB8B00-EEF2-DC4D-31D5-3E2D6370C84C}"/>
          </ac:graphicFrameMkLst>
        </pc:graphicFrameChg>
        <pc:graphicFrameChg chg="add mod modGraphic">
          <ac:chgData name="森田 光貴" userId="314cf0e2-2175-4948-8a4a-96924aa0786a" providerId="ADAL" clId="{54D8577C-5196-4E3B-AC07-5AAB674B8325}" dt="2025-02-07T12:01:01.660" v="8131" actId="14734"/>
          <ac:graphicFrameMkLst>
            <pc:docMk/>
            <pc:sldMk cId="215412893" sldId="2147483283"/>
            <ac:graphicFrameMk id="12" creationId="{388949EF-42FC-DC6F-984B-F279C8789C81}"/>
          </ac:graphicFrameMkLst>
        </pc:graphicFrameChg>
        <pc:graphicFrameChg chg="del mod modGraphic">
          <ac:chgData name="森田 光貴" userId="314cf0e2-2175-4948-8a4a-96924aa0786a" providerId="ADAL" clId="{54D8577C-5196-4E3B-AC07-5AAB674B8325}" dt="2025-02-07T11:50:40.726" v="8085" actId="478"/>
          <ac:graphicFrameMkLst>
            <pc:docMk/>
            <pc:sldMk cId="215412893" sldId="2147483283"/>
            <ac:graphicFrameMk id="13" creationId="{6B84DF48-8B2E-7483-E19E-A4C36C91AA03}"/>
          </ac:graphicFrameMkLst>
        </pc:graphicFrameChg>
      </pc:sldChg>
      <pc:sldChg chg="modSp mod">
        <pc:chgData name="森田 光貴" userId="314cf0e2-2175-4948-8a4a-96924aa0786a" providerId="ADAL" clId="{54D8577C-5196-4E3B-AC07-5AAB674B8325}" dt="2025-02-07T12:11:12.483" v="8241"/>
        <pc:sldMkLst>
          <pc:docMk/>
          <pc:sldMk cId="779576324" sldId="2147483290"/>
        </pc:sldMkLst>
        <pc:graphicFrameChg chg="mod">
          <ac:chgData name="森田 光貴" userId="314cf0e2-2175-4948-8a4a-96924aa0786a" providerId="ADAL" clId="{54D8577C-5196-4E3B-AC07-5AAB674B8325}" dt="2025-02-07T12:11:12.483" v="8241"/>
          <ac:graphicFrameMkLst>
            <pc:docMk/>
            <pc:sldMk cId="779576324" sldId="2147483290"/>
            <ac:graphicFrameMk id="13" creationId="{6B84DF48-8B2E-7483-E19E-A4C36C91AA03}"/>
          </ac:graphicFrameMkLst>
        </pc:graphicFrameChg>
      </pc:sldChg>
      <pc:sldChg chg="addSp delSp modSp mod">
        <pc:chgData name="森田 光貴" userId="314cf0e2-2175-4948-8a4a-96924aa0786a" providerId="ADAL" clId="{54D8577C-5196-4E3B-AC07-5AAB674B8325}" dt="2025-02-07T12:10:29.055" v="8233"/>
        <pc:sldMkLst>
          <pc:docMk/>
          <pc:sldMk cId="4261027216" sldId="2147483291"/>
        </pc:sldMkLst>
        <pc:graphicFrameChg chg="add mod">
          <ac:chgData name="森田 光貴" userId="314cf0e2-2175-4948-8a4a-96924aa0786a" providerId="ADAL" clId="{54D8577C-5196-4E3B-AC07-5AAB674B8325}" dt="2025-02-07T12:08:09.828" v="8206"/>
          <ac:graphicFrameMkLst>
            <pc:docMk/>
            <pc:sldMk cId="4261027216" sldId="2147483291"/>
            <ac:graphicFrameMk id="7" creationId="{56215414-58C9-C204-2E0A-8AF44AB635F5}"/>
          </ac:graphicFrameMkLst>
        </pc:graphicFrameChg>
        <pc:graphicFrameChg chg="add del mod">
          <ac:chgData name="森田 光貴" userId="314cf0e2-2175-4948-8a4a-96924aa0786a" providerId="ADAL" clId="{54D8577C-5196-4E3B-AC07-5AAB674B8325}" dt="2025-02-07T12:08:27.280" v="8209" actId="478"/>
          <ac:graphicFrameMkLst>
            <pc:docMk/>
            <pc:sldMk cId="4261027216" sldId="2147483291"/>
            <ac:graphicFrameMk id="8" creationId="{BF174E0D-2D71-0FE0-EDB5-87946B8D8761}"/>
          </ac:graphicFrameMkLst>
        </pc:graphicFrameChg>
        <pc:graphicFrameChg chg="mod modGraphic">
          <ac:chgData name="森田 光貴" userId="314cf0e2-2175-4948-8a4a-96924aa0786a" providerId="ADAL" clId="{54D8577C-5196-4E3B-AC07-5AAB674B8325}" dt="2025-02-07T12:10:29.055" v="8233"/>
          <ac:graphicFrameMkLst>
            <pc:docMk/>
            <pc:sldMk cId="4261027216" sldId="2147483291"/>
            <ac:graphicFrameMk id="13" creationId="{6B84DF48-8B2E-7483-E19E-A4C36C91AA03}"/>
          </ac:graphicFrameMkLst>
        </pc:graphicFrameChg>
      </pc:sldChg>
    </pc:docChg>
  </pc:docChgLst>
  <pc:docChgLst>
    <pc:chgData name="Mikami, Maho" userId="50612f1b-df2d-47bb-8fdd-7ddedc83fc7e" providerId="ADAL" clId="{5CBE12F2-F3C8-4DCE-AD77-5EBD7EED8DBF}"/>
    <pc:docChg chg="undo redo custSel addSld delSld modSld sldOrd delMainMaster modMainMaster modSection replTag">
      <pc:chgData name="Mikami, Maho" userId="50612f1b-df2d-47bb-8fdd-7ddedc83fc7e" providerId="ADAL" clId="{5CBE12F2-F3C8-4DCE-AD77-5EBD7EED8DBF}" dt="2024-03-24T08:51:04.713" v="6786" actId="1076"/>
      <pc:docMkLst>
        <pc:docMk/>
      </pc:docMkLst>
      <pc:sldChg chg="addSp modSp">
        <pc:chgData name="Mikami, Maho" userId="50612f1b-df2d-47bb-8fdd-7ddedc83fc7e" providerId="ADAL" clId="{5CBE12F2-F3C8-4DCE-AD77-5EBD7EED8DBF}" dt="2024-03-24T07:16:36.348" v="5819"/>
        <pc:sldMkLst>
          <pc:docMk/>
          <pc:sldMk cId="962168066" sldId="2146847508"/>
        </pc:sldMkLst>
        <pc:spChg chg="add mod">
          <ac:chgData name="Mikami, Maho" userId="50612f1b-df2d-47bb-8fdd-7ddedc83fc7e" providerId="ADAL" clId="{5CBE12F2-F3C8-4DCE-AD77-5EBD7EED8DBF}" dt="2024-03-24T07:16:36.348" v="5819"/>
          <ac:spMkLst>
            <pc:docMk/>
            <pc:sldMk cId="962168066" sldId="2146847508"/>
            <ac:spMk id="4" creationId="{CDCA7478-E07E-D28E-684F-6F629A3C36B3}"/>
          </ac:spMkLst>
        </pc:spChg>
      </pc:sldChg>
      <pc:sldChg chg="addSp delSp modSp mod">
        <pc:chgData name="Mikami, Maho" userId="50612f1b-df2d-47bb-8fdd-7ddedc83fc7e" providerId="ADAL" clId="{5CBE12F2-F3C8-4DCE-AD77-5EBD7EED8DBF}" dt="2024-03-24T07:18:28.859" v="5989"/>
        <pc:sldMkLst>
          <pc:docMk/>
          <pc:sldMk cId="429254024" sldId="2146847554"/>
        </pc:sldMkLst>
        <pc:spChg chg="add del mod">
          <ac:chgData name="Mikami, Maho" userId="50612f1b-df2d-47bb-8fdd-7ddedc83fc7e" providerId="ADAL" clId="{5CBE12F2-F3C8-4DCE-AD77-5EBD7EED8DBF}" dt="2024-03-24T06:34:27.214" v="4690" actId="478"/>
          <ac:spMkLst>
            <pc:docMk/>
            <pc:sldMk cId="429254024" sldId="2146847554"/>
            <ac:spMk id="2" creationId="{6E9B2F69-8E24-7E7E-864A-F20B59DDE6FE}"/>
          </ac:spMkLst>
        </pc:spChg>
        <pc:spChg chg="mod">
          <ac:chgData name="Mikami, Maho" userId="50612f1b-df2d-47bb-8fdd-7ddedc83fc7e" providerId="ADAL" clId="{5CBE12F2-F3C8-4DCE-AD77-5EBD7EED8DBF}" dt="2024-03-24T04:55:08.527" v="2692" actId="948"/>
          <ac:spMkLst>
            <pc:docMk/>
            <pc:sldMk cId="429254024" sldId="2146847554"/>
            <ac:spMk id="4" creationId="{AD8944B4-3C5B-C988-2185-AC2F7BEC7369}"/>
          </ac:spMkLst>
        </pc:spChg>
        <pc:spChg chg="add mod">
          <ac:chgData name="Mikami, Maho" userId="50612f1b-df2d-47bb-8fdd-7ddedc83fc7e" providerId="ADAL" clId="{5CBE12F2-F3C8-4DCE-AD77-5EBD7EED8DBF}" dt="2024-03-24T07:18:28.859" v="5989"/>
          <ac:spMkLst>
            <pc:docMk/>
            <pc:sldMk cId="429254024" sldId="2146847554"/>
            <ac:spMk id="5" creationId="{33640ECB-99BC-B6A2-32B1-F6E97D8A143F}"/>
          </ac:spMkLst>
        </pc:spChg>
        <pc:spChg chg="mod">
          <ac:chgData name="Mikami, Maho" userId="50612f1b-df2d-47bb-8fdd-7ddedc83fc7e" providerId="ADAL" clId="{5CBE12F2-F3C8-4DCE-AD77-5EBD7EED8DBF}" dt="2024-03-24T04:01:02.203" v="1640" actId="14100"/>
          <ac:spMkLst>
            <pc:docMk/>
            <pc:sldMk cId="429254024" sldId="2146847554"/>
            <ac:spMk id="11" creationId="{CAF0B5B8-43B9-8E20-6FDF-E99F9F5989DB}"/>
          </ac:spMkLst>
        </pc:spChg>
        <pc:graphicFrameChg chg="mod">
          <ac:chgData name="Mikami, Maho" userId="50612f1b-df2d-47bb-8fdd-7ddedc83fc7e" providerId="ADAL" clId="{5CBE12F2-F3C8-4DCE-AD77-5EBD7EED8DBF}" dt="2024-03-24T04:55:08.543" v="2696"/>
          <ac:graphicFrameMkLst>
            <pc:docMk/>
            <pc:sldMk cId="429254024" sldId="2146847554"/>
            <ac:graphicFrameMk id="7" creationId="{DAEF77AD-2CE0-DFBE-F3EE-27BF4407FF6A}"/>
          </ac:graphicFrameMkLst>
        </pc:graphicFrameChg>
      </pc:sldChg>
      <pc:sldChg chg="delSp modSp mod">
        <pc:chgData name="Mikami, Maho" userId="50612f1b-df2d-47bb-8fdd-7ddedc83fc7e" providerId="ADAL" clId="{5CBE12F2-F3C8-4DCE-AD77-5EBD7EED8DBF}" dt="2024-03-24T06:32:14.503" v="4522" actId="478"/>
        <pc:sldMkLst>
          <pc:docMk/>
          <pc:sldMk cId="2559321920" sldId="2146847560"/>
        </pc:sldMkLst>
        <pc:spChg chg="del mod">
          <ac:chgData name="Mikami, Maho" userId="50612f1b-df2d-47bb-8fdd-7ddedc83fc7e" providerId="ADAL" clId="{5CBE12F2-F3C8-4DCE-AD77-5EBD7EED8DBF}" dt="2024-03-24T06:32:14.503" v="4522" actId="478"/>
          <ac:spMkLst>
            <pc:docMk/>
            <pc:sldMk cId="2559321920" sldId="2146847560"/>
            <ac:spMk id="2" creationId="{F6F33E3D-87C7-489C-D50F-B378A6B34C12}"/>
          </ac:spMkLst>
        </pc:spChg>
        <pc:spChg chg="mod">
          <ac:chgData name="Mikami, Maho" userId="50612f1b-df2d-47bb-8fdd-7ddedc83fc7e" providerId="ADAL" clId="{5CBE12F2-F3C8-4DCE-AD77-5EBD7EED8DBF}" dt="2024-03-24T04:14:14.155" v="2129" actId="1076"/>
          <ac:spMkLst>
            <pc:docMk/>
            <pc:sldMk cId="2559321920" sldId="2146847560"/>
            <ac:spMk id="7" creationId="{F9ADCEC0-9C74-0C0E-8BCB-03B64B0E9536}"/>
          </ac:spMkLst>
        </pc:spChg>
        <pc:graphicFrameChg chg="modGraphic">
          <ac:chgData name="Mikami, Maho" userId="50612f1b-df2d-47bb-8fdd-7ddedc83fc7e" providerId="ADAL" clId="{5CBE12F2-F3C8-4DCE-AD77-5EBD7EED8DBF}" dt="2024-03-24T04:14:33.939" v="2215" actId="20577"/>
          <ac:graphicFrameMkLst>
            <pc:docMk/>
            <pc:sldMk cId="2559321920" sldId="2146847560"/>
            <ac:graphicFrameMk id="36" creationId="{E529E9C8-5A13-F9F0-E3E5-0E9625F59602}"/>
          </ac:graphicFrameMkLst>
        </pc:graphicFrameChg>
      </pc:sldChg>
      <pc:sldChg chg="addSp modSp mod">
        <pc:chgData name="Mikami, Maho" userId="50612f1b-df2d-47bb-8fdd-7ddedc83fc7e" providerId="ADAL" clId="{5CBE12F2-F3C8-4DCE-AD77-5EBD7EED8DBF}" dt="2024-03-24T07:16:52.264" v="5832" actId="20577"/>
        <pc:sldMkLst>
          <pc:docMk/>
          <pc:sldMk cId="2088699351" sldId="2146847588"/>
        </pc:sldMkLst>
        <pc:spChg chg="add mod">
          <ac:chgData name="Mikami, Maho" userId="50612f1b-df2d-47bb-8fdd-7ddedc83fc7e" providerId="ADAL" clId="{5CBE12F2-F3C8-4DCE-AD77-5EBD7EED8DBF}" dt="2024-03-24T07:16:33.917" v="5817"/>
          <ac:spMkLst>
            <pc:docMk/>
            <pc:sldMk cId="2088699351" sldId="2146847588"/>
            <ac:spMk id="3" creationId="{FCB0A08B-3E83-6BF6-E78C-760014064E9C}"/>
          </ac:spMkLst>
        </pc:spChg>
        <pc:spChg chg="mod">
          <ac:chgData name="Mikami, Maho" userId="50612f1b-df2d-47bb-8fdd-7ddedc83fc7e" providerId="ADAL" clId="{5CBE12F2-F3C8-4DCE-AD77-5EBD7EED8DBF}" dt="2024-03-24T07:16:52.264" v="5832" actId="20577"/>
          <ac:spMkLst>
            <pc:docMk/>
            <pc:sldMk cId="2088699351" sldId="2146847588"/>
            <ac:spMk id="7" creationId="{F0D8E545-A466-48F4-9272-B878EF0DC16B}"/>
          </ac:spMkLst>
        </pc:spChg>
      </pc:sldChg>
      <pc:sldChg chg="addSp modSp">
        <pc:chgData name="Mikami, Maho" userId="50612f1b-df2d-47bb-8fdd-7ddedc83fc7e" providerId="ADAL" clId="{5CBE12F2-F3C8-4DCE-AD77-5EBD7EED8DBF}" dt="2024-03-24T07:31:08.471" v="6710"/>
        <pc:sldMkLst>
          <pc:docMk/>
          <pc:sldMk cId="693426858" sldId="2146847590"/>
        </pc:sldMkLst>
        <pc:spChg chg="add mod">
          <ac:chgData name="Mikami, Maho" userId="50612f1b-df2d-47bb-8fdd-7ddedc83fc7e" providerId="ADAL" clId="{5CBE12F2-F3C8-4DCE-AD77-5EBD7EED8DBF}" dt="2024-03-24T07:31:08.471" v="6710"/>
          <ac:spMkLst>
            <pc:docMk/>
            <pc:sldMk cId="693426858" sldId="2146847590"/>
            <ac:spMk id="3" creationId="{29432406-B63C-626C-40D4-F7E4352D40E9}"/>
          </ac:spMkLst>
        </pc:spChg>
      </pc:sldChg>
      <pc:sldChg chg="addSp delSp modSp del mod">
        <pc:chgData name="Mikami, Maho" userId="50612f1b-df2d-47bb-8fdd-7ddedc83fc7e" providerId="ADAL" clId="{5CBE12F2-F3C8-4DCE-AD77-5EBD7EED8DBF}" dt="2024-03-24T04:54:33.927" v="2648" actId="47"/>
        <pc:sldMkLst>
          <pc:docMk/>
          <pc:sldMk cId="2766274149" sldId="2146847591"/>
        </pc:sldMkLst>
        <pc:spChg chg="del">
          <ac:chgData name="Mikami, Maho" userId="50612f1b-df2d-47bb-8fdd-7ddedc83fc7e" providerId="ADAL" clId="{5CBE12F2-F3C8-4DCE-AD77-5EBD7EED8DBF}" dt="2024-03-24T03:59:58.889" v="1451" actId="478"/>
          <ac:spMkLst>
            <pc:docMk/>
            <pc:sldMk cId="2766274149" sldId="2146847591"/>
            <ac:spMk id="3" creationId="{CC34A2F9-677E-A2BD-1DE8-CCC28E4A8300}"/>
          </ac:spMkLst>
        </pc:spChg>
        <pc:spChg chg="del">
          <ac:chgData name="Mikami, Maho" userId="50612f1b-df2d-47bb-8fdd-7ddedc83fc7e" providerId="ADAL" clId="{5CBE12F2-F3C8-4DCE-AD77-5EBD7EED8DBF}" dt="2024-03-24T04:00:33.913" v="1566" actId="478"/>
          <ac:spMkLst>
            <pc:docMk/>
            <pc:sldMk cId="2766274149" sldId="2146847591"/>
            <ac:spMk id="4" creationId="{9007537D-F927-3642-51DE-8BEF07CF47FF}"/>
          </ac:spMkLst>
        </pc:spChg>
        <pc:spChg chg="mod">
          <ac:chgData name="Mikami, Maho" userId="50612f1b-df2d-47bb-8fdd-7ddedc83fc7e" providerId="ADAL" clId="{5CBE12F2-F3C8-4DCE-AD77-5EBD7EED8DBF}" dt="2024-03-24T04:00:32.411" v="1565" actId="20577"/>
          <ac:spMkLst>
            <pc:docMk/>
            <pc:sldMk cId="2766274149" sldId="2146847591"/>
            <ac:spMk id="7" creationId="{F0D8E545-A466-48F4-9272-B878EF0DC16B}"/>
          </ac:spMkLst>
        </pc:spChg>
        <pc:spChg chg="add mod">
          <ac:chgData name="Mikami, Maho" userId="50612f1b-df2d-47bb-8fdd-7ddedc83fc7e" providerId="ADAL" clId="{5CBE12F2-F3C8-4DCE-AD77-5EBD7EED8DBF}" dt="2024-03-24T03:59:58.056" v="1450" actId="14100"/>
          <ac:spMkLst>
            <pc:docMk/>
            <pc:sldMk cId="2766274149" sldId="2146847591"/>
            <ac:spMk id="8" creationId="{3A78F6AD-C84E-589A-B0BE-8C5F0F7C0A1F}"/>
          </ac:spMkLst>
        </pc:spChg>
        <pc:spChg chg="mod">
          <ac:chgData name="Mikami, Maho" userId="50612f1b-df2d-47bb-8fdd-7ddedc83fc7e" providerId="ADAL" clId="{5CBE12F2-F3C8-4DCE-AD77-5EBD7EED8DBF}" dt="2024-03-24T04:54:04.395" v="2633" actId="948"/>
          <ac:spMkLst>
            <pc:docMk/>
            <pc:sldMk cId="2766274149" sldId="2146847591"/>
            <ac:spMk id="9" creationId="{D22A0A06-D5A8-4A1A-B66F-2A8EDBD644F1}"/>
          </ac:spMkLst>
        </pc:spChg>
        <pc:graphicFrameChg chg="mod">
          <ac:chgData name="Mikami, Maho" userId="50612f1b-df2d-47bb-8fdd-7ddedc83fc7e" providerId="ADAL" clId="{5CBE12F2-F3C8-4DCE-AD77-5EBD7EED8DBF}" dt="2024-03-24T04:54:04.408" v="2637"/>
          <ac:graphicFrameMkLst>
            <pc:docMk/>
            <pc:sldMk cId="2766274149" sldId="2146847591"/>
            <ac:graphicFrameMk id="5" creationId="{E78F9D36-5310-41D4-8608-5BFFDB0F22CA}"/>
          </ac:graphicFrameMkLst>
        </pc:graphicFrameChg>
      </pc:sldChg>
      <pc:sldChg chg="addSp modSp">
        <pc:chgData name="Mikami, Maho" userId="50612f1b-df2d-47bb-8fdd-7ddedc83fc7e" providerId="ADAL" clId="{5CBE12F2-F3C8-4DCE-AD77-5EBD7EED8DBF}" dt="2024-03-24T07:31:07.489" v="6709"/>
        <pc:sldMkLst>
          <pc:docMk/>
          <pc:sldMk cId="2962430587" sldId="2146847592"/>
        </pc:sldMkLst>
        <pc:spChg chg="add mod">
          <ac:chgData name="Mikami, Maho" userId="50612f1b-df2d-47bb-8fdd-7ddedc83fc7e" providerId="ADAL" clId="{5CBE12F2-F3C8-4DCE-AD77-5EBD7EED8DBF}" dt="2024-03-24T07:31:07.489" v="6709"/>
          <ac:spMkLst>
            <pc:docMk/>
            <pc:sldMk cId="2962430587" sldId="2146847592"/>
            <ac:spMk id="2" creationId="{227BDBB1-56EF-BF0F-9805-A7EB7327F4BB}"/>
          </ac:spMkLst>
        </pc:spChg>
      </pc:sldChg>
      <pc:sldChg chg="addSp delSp modSp mod">
        <pc:chgData name="Mikami, Maho" userId="50612f1b-df2d-47bb-8fdd-7ddedc83fc7e" providerId="ADAL" clId="{5CBE12F2-F3C8-4DCE-AD77-5EBD7EED8DBF}" dt="2024-03-24T07:31:22.856" v="6747" actId="1035"/>
        <pc:sldMkLst>
          <pc:docMk/>
          <pc:sldMk cId="1846119523" sldId="2146847593"/>
        </pc:sldMkLst>
        <pc:spChg chg="add mod">
          <ac:chgData name="Mikami, Maho" userId="50612f1b-df2d-47bb-8fdd-7ddedc83fc7e" providerId="ADAL" clId="{5CBE12F2-F3C8-4DCE-AD77-5EBD7EED8DBF}" dt="2024-03-24T07:31:22.856" v="6747" actId="1035"/>
          <ac:spMkLst>
            <pc:docMk/>
            <pc:sldMk cId="1846119523" sldId="2146847593"/>
            <ac:spMk id="3" creationId="{976091B4-FA28-46C8-7E75-625FA9A62742}"/>
          </ac:spMkLst>
        </pc:spChg>
        <pc:spChg chg="add del mod">
          <ac:chgData name="Mikami, Maho" userId="50612f1b-df2d-47bb-8fdd-7ddedc83fc7e" providerId="ADAL" clId="{5CBE12F2-F3C8-4DCE-AD77-5EBD7EED8DBF}" dt="2024-03-24T07:31:19.668" v="6736" actId="478"/>
          <ac:spMkLst>
            <pc:docMk/>
            <pc:sldMk cId="1846119523" sldId="2146847593"/>
            <ac:spMk id="4" creationId="{60894899-98CB-6848-EBE7-B2A3AF96CD8D}"/>
          </ac:spMkLst>
        </pc:spChg>
        <pc:spChg chg="add mod">
          <ac:chgData name="Mikami, Maho" userId="50612f1b-df2d-47bb-8fdd-7ddedc83fc7e" providerId="ADAL" clId="{5CBE12F2-F3C8-4DCE-AD77-5EBD7EED8DBF}" dt="2024-03-24T07:31:18.317" v="6735"/>
          <ac:spMkLst>
            <pc:docMk/>
            <pc:sldMk cId="1846119523" sldId="2146847593"/>
            <ac:spMk id="8" creationId="{4319BB28-721C-72BB-4118-53071F2BE92E}"/>
          </ac:spMkLst>
        </pc:spChg>
        <pc:spChg chg="mod">
          <ac:chgData name="Mikami, Maho" userId="50612f1b-df2d-47bb-8fdd-7ddedc83fc7e" providerId="ADAL" clId="{5CBE12F2-F3C8-4DCE-AD77-5EBD7EED8DBF}" dt="2024-03-24T05:00:53.332" v="2962" actId="948"/>
          <ac:spMkLst>
            <pc:docMk/>
            <pc:sldMk cId="1846119523" sldId="2146847593"/>
            <ac:spMk id="9" creationId="{D22A0A06-D5A8-4A1A-B66F-2A8EDBD644F1}"/>
          </ac:spMkLst>
        </pc:spChg>
        <pc:graphicFrameChg chg="mod">
          <ac:chgData name="Mikami, Maho" userId="50612f1b-df2d-47bb-8fdd-7ddedc83fc7e" providerId="ADAL" clId="{5CBE12F2-F3C8-4DCE-AD77-5EBD7EED8DBF}" dt="2024-03-24T05:00:53.341" v="2966"/>
          <ac:graphicFrameMkLst>
            <pc:docMk/>
            <pc:sldMk cId="1846119523" sldId="2146847593"/>
            <ac:graphicFrameMk id="5" creationId="{E78F9D36-5310-41D4-8608-5BFFDB0F22CA}"/>
          </ac:graphicFrameMkLst>
        </pc:graphicFrameChg>
      </pc:sldChg>
      <pc:sldChg chg="addSp modSp mod">
        <pc:chgData name="Mikami, Maho" userId="50612f1b-df2d-47bb-8fdd-7ddedc83fc7e" providerId="ADAL" clId="{5CBE12F2-F3C8-4DCE-AD77-5EBD7EED8DBF}" dt="2024-03-24T07:16:32.988" v="5816" actId="1035"/>
        <pc:sldMkLst>
          <pc:docMk/>
          <pc:sldMk cId="242853946" sldId="2146847595"/>
        </pc:sldMkLst>
        <pc:spChg chg="add mod">
          <ac:chgData name="Mikami, Maho" userId="50612f1b-df2d-47bb-8fdd-7ddedc83fc7e" providerId="ADAL" clId="{5CBE12F2-F3C8-4DCE-AD77-5EBD7EED8DBF}" dt="2024-03-24T07:16:32.988" v="5816" actId="1035"/>
          <ac:spMkLst>
            <pc:docMk/>
            <pc:sldMk cId="242853946" sldId="2146847595"/>
            <ac:spMk id="3" creationId="{DC29AFE4-0DC6-7638-D99D-C0B91FD8CB54}"/>
          </ac:spMkLst>
        </pc:spChg>
        <pc:spChg chg="mod">
          <ac:chgData name="Mikami, Maho" userId="50612f1b-df2d-47bb-8fdd-7ddedc83fc7e" providerId="ADAL" clId="{5CBE12F2-F3C8-4DCE-AD77-5EBD7EED8DBF}" dt="2024-03-24T07:16:01.882" v="5755" actId="20577"/>
          <ac:spMkLst>
            <pc:docMk/>
            <pc:sldMk cId="242853946" sldId="2146847595"/>
            <ac:spMk id="7" creationId="{F0D8E545-A466-48F4-9272-B878EF0DC16B}"/>
          </ac:spMkLst>
        </pc:spChg>
      </pc:sldChg>
      <pc:sldChg chg="addSp delSp modSp mod">
        <pc:chgData name="Mikami, Maho" userId="50612f1b-df2d-47bb-8fdd-7ddedc83fc7e" providerId="ADAL" clId="{5CBE12F2-F3C8-4DCE-AD77-5EBD7EED8DBF}" dt="2024-03-24T07:29:05.080" v="6685" actId="20577"/>
        <pc:sldMkLst>
          <pc:docMk/>
          <pc:sldMk cId="454459423" sldId="2146847596"/>
        </pc:sldMkLst>
        <pc:spChg chg="del mod">
          <ac:chgData name="Mikami, Maho" userId="50612f1b-df2d-47bb-8fdd-7ddedc83fc7e" providerId="ADAL" clId="{5CBE12F2-F3C8-4DCE-AD77-5EBD7EED8DBF}" dt="2024-03-24T03:59:33.464" v="1411" actId="478"/>
          <ac:spMkLst>
            <pc:docMk/>
            <pc:sldMk cId="454459423" sldId="2146847596"/>
            <ac:spMk id="3" creationId="{1718E0E3-0ED7-F510-E4B5-0069CBC2DB9C}"/>
          </ac:spMkLst>
        </pc:spChg>
        <pc:spChg chg="add mod">
          <ac:chgData name="Mikami, Maho" userId="50612f1b-df2d-47bb-8fdd-7ddedc83fc7e" providerId="ADAL" clId="{5CBE12F2-F3C8-4DCE-AD77-5EBD7EED8DBF}" dt="2024-03-24T04:00:04.683" v="1457" actId="20577"/>
          <ac:spMkLst>
            <pc:docMk/>
            <pc:sldMk cId="454459423" sldId="2146847596"/>
            <ac:spMk id="6" creationId="{50368184-B4F4-B277-1E1A-555859740399}"/>
          </ac:spMkLst>
        </pc:spChg>
        <pc:spChg chg="mod">
          <ac:chgData name="Mikami, Maho" userId="50612f1b-df2d-47bb-8fdd-7ddedc83fc7e" providerId="ADAL" clId="{5CBE12F2-F3C8-4DCE-AD77-5EBD7EED8DBF}" dt="2024-03-24T07:29:05.080" v="6685" actId="20577"/>
          <ac:spMkLst>
            <pc:docMk/>
            <pc:sldMk cId="454459423" sldId="2146847596"/>
            <ac:spMk id="7" creationId="{F0D8E545-A466-48F4-9272-B878EF0DC16B}"/>
          </ac:spMkLst>
        </pc:spChg>
      </pc:sldChg>
      <pc:sldChg chg="addSp modSp">
        <pc:chgData name="Mikami, Maho" userId="50612f1b-df2d-47bb-8fdd-7ddedc83fc7e" providerId="ADAL" clId="{5CBE12F2-F3C8-4DCE-AD77-5EBD7EED8DBF}" dt="2024-03-24T07:31:34.120" v="6781"/>
        <pc:sldMkLst>
          <pc:docMk/>
          <pc:sldMk cId="4083648982" sldId="2146847600"/>
        </pc:sldMkLst>
        <pc:spChg chg="add mod">
          <ac:chgData name="Mikami, Maho" userId="50612f1b-df2d-47bb-8fdd-7ddedc83fc7e" providerId="ADAL" clId="{5CBE12F2-F3C8-4DCE-AD77-5EBD7EED8DBF}" dt="2024-03-24T07:31:34.120" v="6781"/>
          <ac:spMkLst>
            <pc:docMk/>
            <pc:sldMk cId="4083648982" sldId="2146847600"/>
            <ac:spMk id="3" creationId="{6C646BEF-10F3-A4D9-626D-E5FB229D1C47}"/>
          </ac:spMkLst>
        </pc:spChg>
      </pc:sldChg>
      <pc:sldChg chg="addSp modSp">
        <pc:chgData name="Mikami, Maho" userId="50612f1b-df2d-47bb-8fdd-7ddedc83fc7e" providerId="ADAL" clId="{5CBE12F2-F3C8-4DCE-AD77-5EBD7EED8DBF}" dt="2024-03-24T07:16:34.723" v="5818"/>
        <pc:sldMkLst>
          <pc:docMk/>
          <pc:sldMk cId="2769435336" sldId="2146847601"/>
        </pc:sldMkLst>
        <pc:spChg chg="add mod">
          <ac:chgData name="Mikami, Maho" userId="50612f1b-df2d-47bb-8fdd-7ddedc83fc7e" providerId="ADAL" clId="{5CBE12F2-F3C8-4DCE-AD77-5EBD7EED8DBF}" dt="2024-03-24T07:16:34.723" v="5818"/>
          <ac:spMkLst>
            <pc:docMk/>
            <pc:sldMk cId="2769435336" sldId="2146847601"/>
            <ac:spMk id="2" creationId="{0C496FAA-B54B-6E9E-273F-740E8B0A733A}"/>
          </ac:spMkLst>
        </pc:spChg>
      </pc:sldChg>
      <pc:sldChg chg="modSp mod">
        <pc:chgData name="Mikami, Maho" userId="50612f1b-df2d-47bb-8fdd-7ddedc83fc7e" providerId="ADAL" clId="{5CBE12F2-F3C8-4DCE-AD77-5EBD7EED8DBF}" dt="2024-03-24T07:12:59.602" v="5484" actId="20577"/>
        <pc:sldMkLst>
          <pc:docMk/>
          <pc:sldMk cId="866626810" sldId="2146847605"/>
        </pc:sldMkLst>
        <pc:spChg chg="mod">
          <ac:chgData name="Mikami, Maho" userId="50612f1b-df2d-47bb-8fdd-7ddedc83fc7e" providerId="ADAL" clId="{5CBE12F2-F3C8-4DCE-AD77-5EBD7EED8DBF}" dt="2024-03-24T07:12:59.602" v="5484" actId="20577"/>
          <ac:spMkLst>
            <pc:docMk/>
            <pc:sldMk cId="866626810" sldId="2146847605"/>
            <ac:spMk id="8" creationId="{46402638-2B83-461D-A5AF-34487FA532E1}"/>
          </ac:spMkLst>
        </pc:spChg>
      </pc:sldChg>
      <pc:sldChg chg="modSp mod">
        <pc:chgData name="Mikami, Maho" userId="50612f1b-df2d-47bb-8fdd-7ddedc83fc7e" providerId="ADAL" clId="{5CBE12F2-F3C8-4DCE-AD77-5EBD7EED8DBF}" dt="2024-03-24T08:51:04.713" v="6786" actId="1076"/>
        <pc:sldMkLst>
          <pc:docMk/>
          <pc:sldMk cId="2389438647" sldId="2146847607"/>
        </pc:sldMkLst>
        <pc:spChg chg="mod">
          <ac:chgData name="Mikami, Maho" userId="50612f1b-df2d-47bb-8fdd-7ddedc83fc7e" providerId="ADAL" clId="{5CBE12F2-F3C8-4DCE-AD77-5EBD7EED8DBF}" dt="2024-03-24T08:51:04.713" v="6786" actId="1076"/>
          <ac:spMkLst>
            <pc:docMk/>
            <pc:sldMk cId="2389438647" sldId="2146847607"/>
            <ac:spMk id="3" creationId="{333095D3-2FAA-937D-3231-027C38419672}"/>
          </ac:spMkLst>
        </pc:spChg>
        <pc:graphicFrameChg chg="mod">
          <ac:chgData name="Mikami, Maho" userId="50612f1b-df2d-47bb-8fdd-7ddedc83fc7e" providerId="ADAL" clId="{5CBE12F2-F3C8-4DCE-AD77-5EBD7EED8DBF}" dt="2024-03-24T08:51:02.011" v="6785"/>
          <ac:graphicFrameMkLst>
            <pc:docMk/>
            <pc:sldMk cId="2389438647" sldId="2146847607"/>
            <ac:graphicFrameMk id="6" creationId="{B55303B4-CE87-4811-3F7F-A140D7D12FA2}"/>
          </ac:graphicFrameMkLst>
        </pc:graphicFrameChg>
      </pc:sldChg>
      <pc:sldChg chg="modSp mod">
        <pc:chgData name="Mikami, Maho" userId="50612f1b-df2d-47bb-8fdd-7ddedc83fc7e" providerId="ADAL" clId="{5CBE12F2-F3C8-4DCE-AD77-5EBD7EED8DBF}" dt="2024-03-24T07:11:10.072" v="5291" actId="20577"/>
        <pc:sldMkLst>
          <pc:docMk/>
          <pc:sldMk cId="2073688605" sldId="2146847608"/>
        </pc:sldMkLst>
        <pc:spChg chg="mod">
          <ac:chgData name="Mikami, Maho" userId="50612f1b-df2d-47bb-8fdd-7ddedc83fc7e" providerId="ADAL" clId="{5CBE12F2-F3C8-4DCE-AD77-5EBD7EED8DBF}" dt="2024-03-24T07:11:10.072" v="5291" actId="20577"/>
          <ac:spMkLst>
            <pc:docMk/>
            <pc:sldMk cId="2073688605" sldId="2146847608"/>
            <ac:spMk id="8" creationId="{46402638-2B83-461D-A5AF-34487FA532E1}"/>
          </ac:spMkLst>
        </pc:spChg>
        <pc:graphicFrameChg chg="modGraphic">
          <ac:chgData name="Mikami, Maho" userId="50612f1b-df2d-47bb-8fdd-7ddedc83fc7e" providerId="ADAL" clId="{5CBE12F2-F3C8-4DCE-AD77-5EBD7EED8DBF}" dt="2024-03-24T07:11:04.147" v="5285" actId="20577"/>
          <ac:graphicFrameMkLst>
            <pc:docMk/>
            <pc:sldMk cId="2073688605" sldId="2146847608"/>
            <ac:graphicFrameMk id="6" creationId="{C4701216-4BC2-4B2E-023B-F5FE85ABF65D}"/>
          </ac:graphicFrameMkLst>
        </pc:graphicFrameChg>
      </pc:sldChg>
      <pc:sldChg chg="addSp delSp modSp mod">
        <pc:chgData name="Mikami, Maho" userId="50612f1b-df2d-47bb-8fdd-7ddedc83fc7e" providerId="ADAL" clId="{5CBE12F2-F3C8-4DCE-AD77-5EBD7EED8DBF}" dt="2024-03-24T06:32:48.247" v="4556" actId="20577"/>
        <pc:sldMkLst>
          <pc:docMk/>
          <pc:sldMk cId="1799110117" sldId="2146847611"/>
        </pc:sldMkLst>
        <pc:spChg chg="add mod">
          <ac:chgData name="Mikami, Maho" userId="50612f1b-df2d-47bb-8fdd-7ddedc83fc7e" providerId="ADAL" clId="{5CBE12F2-F3C8-4DCE-AD77-5EBD7EED8DBF}" dt="2024-03-24T06:32:48.247" v="4556" actId="20577"/>
          <ac:spMkLst>
            <pc:docMk/>
            <pc:sldMk cId="1799110117" sldId="2146847611"/>
            <ac:spMk id="2" creationId="{B1E0DC43-489A-9BAE-613D-4DFE49F2E898}"/>
          </ac:spMkLst>
        </pc:spChg>
        <pc:spChg chg="del">
          <ac:chgData name="Mikami, Maho" userId="50612f1b-df2d-47bb-8fdd-7ddedc83fc7e" providerId="ADAL" clId="{5CBE12F2-F3C8-4DCE-AD77-5EBD7EED8DBF}" dt="2024-03-24T06:32:35.737" v="4524" actId="478"/>
          <ac:spMkLst>
            <pc:docMk/>
            <pc:sldMk cId="1799110117" sldId="2146847611"/>
            <ac:spMk id="23" creationId="{6050CA95-AF10-9564-18F8-69DF29CF5366}"/>
          </ac:spMkLst>
        </pc:spChg>
      </pc:sldChg>
      <pc:sldChg chg="del">
        <pc:chgData name="Mikami, Maho" userId="50612f1b-df2d-47bb-8fdd-7ddedc83fc7e" providerId="ADAL" clId="{5CBE12F2-F3C8-4DCE-AD77-5EBD7EED8DBF}" dt="2024-03-24T06:32:56.913" v="4557" actId="47"/>
        <pc:sldMkLst>
          <pc:docMk/>
          <pc:sldMk cId="1401715061" sldId="2146847621"/>
        </pc:sldMkLst>
      </pc:sldChg>
      <pc:sldChg chg="del">
        <pc:chgData name="Mikami, Maho" userId="50612f1b-df2d-47bb-8fdd-7ddedc83fc7e" providerId="ADAL" clId="{5CBE12F2-F3C8-4DCE-AD77-5EBD7EED8DBF}" dt="2024-03-24T06:27:33.776" v="4278" actId="47"/>
        <pc:sldMkLst>
          <pc:docMk/>
          <pc:sldMk cId="2391146792" sldId="2146847622"/>
        </pc:sldMkLst>
      </pc:sldChg>
      <pc:sldChg chg="del">
        <pc:chgData name="Mikami, Maho" userId="50612f1b-df2d-47bb-8fdd-7ddedc83fc7e" providerId="ADAL" clId="{5CBE12F2-F3C8-4DCE-AD77-5EBD7EED8DBF}" dt="2024-03-24T06:27:34.839" v="4279" actId="47"/>
        <pc:sldMkLst>
          <pc:docMk/>
          <pc:sldMk cId="3393070087" sldId="2146847623"/>
        </pc:sldMkLst>
      </pc:sldChg>
      <pc:sldChg chg="del">
        <pc:chgData name="Mikami, Maho" userId="50612f1b-df2d-47bb-8fdd-7ddedc83fc7e" providerId="ADAL" clId="{5CBE12F2-F3C8-4DCE-AD77-5EBD7EED8DBF}" dt="2024-03-24T06:27:35.522" v="4280" actId="47"/>
        <pc:sldMkLst>
          <pc:docMk/>
          <pc:sldMk cId="2424482231" sldId="2146847624"/>
        </pc:sldMkLst>
      </pc:sldChg>
      <pc:sldChg chg="addSp delSp modSp mod">
        <pc:chgData name="Mikami, Maho" userId="50612f1b-df2d-47bb-8fdd-7ddedc83fc7e" providerId="ADAL" clId="{5CBE12F2-F3C8-4DCE-AD77-5EBD7EED8DBF}" dt="2024-03-24T06:28:59.854" v="4354" actId="1076"/>
        <pc:sldMkLst>
          <pc:docMk/>
          <pc:sldMk cId="445871252" sldId="2146847625"/>
        </pc:sldMkLst>
        <pc:spChg chg="mod ord">
          <ac:chgData name="Mikami, Maho" userId="50612f1b-df2d-47bb-8fdd-7ddedc83fc7e" providerId="ADAL" clId="{5CBE12F2-F3C8-4DCE-AD77-5EBD7EED8DBF}" dt="2024-03-24T06:28:26.114" v="4318"/>
          <ac:spMkLst>
            <pc:docMk/>
            <pc:sldMk cId="445871252" sldId="2146847625"/>
            <ac:spMk id="2" creationId="{189E31E1-7F0B-D301-8B6E-172CA8FEDEEB}"/>
          </ac:spMkLst>
        </pc:spChg>
        <pc:spChg chg="mod ord">
          <ac:chgData name="Mikami, Maho" userId="50612f1b-df2d-47bb-8fdd-7ddedc83fc7e" providerId="ADAL" clId="{5CBE12F2-F3C8-4DCE-AD77-5EBD7EED8DBF}" dt="2024-03-24T06:28:26.114" v="4316"/>
          <ac:spMkLst>
            <pc:docMk/>
            <pc:sldMk cId="445871252" sldId="2146847625"/>
            <ac:spMk id="3" creationId="{0E959234-D977-32D2-63DC-F4994725B46C}"/>
          </ac:spMkLst>
        </pc:spChg>
        <pc:spChg chg="del mod ord">
          <ac:chgData name="Mikami, Maho" userId="50612f1b-df2d-47bb-8fdd-7ddedc83fc7e" providerId="ADAL" clId="{5CBE12F2-F3C8-4DCE-AD77-5EBD7EED8DBF}" dt="2024-03-24T06:28:37.581" v="4352" actId="478"/>
          <ac:spMkLst>
            <pc:docMk/>
            <pc:sldMk cId="445871252" sldId="2146847625"/>
            <ac:spMk id="4" creationId="{AE506D56-80F0-47F2-0DE5-4219BE85B18E}"/>
          </ac:spMkLst>
        </pc:spChg>
        <pc:spChg chg="mod ord">
          <ac:chgData name="Mikami, Maho" userId="50612f1b-df2d-47bb-8fdd-7ddedc83fc7e" providerId="ADAL" clId="{5CBE12F2-F3C8-4DCE-AD77-5EBD7EED8DBF}" dt="2024-03-24T06:28:26.113" v="4314"/>
          <ac:spMkLst>
            <pc:docMk/>
            <pc:sldMk cId="445871252" sldId="2146847625"/>
            <ac:spMk id="5" creationId="{D2F0D70F-ABDE-11A7-3BA0-1CD22F0EFEFA}"/>
          </ac:spMkLst>
        </pc:spChg>
        <pc:spChg chg="mod ord">
          <ac:chgData name="Mikami, Maho" userId="50612f1b-df2d-47bb-8fdd-7ddedc83fc7e" providerId="ADAL" clId="{5CBE12F2-F3C8-4DCE-AD77-5EBD7EED8DBF}" dt="2024-03-24T06:28:59.854" v="4354" actId="1076"/>
          <ac:spMkLst>
            <pc:docMk/>
            <pc:sldMk cId="445871252" sldId="2146847625"/>
            <ac:spMk id="6" creationId="{D0B0D116-FBCC-4FD9-948F-36682F868471}"/>
          </ac:spMkLst>
        </pc:spChg>
        <pc:spChg chg="mod ord">
          <ac:chgData name="Mikami, Maho" userId="50612f1b-df2d-47bb-8fdd-7ddedc83fc7e" providerId="ADAL" clId="{5CBE12F2-F3C8-4DCE-AD77-5EBD7EED8DBF}" dt="2024-03-24T06:28:26.103" v="4312"/>
          <ac:spMkLst>
            <pc:docMk/>
            <pc:sldMk cId="445871252" sldId="2146847625"/>
            <ac:spMk id="7" creationId="{D4FC4FD3-B88C-2342-AFB3-E2DD74234D8C}"/>
          </ac:spMkLst>
        </pc:spChg>
        <pc:spChg chg="del">
          <ac:chgData name="Mikami, Maho" userId="50612f1b-df2d-47bb-8fdd-7ddedc83fc7e" providerId="ADAL" clId="{5CBE12F2-F3C8-4DCE-AD77-5EBD7EED8DBF}" dt="2024-03-24T04:15:07.977" v="2219" actId="478"/>
          <ac:spMkLst>
            <pc:docMk/>
            <pc:sldMk cId="445871252" sldId="2146847625"/>
            <ac:spMk id="9" creationId="{991227FB-4C9A-E248-14FF-66A1DF102BFA}"/>
          </ac:spMkLst>
        </pc:spChg>
        <pc:spChg chg="add mod ord">
          <ac:chgData name="Mikami, Maho" userId="50612f1b-df2d-47bb-8fdd-7ddedc83fc7e" providerId="ADAL" clId="{5CBE12F2-F3C8-4DCE-AD77-5EBD7EED8DBF}" dt="2024-03-24T06:28:26.114" v="4322"/>
          <ac:spMkLst>
            <pc:docMk/>
            <pc:sldMk cId="445871252" sldId="2146847625"/>
            <ac:spMk id="10" creationId="{467D94E1-23FE-DB46-1849-29D0232CCC6D}"/>
          </ac:spMkLst>
        </pc:spChg>
        <pc:spChg chg="mod">
          <ac:chgData name="Mikami, Maho" userId="50612f1b-df2d-47bb-8fdd-7ddedc83fc7e" providerId="ADAL" clId="{5CBE12F2-F3C8-4DCE-AD77-5EBD7EED8DBF}" dt="2024-03-24T06:28:03.283" v="4282"/>
          <ac:spMkLst>
            <pc:docMk/>
            <pc:sldMk cId="445871252" sldId="2146847625"/>
            <ac:spMk id="18" creationId="{A1F1EC8C-46AD-7E60-CAEB-DD4B85E78737}"/>
          </ac:spMkLst>
        </pc:spChg>
        <pc:spChg chg="del">
          <ac:chgData name="Mikami, Maho" userId="50612f1b-df2d-47bb-8fdd-7ddedc83fc7e" providerId="ADAL" clId="{5CBE12F2-F3C8-4DCE-AD77-5EBD7EED8DBF}" dt="2024-03-24T04:49:45.177" v="2319" actId="478"/>
          <ac:spMkLst>
            <pc:docMk/>
            <pc:sldMk cId="445871252" sldId="2146847625"/>
            <ac:spMk id="20" creationId="{28C4B472-5620-D8B5-9BB8-37F2AB078B72}"/>
          </ac:spMkLst>
        </pc:spChg>
        <pc:spChg chg="del">
          <ac:chgData name="Mikami, Maho" userId="50612f1b-df2d-47bb-8fdd-7ddedc83fc7e" providerId="ADAL" clId="{5CBE12F2-F3C8-4DCE-AD77-5EBD7EED8DBF}" dt="2024-03-24T04:49:47.056" v="2320" actId="478"/>
          <ac:spMkLst>
            <pc:docMk/>
            <pc:sldMk cId="445871252" sldId="2146847625"/>
            <ac:spMk id="21" creationId="{6D7D675F-7F51-8E45-F04B-F161E22F7711}"/>
          </ac:spMkLst>
        </pc:spChg>
        <pc:spChg chg="del mod">
          <ac:chgData name="Mikami, Maho" userId="50612f1b-df2d-47bb-8fdd-7ddedc83fc7e" providerId="ADAL" clId="{5CBE12F2-F3C8-4DCE-AD77-5EBD7EED8DBF}" dt="2024-03-24T04:49:43.640" v="2318" actId="478"/>
          <ac:spMkLst>
            <pc:docMk/>
            <pc:sldMk cId="445871252" sldId="2146847625"/>
            <ac:spMk id="22" creationId="{E337757D-F67A-FB2A-9C39-5898E2AA1A0B}"/>
          </ac:spMkLst>
        </pc:spChg>
        <pc:spChg chg="mod">
          <ac:chgData name="Mikami, Maho" userId="50612f1b-df2d-47bb-8fdd-7ddedc83fc7e" providerId="ADAL" clId="{5CBE12F2-F3C8-4DCE-AD77-5EBD7EED8DBF}" dt="2024-03-24T06:28:03.283" v="4282"/>
          <ac:spMkLst>
            <pc:docMk/>
            <pc:sldMk cId="445871252" sldId="2146847625"/>
            <ac:spMk id="23" creationId="{13EC37AA-3B81-79F6-B909-392BCB4E860E}"/>
          </ac:spMkLst>
        </pc:spChg>
        <pc:spChg chg="mod">
          <ac:chgData name="Mikami, Maho" userId="50612f1b-df2d-47bb-8fdd-7ddedc83fc7e" providerId="ADAL" clId="{5CBE12F2-F3C8-4DCE-AD77-5EBD7EED8DBF}" dt="2024-03-24T06:28:03.283" v="4282"/>
          <ac:spMkLst>
            <pc:docMk/>
            <pc:sldMk cId="445871252" sldId="2146847625"/>
            <ac:spMk id="24" creationId="{8F0E9C64-4915-74DB-9ACB-5704F55C26C5}"/>
          </ac:spMkLst>
        </pc:spChg>
        <pc:spChg chg="mod">
          <ac:chgData name="Mikami, Maho" userId="50612f1b-df2d-47bb-8fdd-7ddedc83fc7e" providerId="ADAL" clId="{5CBE12F2-F3C8-4DCE-AD77-5EBD7EED8DBF}" dt="2024-03-24T06:28:03.283" v="4282"/>
          <ac:spMkLst>
            <pc:docMk/>
            <pc:sldMk cId="445871252" sldId="2146847625"/>
            <ac:spMk id="25" creationId="{7195BFEF-379C-1D1B-2551-A6024DEBD6C9}"/>
          </ac:spMkLst>
        </pc:spChg>
        <pc:spChg chg="mod">
          <ac:chgData name="Mikami, Maho" userId="50612f1b-df2d-47bb-8fdd-7ddedc83fc7e" providerId="ADAL" clId="{5CBE12F2-F3C8-4DCE-AD77-5EBD7EED8DBF}" dt="2024-03-24T06:28:03.283" v="4282"/>
          <ac:spMkLst>
            <pc:docMk/>
            <pc:sldMk cId="445871252" sldId="2146847625"/>
            <ac:spMk id="26" creationId="{54640E93-294F-4333-14DC-D56247588F9D}"/>
          </ac:spMkLst>
        </pc:spChg>
        <pc:spChg chg="mod">
          <ac:chgData name="Mikami, Maho" userId="50612f1b-df2d-47bb-8fdd-7ddedc83fc7e" providerId="ADAL" clId="{5CBE12F2-F3C8-4DCE-AD77-5EBD7EED8DBF}" dt="2024-03-24T06:28:03.283" v="4282"/>
          <ac:spMkLst>
            <pc:docMk/>
            <pc:sldMk cId="445871252" sldId="2146847625"/>
            <ac:spMk id="27" creationId="{3F7C9BFB-D2AD-BD42-1EB5-5318D988DF8E}"/>
          </ac:spMkLst>
        </pc:spChg>
        <pc:spChg chg="mod">
          <ac:chgData name="Mikami, Maho" userId="50612f1b-df2d-47bb-8fdd-7ddedc83fc7e" providerId="ADAL" clId="{5CBE12F2-F3C8-4DCE-AD77-5EBD7EED8DBF}" dt="2024-03-24T06:28:03.283" v="4282"/>
          <ac:spMkLst>
            <pc:docMk/>
            <pc:sldMk cId="445871252" sldId="2146847625"/>
            <ac:spMk id="28" creationId="{FD063A9D-631F-226E-FC79-905B04AE3E8D}"/>
          </ac:spMkLst>
        </pc:spChg>
        <pc:spChg chg="mod">
          <ac:chgData name="Mikami, Maho" userId="50612f1b-df2d-47bb-8fdd-7ddedc83fc7e" providerId="ADAL" clId="{5CBE12F2-F3C8-4DCE-AD77-5EBD7EED8DBF}" dt="2024-03-24T06:28:03.283" v="4282"/>
          <ac:spMkLst>
            <pc:docMk/>
            <pc:sldMk cId="445871252" sldId="2146847625"/>
            <ac:spMk id="29" creationId="{B207F1A5-4EAB-4B47-18C8-7A902E3F4E98}"/>
          </ac:spMkLst>
        </pc:spChg>
        <pc:spChg chg="mod">
          <ac:chgData name="Mikami, Maho" userId="50612f1b-df2d-47bb-8fdd-7ddedc83fc7e" providerId="ADAL" clId="{5CBE12F2-F3C8-4DCE-AD77-5EBD7EED8DBF}" dt="2024-03-24T06:28:03.283" v="4282"/>
          <ac:spMkLst>
            <pc:docMk/>
            <pc:sldMk cId="445871252" sldId="2146847625"/>
            <ac:spMk id="30" creationId="{DC306800-510A-4300-67B7-706A084E8C1B}"/>
          </ac:spMkLst>
        </pc:spChg>
        <pc:spChg chg="mod">
          <ac:chgData name="Mikami, Maho" userId="50612f1b-df2d-47bb-8fdd-7ddedc83fc7e" providerId="ADAL" clId="{5CBE12F2-F3C8-4DCE-AD77-5EBD7EED8DBF}" dt="2024-03-24T06:28:03.283" v="4282"/>
          <ac:spMkLst>
            <pc:docMk/>
            <pc:sldMk cId="445871252" sldId="2146847625"/>
            <ac:spMk id="33" creationId="{585D4828-BCAB-FCBD-E666-6A7046751318}"/>
          </ac:spMkLst>
        </pc:spChg>
        <pc:spChg chg="mod">
          <ac:chgData name="Mikami, Maho" userId="50612f1b-df2d-47bb-8fdd-7ddedc83fc7e" providerId="ADAL" clId="{5CBE12F2-F3C8-4DCE-AD77-5EBD7EED8DBF}" dt="2024-03-24T06:28:03.283" v="4282"/>
          <ac:spMkLst>
            <pc:docMk/>
            <pc:sldMk cId="445871252" sldId="2146847625"/>
            <ac:spMk id="34" creationId="{DF32403C-78E3-600F-F595-6BA5B50AB710}"/>
          </ac:spMkLst>
        </pc:spChg>
        <pc:spChg chg="mod">
          <ac:chgData name="Mikami, Maho" userId="50612f1b-df2d-47bb-8fdd-7ddedc83fc7e" providerId="ADAL" clId="{5CBE12F2-F3C8-4DCE-AD77-5EBD7EED8DBF}" dt="2024-03-24T06:28:03.283" v="4282"/>
          <ac:spMkLst>
            <pc:docMk/>
            <pc:sldMk cId="445871252" sldId="2146847625"/>
            <ac:spMk id="35" creationId="{E751BC77-B6A4-A832-279D-388B8CD0E83A}"/>
          </ac:spMkLst>
        </pc:spChg>
        <pc:spChg chg="mod">
          <ac:chgData name="Mikami, Maho" userId="50612f1b-df2d-47bb-8fdd-7ddedc83fc7e" providerId="ADAL" clId="{5CBE12F2-F3C8-4DCE-AD77-5EBD7EED8DBF}" dt="2024-03-24T06:28:03.283" v="4282"/>
          <ac:spMkLst>
            <pc:docMk/>
            <pc:sldMk cId="445871252" sldId="2146847625"/>
            <ac:spMk id="36" creationId="{D7A815E2-6AB1-9B38-E171-365EB46DBCF6}"/>
          </ac:spMkLst>
        </pc:spChg>
        <pc:spChg chg="mod">
          <ac:chgData name="Mikami, Maho" userId="50612f1b-df2d-47bb-8fdd-7ddedc83fc7e" providerId="ADAL" clId="{5CBE12F2-F3C8-4DCE-AD77-5EBD7EED8DBF}" dt="2024-03-24T06:28:03.283" v="4282"/>
          <ac:spMkLst>
            <pc:docMk/>
            <pc:sldMk cId="445871252" sldId="2146847625"/>
            <ac:spMk id="37" creationId="{E0BE631B-70A7-1CB8-2FD9-159232C76F71}"/>
          </ac:spMkLst>
        </pc:spChg>
        <pc:spChg chg="mod">
          <ac:chgData name="Mikami, Maho" userId="50612f1b-df2d-47bb-8fdd-7ddedc83fc7e" providerId="ADAL" clId="{5CBE12F2-F3C8-4DCE-AD77-5EBD7EED8DBF}" dt="2024-03-24T06:28:03.283" v="4282"/>
          <ac:spMkLst>
            <pc:docMk/>
            <pc:sldMk cId="445871252" sldId="2146847625"/>
            <ac:spMk id="38" creationId="{AB513DA6-2E20-05BC-CE1A-EFA5E1E080FB}"/>
          </ac:spMkLst>
        </pc:spChg>
        <pc:spChg chg="mod">
          <ac:chgData name="Mikami, Maho" userId="50612f1b-df2d-47bb-8fdd-7ddedc83fc7e" providerId="ADAL" clId="{5CBE12F2-F3C8-4DCE-AD77-5EBD7EED8DBF}" dt="2024-03-24T06:28:03.283" v="4282"/>
          <ac:spMkLst>
            <pc:docMk/>
            <pc:sldMk cId="445871252" sldId="2146847625"/>
            <ac:spMk id="39" creationId="{F8F5491C-0C88-74A3-EC31-3BEB73FB632A}"/>
          </ac:spMkLst>
        </pc:spChg>
        <pc:spChg chg="mod">
          <ac:chgData name="Mikami, Maho" userId="50612f1b-df2d-47bb-8fdd-7ddedc83fc7e" providerId="ADAL" clId="{5CBE12F2-F3C8-4DCE-AD77-5EBD7EED8DBF}" dt="2024-03-24T06:28:03.283" v="4282"/>
          <ac:spMkLst>
            <pc:docMk/>
            <pc:sldMk cId="445871252" sldId="2146847625"/>
            <ac:spMk id="41" creationId="{1BE4DD73-928D-CF87-8BA6-CD778D224A01}"/>
          </ac:spMkLst>
        </pc:spChg>
        <pc:spChg chg="mod">
          <ac:chgData name="Mikami, Maho" userId="50612f1b-df2d-47bb-8fdd-7ddedc83fc7e" providerId="ADAL" clId="{5CBE12F2-F3C8-4DCE-AD77-5EBD7EED8DBF}" dt="2024-03-24T06:28:03.283" v="4282"/>
          <ac:spMkLst>
            <pc:docMk/>
            <pc:sldMk cId="445871252" sldId="2146847625"/>
            <ac:spMk id="42" creationId="{A5F42E6B-71B5-4B20-F0DF-27CD4E1CFF29}"/>
          </ac:spMkLst>
        </pc:spChg>
        <pc:spChg chg="mod">
          <ac:chgData name="Mikami, Maho" userId="50612f1b-df2d-47bb-8fdd-7ddedc83fc7e" providerId="ADAL" clId="{5CBE12F2-F3C8-4DCE-AD77-5EBD7EED8DBF}" dt="2024-03-24T06:28:03.283" v="4282"/>
          <ac:spMkLst>
            <pc:docMk/>
            <pc:sldMk cId="445871252" sldId="2146847625"/>
            <ac:spMk id="46" creationId="{56706E4C-71E6-D5CE-80CF-739404B8FDD8}"/>
          </ac:spMkLst>
        </pc:spChg>
        <pc:spChg chg="mod">
          <ac:chgData name="Mikami, Maho" userId="50612f1b-df2d-47bb-8fdd-7ddedc83fc7e" providerId="ADAL" clId="{5CBE12F2-F3C8-4DCE-AD77-5EBD7EED8DBF}" dt="2024-03-24T06:28:03.283" v="4282"/>
          <ac:spMkLst>
            <pc:docMk/>
            <pc:sldMk cId="445871252" sldId="2146847625"/>
            <ac:spMk id="47" creationId="{9491A79A-65F8-F86F-64A2-C28235717FE7}"/>
          </ac:spMkLst>
        </pc:spChg>
        <pc:spChg chg="mod">
          <ac:chgData name="Mikami, Maho" userId="50612f1b-df2d-47bb-8fdd-7ddedc83fc7e" providerId="ADAL" clId="{5CBE12F2-F3C8-4DCE-AD77-5EBD7EED8DBF}" dt="2024-03-24T06:28:03.283" v="4282"/>
          <ac:spMkLst>
            <pc:docMk/>
            <pc:sldMk cId="445871252" sldId="2146847625"/>
            <ac:spMk id="51" creationId="{586D05DF-1EA6-9CDE-B207-F6E7E51088DA}"/>
          </ac:spMkLst>
        </pc:spChg>
        <pc:spChg chg="mod">
          <ac:chgData name="Mikami, Maho" userId="50612f1b-df2d-47bb-8fdd-7ddedc83fc7e" providerId="ADAL" clId="{5CBE12F2-F3C8-4DCE-AD77-5EBD7EED8DBF}" dt="2024-03-24T06:28:03.283" v="4282"/>
          <ac:spMkLst>
            <pc:docMk/>
            <pc:sldMk cId="445871252" sldId="2146847625"/>
            <ac:spMk id="56" creationId="{95E27F2E-9CD7-B242-4A76-B2ED8A2FA852}"/>
          </ac:spMkLst>
        </pc:spChg>
        <pc:spChg chg="mod">
          <ac:chgData name="Mikami, Maho" userId="50612f1b-df2d-47bb-8fdd-7ddedc83fc7e" providerId="ADAL" clId="{5CBE12F2-F3C8-4DCE-AD77-5EBD7EED8DBF}" dt="2024-03-24T06:28:03.283" v="4282"/>
          <ac:spMkLst>
            <pc:docMk/>
            <pc:sldMk cId="445871252" sldId="2146847625"/>
            <ac:spMk id="57" creationId="{07802210-EBB0-E445-AEB0-227596D5D033}"/>
          </ac:spMkLst>
        </pc:spChg>
        <pc:spChg chg="mod">
          <ac:chgData name="Mikami, Maho" userId="50612f1b-df2d-47bb-8fdd-7ddedc83fc7e" providerId="ADAL" clId="{5CBE12F2-F3C8-4DCE-AD77-5EBD7EED8DBF}" dt="2024-03-24T06:28:03.283" v="4282"/>
          <ac:spMkLst>
            <pc:docMk/>
            <pc:sldMk cId="445871252" sldId="2146847625"/>
            <ac:spMk id="58" creationId="{D13C5994-FBF1-D585-6669-7CB8173AF624}"/>
          </ac:spMkLst>
        </pc:spChg>
        <pc:spChg chg="mod">
          <ac:chgData name="Mikami, Maho" userId="50612f1b-df2d-47bb-8fdd-7ddedc83fc7e" providerId="ADAL" clId="{5CBE12F2-F3C8-4DCE-AD77-5EBD7EED8DBF}" dt="2024-03-24T06:28:03.283" v="4282"/>
          <ac:spMkLst>
            <pc:docMk/>
            <pc:sldMk cId="445871252" sldId="2146847625"/>
            <ac:spMk id="66" creationId="{4B3554AF-980F-1A77-6739-93381257A921}"/>
          </ac:spMkLst>
        </pc:spChg>
        <pc:spChg chg="mod">
          <ac:chgData name="Mikami, Maho" userId="50612f1b-df2d-47bb-8fdd-7ddedc83fc7e" providerId="ADAL" clId="{5CBE12F2-F3C8-4DCE-AD77-5EBD7EED8DBF}" dt="2024-03-24T06:28:03.283" v="4282"/>
          <ac:spMkLst>
            <pc:docMk/>
            <pc:sldMk cId="445871252" sldId="2146847625"/>
            <ac:spMk id="67" creationId="{7BC54FD7-845A-DF08-1EFB-384E215CCC10}"/>
          </ac:spMkLst>
        </pc:spChg>
        <pc:spChg chg="mod">
          <ac:chgData name="Mikami, Maho" userId="50612f1b-df2d-47bb-8fdd-7ddedc83fc7e" providerId="ADAL" clId="{5CBE12F2-F3C8-4DCE-AD77-5EBD7EED8DBF}" dt="2024-03-24T06:28:14.153" v="4286"/>
          <ac:spMkLst>
            <pc:docMk/>
            <pc:sldMk cId="445871252" sldId="2146847625"/>
            <ac:spMk id="69" creationId="{B46AC612-8C23-D329-E47E-88388657A05F}"/>
          </ac:spMkLst>
        </pc:spChg>
        <pc:spChg chg="mod">
          <ac:chgData name="Mikami, Maho" userId="50612f1b-df2d-47bb-8fdd-7ddedc83fc7e" providerId="ADAL" clId="{5CBE12F2-F3C8-4DCE-AD77-5EBD7EED8DBF}" dt="2024-03-24T06:28:14.153" v="4286"/>
          <ac:spMkLst>
            <pc:docMk/>
            <pc:sldMk cId="445871252" sldId="2146847625"/>
            <ac:spMk id="70" creationId="{AD821757-5A77-F57B-A08F-BEA1A8CB326B}"/>
          </ac:spMkLst>
        </pc:spChg>
        <pc:spChg chg="mod">
          <ac:chgData name="Mikami, Maho" userId="50612f1b-df2d-47bb-8fdd-7ddedc83fc7e" providerId="ADAL" clId="{5CBE12F2-F3C8-4DCE-AD77-5EBD7EED8DBF}" dt="2024-03-24T06:28:14.153" v="4286"/>
          <ac:spMkLst>
            <pc:docMk/>
            <pc:sldMk cId="445871252" sldId="2146847625"/>
            <ac:spMk id="71" creationId="{A183A815-FBBC-23CB-4A88-E0AE1FFFF869}"/>
          </ac:spMkLst>
        </pc:spChg>
        <pc:spChg chg="mod">
          <ac:chgData name="Mikami, Maho" userId="50612f1b-df2d-47bb-8fdd-7ddedc83fc7e" providerId="ADAL" clId="{5CBE12F2-F3C8-4DCE-AD77-5EBD7EED8DBF}" dt="2024-03-24T06:28:14.153" v="4286"/>
          <ac:spMkLst>
            <pc:docMk/>
            <pc:sldMk cId="445871252" sldId="2146847625"/>
            <ac:spMk id="72" creationId="{B8623B39-B313-C952-1836-0044280209FA}"/>
          </ac:spMkLst>
        </pc:spChg>
        <pc:spChg chg="mod">
          <ac:chgData name="Mikami, Maho" userId="50612f1b-df2d-47bb-8fdd-7ddedc83fc7e" providerId="ADAL" clId="{5CBE12F2-F3C8-4DCE-AD77-5EBD7EED8DBF}" dt="2024-03-24T06:28:14.153" v="4286"/>
          <ac:spMkLst>
            <pc:docMk/>
            <pc:sldMk cId="445871252" sldId="2146847625"/>
            <ac:spMk id="73" creationId="{2BC4BA17-9102-7000-BEC9-FAB9601A52ED}"/>
          </ac:spMkLst>
        </pc:spChg>
        <pc:spChg chg="mod">
          <ac:chgData name="Mikami, Maho" userId="50612f1b-df2d-47bb-8fdd-7ddedc83fc7e" providerId="ADAL" clId="{5CBE12F2-F3C8-4DCE-AD77-5EBD7EED8DBF}" dt="2024-03-24T06:28:14.153" v="4286"/>
          <ac:spMkLst>
            <pc:docMk/>
            <pc:sldMk cId="445871252" sldId="2146847625"/>
            <ac:spMk id="74" creationId="{1BC97B27-766D-5C75-F173-32C04F7C5A39}"/>
          </ac:spMkLst>
        </pc:spChg>
        <pc:spChg chg="mod">
          <ac:chgData name="Mikami, Maho" userId="50612f1b-df2d-47bb-8fdd-7ddedc83fc7e" providerId="ADAL" clId="{5CBE12F2-F3C8-4DCE-AD77-5EBD7EED8DBF}" dt="2024-03-24T06:28:14.153" v="4286"/>
          <ac:spMkLst>
            <pc:docMk/>
            <pc:sldMk cId="445871252" sldId="2146847625"/>
            <ac:spMk id="75" creationId="{8C7FC280-B06C-F1B4-E9A3-D3C7CC378A04}"/>
          </ac:spMkLst>
        </pc:spChg>
        <pc:spChg chg="mod">
          <ac:chgData name="Mikami, Maho" userId="50612f1b-df2d-47bb-8fdd-7ddedc83fc7e" providerId="ADAL" clId="{5CBE12F2-F3C8-4DCE-AD77-5EBD7EED8DBF}" dt="2024-03-24T06:28:14.153" v="4286"/>
          <ac:spMkLst>
            <pc:docMk/>
            <pc:sldMk cId="445871252" sldId="2146847625"/>
            <ac:spMk id="76" creationId="{E4819C67-6BBE-F771-6CC3-7820A233A338}"/>
          </ac:spMkLst>
        </pc:spChg>
        <pc:spChg chg="mod">
          <ac:chgData name="Mikami, Maho" userId="50612f1b-df2d-47bb-8fdd-7ddedc83fc7e" providerId="ADAL" clId="{5CBE12F2-F3C8-4DCE-AD77-5EBD7EED8DBF}" dt="2024-03-24T06:28:14.153" v="4286"/>
          <ac:spMkLst>
            <pc:docMk/>
            <pc:sldMk cId="445871252" sldId="2146847625"/>
            <ac:spMk id="77" creationId="{D656469A-F5B3-A3C8-D1A5-D1B56D9F5E97}"/>
          </ac:spMkLst>
        </pc:spChg>
        <pc:spChg chg="mod">
          <ac:chgData name="Mikami, Maho" userId="50612f1b-df2d-47bb-8fdd-7ddedc83fc7e" providerId="ADAL" clId="{5CBE12F2-F3C8-4DCE-AD77-5EBD7EED8DBF}" dt="2024-03-24T06:28:14.153" v="4286"/>
          <ac:spMkLst>
            <pc:docMk/>
            <pc:sldMk cId="445871252" sldId="2146847625"/>
            <ac:spMk id="80" creationId="{DD39E46F-1553-FF68-1064-7A71D23EAB6C}"/>
          </ac:spMkLst>
        </pc:spChg>
        <pc:spChg chg="mod">
          <ac:chgData name="Mikami, Maho" userId="50612f1b-df2d-47bb-8fdd-7ddedc83fc7e" providerId="ADAL" clId="{5CBE12F2-F3C8-4DCE-AD77-5EBD7EED8DBF}" dt="2024-03-24T06:28:14.153" v="4286"/>
          <ac:spMkLst>
            <pc:docMk/>
            <pc:sldMk cId="445871252" sldId="2146847625"/>
            <ac:spMk id="81" creationId="{E0A90A0C-D439-5DF6-3110-D707AF24AF84}"/>
          </ac:spMkLst>
        </pc:spChg>
        <pc:spChg chg="mod">
          <ac:chgData name="Mikami, Maho" userId="50612f1b-df2d-47bb-8fdd-7ddedc83fc7e" providerId="ADAL" clId="{5CBE12F2-F3C8-4DCE-AD77-5EBD7EED8DBF}" dt="2024-03-24T06:28:14.153" v="4286"/>
          <ac:spMkLst>
            <pc:docMk/>
            <pc:sldMk cId="445871252" sldId="2146847625"/>
            <ac:spMk id="82" creationId="{67E43A8D-6506-D18F-2636-600582A1BD46}"/>
          </ac:spMkLst>
        </pc:spChg>
        <pc:spChg chg="mod">
          <ac:chgData name="Mikami, Maho" userId="50612f1b-df2d-47bb-8fdd-7ddedc83fc7e" providerId="ADAL" clId="{5CBE12F2-F3C8-4DCE-AD77-5EBD7EED8DBF}" dt="2024-03-24T06:28:14.153" v="4286"/>
          <ac:spMkLst>
            <pc:docMk/>
            <pc:sldMk cId="445871252" sldId="2146847625"/>
            <ac:spMk id="83" creationId="{F19BBC46-5913-1716-9FFE-F1E2D8C6CF5A}"/>
          </ac:spMkLst>
        </pc:spChg>
        <pc:spChg chg="mod">
          <ac:chgData name="Mikami, Maho" userId="50612f1b-df2d-47bb-8fdd-7ddedc83fc7e" providerId="ADAL" clId="{5CBE12F2-F3C8-4DCE-AD77-5EBD7EED8DBF}" dt="2024-03-24T06:28:14.153" v="4286"/>
          <ac:spMkLst>
            <pc:docMk/>
            <pc:sldMk cId="445871252" sldId="2146847625"/>
            <ac:spMk id="84" creationId="{2F9B0CB8-E0BD-D728-7EE0-7983DB6F7CF3}"/>
          </ac:spMkLst>
        </pc:spChg>
        <pc:spChg chg="mod">
          <ac:chgData name="Mikami, Maho" userId="50612f1b-df2d-47bb-8fdd-7ddedc83fc7e" providerId="ADAL" clId="{5CBE12F2-F3C8-4DCE-AD77-5EBD7EED8DBF}" dt="2024-03-24T06:28:14.153" v="4286"/>
          <ac:spMkLst>
            <pc:docMk/>
            <pc:sldMk cId="445871252" sldId="2146847625"/>
            <ac:spMk id="85" creationId="{DE2F48D1-3F3C-6B82-8E00-5C0241C94B2D}"/>
          </ac:spMkLst>
        </pc:spChg>
        <pc:spChg chg="mod">
          <ac:chgData name="Mikami, Maho" userId="50612f1b-df2d-47bb-8fdd-7ddedc83fc7e" providerId="ADAL" clId="{5CBE12F2-F3C8-4DCE-AD77-5EBD7EED8DBF}" dt="2024-03-24T06:28:14.153" v="4286"/>
          <ac:spMkLst>
            <pc:docMk/>
            <pc:sldMk cId="445871252" sldId="2146847625"/>
            <ac:spMk id="86" creationId="{5D32D3EE-CE14-01CE-1F89-EE38913C243D}"/>
          </ac:spMkLst>
        </pc:spChg>
        <pc:spChg chg="mod">
          <ac:chgData name="Mikami, Maho" userId="50612f1b-df2d-47bb-8fdd-7ddedc83fc7e" providerId="ADAL" clId="{5CBE12F2-F3C8-4DCE-AD77-5EBD7EED8DBF}" dt="2024-03-24T06:28:14.153" v="4286"/>
          <ac:spMkLst>
            <pc:docMk/>
            <pc:sldMk cId="445871252" sldId="2146847625"/>
            <ac:spMk id="88" creationId="{A37B4C03-D3FF-39F0-92E9-7BA4D86489C8}"/>
          </ac:spMkLst>
        </pc:spChg>
        <pc:spChg chg="mod">
          <ac:chgData name="Mikami, Maho" userId="50612f1b-df2d-47bb-8fdd-7ddedc83fc7e" providerId="ADAL" clId="{5CBE12F2-F3C8-4DCE-AD77-5EBD7EED8DBF}" dt="2024-03-24T06:28:14.153" v="4286"/>
          <ac:spMkLst>
            <pc:docMk/>
            <pc:sldMk cId="445871252" sldId="2146847625"/>
            <ac:spMk id="89" creationId="{84FC4DB4-B9C3-8935-262D-B591D12045D6}"/>
          </ac:spMkLst>
        </pc:spChg>
        <pc:spChg chg="mod">
          <ac:chgData name="Mikami, Maho" userId="50612f1b-df2d-47bb-8fdd-7ddedc83fc7e" providerId="ADAL" clId="{5CBE12F2-F3C8-4DCE-AD77-5EBD7EED8DBF}" dt="2024-03-24T06:28:14.153" v="4286"/>
          <ac:spMkLst>
            <pc:docMk/>
            <pc:sldMk cId="445871252" sldId="2146847625"/>
            <ac:spMk id="93" creationId="{6BD10B53-89BE-F6B1-899E-0FCA97AC0B92}"/>
          </ac:spMkLst>
        </pc:spChg>
        <pc:spChg chg="mod">
          <ac:chgData name="Mikami, Maho" userId="50612f1b-df2d-47bb-8fdd-7ddedc83fc7e" providerId="ADAL" clId="{5CBE12F2-F3C8-4DCE-AD77-5EBD7EED8DBF}" dt="2024-03-24T06:28:14.153" v="4286"/>
          <ac:spMkLst>
            <pc:docMk/>
            <pc:sldMk cId="445871252" sldId="2146847625"/>
            <ac:spMk id="94" creationId="{70FC5EAA-78F7-6DC7-A38D-49CBFA31FA1A}"/>
          </ac:spMkLst>
        </pc:spChg>
        <pc:spChg chg="mod">
          <ac:chgData name="Mikami, Maho" userId="50612f1b-df2d-47bb-8fdd-7ddedc83fc7e" providerId="ADAL" clId="{5CBE12F2-F3C8-4DCE-AD77-5EBD7EED8DBF}" dt="2024-03-24T06:28:14.153" v="4286"/>
          <ac:spMkLst>
            <pc:docMk/>
            <pc:sldMk cId="445871252" sldId="2146847625"/>
            <ac:spMk id="98" creationId="{DDCC0C9F-8B23-DFDE-1F04-7500EB05046D}"/>
          </ac:spMkLst>
        </pc:spChg>
        <pc:spChg chg="mod">
          <ac:chgData name="Mikami, Maho" userId="50612f1b-df2d-47bb-8fdd-7ddedc83fc7e" providerId="ADAL" clId="{5CBE12F2-F3C8-4DCE-AD77-5EBD7EED8DBF}" dt="2024-03-24T06:28:14.153" v="4286"/>
          <ac:spMkLst>
            <pc:docMk/>
            <pc:sldMk cId="445871252" sldId="2146847625"/>
            <ac:spMk id="103" creationId="{8914A798-A866-BE02-BC09-695F412A844F}"/>
          </ac:spMkLst>
        </pc:spChg>
        <pc:spChg chg="mod">
          <ac:chgData name="Mikami, Maho" userId="50612f1b-df2d-47bb-8fdd-7ddedc83fc7e" providerId="ADAL" clId="{5CBE12F2-F3C8-4DCE-AD77-5EBD7EED8DBF}" dt="2024-03-24T06:28:14.153" v="4286"/>
          <ac:spMkLst>
            <pc:docMk/>
            <pc:sldMk cId="445871252" sldId="2146847625"/>
            <ac:spMk id="104" creationId="{80724BF0-866D-06D2-9D02-B8162F4C9C99}"/>
          </ac:spMkLst>
        </pc:spChg>
        <pc:spChg chg="mod">
          <ac:chgData name="Mikami, Maho" userId="50612f1b-df2d-47bb-8fdd-7ddedc83fc7e" providerId="ADAL" clId="{5CBE12F2-F3C8-4DCE-AD77-5EBD7EED8DBF}" dt="2024-03-24T06:28:14.153" v="4286"/>
          <ac:spMkLst>
            <pc:docMk/>
            <pc:sldMk cId="445871252" sldId="2146847625"/>
            <ac:spMk id="105" creationId="{6822D99B-F848-4092-50D4-648C66CD87CD}"/>
          </ac:spMkLst>
        </pc:spChg>
        <pc:spChg chg="mod">
          <ac:chgData name="Mikami, Maho" userId="50612f1b-df2d-47bb-8fdd-7ddedc83fc7e" providerId="ADAL" clId="{5CBE12F2-F3C8-4DCE-AD77-5EBD7EED8DBF}" dt="2024-03-24T06:28:14.153" v="4286"/>
          <ac:spMkLst>
            <pc:docMk/>
            <pc:sldMk cId="445871252" sldId="2146847625"/>
            <ac:spMk id="113" creationId="{0B99C084-9F77-B688-F936-82EF00050128}"/>
          </ac:spMkLst>
        </pc:spChg>
        <pc:spChg chg="mod">
          <ac:chgData name="Mikami, Maho" userId="50612f1b-df2d-47bb-8fdd-7ddedc83fc7e" providerId="ADAL" clId="{5CBE12F2-F3C8-4DCE-AD77-5EBD7EED8DBF}" dt="2024-03-24T06:28:14.153" v="4286"/>
          <ac:spMkLst>
            <pc:docMk/>
            <pc:sldMk cId="445871252" sldId="2146847625"/>
            <ac:spMk id="114" creationId="{5FEC17B2-69F1-4EAE-BFEA-8C39BC03556A}"/>
          </ac:spMkLst>
        </pc:spChg>
        <pc:spChg chg="mod">
          <ac:chgData name="Mikami, Maho" userId="50612f1b-df2d-47bb-8fdd-7ddedc83fc7e" providerId="ADAL" clId="{5CBE12F2-F3C8-4DCE-AD77-5EBD7EED8DBF}" dt="2024-03-24T06:28:15.719" v="4287"/>
          <ac:spMkLst>
            <pc:docMk/>
            <pc:sldMk cId="445871252" sldId="2146847625"/>
            <ac:spMk id="116" creationId="{D6EC590E-2810-5A39-0DB3-88DF0C7682FA}"/>
          </ac:spMkLst>
        </pc:spChg>
        <pc:spChg chg="mod">
          <ac:chgData name="Mikami, Maho" userId="50612f1b-df2d-47bb-8fdd-7ddedc83fc7e" providerId="ADAL" clId="{5CBE12F2-F3C8-4DCE-AD77-5EBD7EED8DBF}" dt="2024-03-24T06:28:15.719" v="4287"/>
          <ac:spMkLst>
            <pc:docMk/>
            <pc:sldMk cId="445871252" sldId="2146847625"/>
            <ac:spMk id="117" creationId="{7152A324-CEF3-5AF0-E7F3-D6CB38D34178}"/>
          </ac:spMkLst>
        </pc:spChg>
        <pc:spChg chg="mod">
          <ac:chgData name="Mikami, Maho" userId="50612f1b-df2d-47bb-8fdd-7ddedc83fc7e" providerId="ADAL" clId="{5CBE12F2-F3C8-4DCE-AD77-5EBD7EED8DBF}" dt="2024-03-24T06:28:15.719" v="4287"/>
          <ac:spMkLst>
            <pc:docMk/>
            <pc:sldMk cId="445871252" sldId="2146847625"/>
            <ac:spMk id="118" creationId="{1C152335-8C76-7E36-394B-F58B5AE43CC5}"/>
          </ac:spMkLst>
        </pc:spChg>
        <pc:spChg chg="mod">
          <ac:chgData name="Mikami, Maho" userId="50612f1b-df2d-47bb-8fdd-7ddedc83fc7e" providerId="ADAL" clId="{5CBE12F2-F3C8-4DCE-AD77-5EBD7EED8DBF}" dt="2024-03-24T06:28:15.719" v="4287"/>
          <ac:spMkLst>
            <pc:docMk/>
            <pc:sldMk cId="445871252" sldId="2146847625"/>
            <ac:spMk id="119" creationId="{52215782-1A5F-13EE-6E47-8B6A82B77D93}"/>
          </ac:spMkLst>
        </pc:spChg>
        <pc:spChg chg="mod">
          <ac:chgData name="Mikami, Maho" userId="50612f1b-df2d-47bb-8fdd-7ddedc83fc7e" providerId="ADAL" clId="{5CBE12F2-F3C8-4DCE-AD77-5EBD7EED8DBF}" dt="2024-03-24T06:28:15.719" v="4287"/>
          <ac:spMkLst>
            <pc:docMk/>
            <pc:sldMk cId="445871252" sldId="2146847625"/>
            <ac:spMk id="120" creationId="{291DC4D8-ABC6-873F-9550-C6EEF642175C}"/>
          </ac:spMkLst>
        </pc:spChg>
        <pc:spChg chg="mod">
          <ac:chgData name="Mikami, Maho" userId="50612f1b-df2d-47bb-8fdd-7ddedc83fc7e" providerId="ADAL" clId="{5CBE12F2-F3C8-4DCE-AD77-5EBD7EED8DBF}" dt="2024-03-24T06:28:15.719" v="4287"/>
          <ac:spMkLst>
            <pc:docMk/>
            <pc:sldMk cId="445871252" sldId="2146847625"/>
            <ac:spMk id="121" creationId="{A25B42D4-A6B0-8D81-96E8-38B3EA88A185}"/>
          </ac:spMkLst>
        </pc:spChg>
        <pc:spChg chg="mod">
          <ac:chgData name="Mikami, Maho" userId="50612f1b-df2d-47bb-8fdd-7ddedc83fc7e" providerId="ADAL" clId="{5CBE12F2-F3C8-4DCE-AD77-5EBD7EED8DBF}" dt="2024-03-24T06:28:15.719" v="4287"/>
          <ac:spMkLst>
            <pc:docMk/>
            <pc:sldMk cId="445871252" sldId="2146847625"/>
            <ac:spMk id="122" creationId="{B6950930-4873-DEB5-1B92-743405B9E0E7}"/>
          </ac:spMkLst>
        </pc:spChg>
        <pc:spChg chg="mod">
          <ac:chgData name="Mikami, Maho" userId="50612f1b-df2d-47bb-8fdd-7ddedc83fc7e" providerId="ADAL" clId="{5CBE12F2-F3C8-4DCE-AD77-5EBD7EED8DBF}" dt="2024-03-24T06:28:15.719" v="4287"/>
          <ac:spMkLst>
            <pc:docMk/>
            <pc:sldMk cId="445871252" sldId="2146847625"/>
            <ac:spMk id="123" creationId="{96C021AB-209B-46FC-DEFD-9189BEF0C90A}"/>
          </ac:spMkLst>
        </pc:spChg>
        <pc:spChg chg="mod">
          <ac:chgData name="Mikami, Maho" userId="50612f1b-df2d-47bb-8fdd-7ddedc83fc7e" providerId="ADAL" clId="{5CBE12F2-F3C8-4DCE-AD77-5EBD7EED8DBF}" dt="2024-03-24T06:28:15.719" v="4287"/>
          <ac:spMkLst>
            <pc:docMk/>
            <pc:sldMk cId="445871252" sldId="2146847625"/>
            <ac:spMk id="124" creationId="{C859AF17-704D-C23C-D70F-7EF699DBB1A3}"/>
          </ac:spMkLst>
        </pc:spChg>
        <pc:spChg chg="mod">
          <ac:chgData name="Mikami, Maho" userId="50612f1b-df2d-47bb-8fdd-7ddedc83fc7e" providerId="ADAL" clId="{5CBE12F2-F3C8-4DCE-AD77-5EBD7EED8DBF}" dt="2024-03-24T06:28:15.719" v="4287"/>
          <ac:spMkLst>
            <pc:docMk/>
            <pc:sldMk cId="445871252" sldId="2146847625"/>
            <ac:spMk id="127" creationId="{1FB0ABDD-3CCC-C28C-DE51-9DA70644834D}"/>
          </ac:spMkLst>
        </pc:spChg>
        <pc:spChg chg="mod">
          <ac:chgData name="Mikami, Maho" userId="50612f1b-df2d-47bb-8fdd-7ddedc83fc7e" providerId="ADAL" clId="{5CBE12F2-F3C8-4DCE-AD77-5EBD7EED8DBF}" dt="2024-03-24T06:28:15.719" v="4287"/>
          <ac:spMkLst>
            <pc:docMk/>
            <pc:sldMk cId="445871252" sldId="2146847625"/>
            <ac:spMk id="128" creationId="{4D8D71BE-F200-E5C1-B9D2-F3A09D36E56D}"/>
          </ac:spMkLst>
        </pc:spChg>
        <pc:spChg chg="mod">
          <ac:chgData name="Mikami, Maho" userId="50612f1b-df2d-47bb-8fdd-7ddedc83fc7e" providerId="ADAL" clId="{5CBE12F2-F3C8-4DCE-AD77-5EBD7EED8DBF}" dt="2024-03-24T06:28:15.719" v="4287"/>
          <ac:spMkLst>
            <pc:docMk/>
            <pc:sldMk cId="445871252" sldId="2146847625"/>
            <ac:spMk id="129" creationId="{A5EA18AF-4380-0357-18E1-7A8B32520523}"/>
          </ac:spMkLst>
        </pc:spChg>
        <pc:spChg chg="mod">
          <ac:chgData name="Mikami, Maho" userId="50612f1b-df2d-47bb-8fdd-7ddedc83fc7e" providerId="ADAL" clId="{5CBE12F2-F3C8-4DCE-AD77-5EBD7EED8DBF}" dt="2024-03-24T06:28:15.719" v="4287"/>
          <ac:spMkLst>
            <pc:docMk/>
            <pc:sldMk cId="445871252" sldId="2146847625"/>
            <ac:spMk id="130" creationId="{4565280D-7E0C-67E3-78A0-87D2B4DF0B94}"/>
          </ac:spMkLst>
        </pc:spChg>
        <pc:spChg chg="mod">
          <ac:chgData name="Mikami, Maho" userId="50612f1b-df2d-47bb-8fdd-7ddedc83fc7e" providerId="ADAL" clId="{5CBE12F2-F3C8-4DCE-AD77-5EBD7EED8DBF}" dt="2024-03-24T06:28:15.719" v="4287"/>
          <ac:spMkLst>
            <pc:docMk/>
            <pc:sldMk cId="445871252" sldId="2146847625"/>
            <ac:spMk id="131" creationId="{8CC81339-87BA-93BD-B16C-127584728366}"/>
          </ac:spMkLst>
        </pc:spChg>
        <pc:spChg chg="mod">
          <ac:chgData name="Mikami, Maho" userId="50612f1b-df2d-47bb-8fdd-7ddedc83fc7e" providerId="ADAL" clId="{5CBE12F2-F3C8-4DCE-AD77-5EBD7EED8DBF}" dt="2024-03-24T06:28:15.719" v="4287"/>
          <ac:spMkLst>
            <pc:docMk/>
            <pc:sldMk cId="445871252" sldId="2146847625"/>
            <ac:spMk id="132" creationId="{D27FD9D2-4DB1-474A-B66E-A2BAEBACCDCA}"/>
          </ac:spMkLst>
        </pc:spChg>
        <pc:spChg chg="mod">
          <ac:chgData name="Mikami, Maho" userId="50612f1b-df2d-47bb-8fdd-7ddedc83fc7e" providerId="ADAL" clId="{5CBE12F2-F3C8-4DCE-AD77-5EBD7EED8DBF}" dt="2024-03-24T06:28:15.719" v="4287"/>
          <ac:spMkLst>
            <pc:docMk/>
            <pc:sldMk cId="445871252" sldId="2146847625"/>
            <ac:spMk id="133" creationId="{E7B1C3B4-B262-74DD-CA6C-FA72CDEB5D7A}"/>
          </ac:spMkLst>
        </pc:spChg>
        <pc:spChg chg="mod">
          <ac:chgData name="Mikami, Maho" userId="50612f1b-df2d-47bb-8fdd-7ddedc83fc7e" providerId="ADAL" clId="{5CBE12F2-F3C8-4DCE-AD77-5EBD7EED8DBF}" dt="2024-03-24T06:28:15.719" v="4287"/>
          <ac:spMkLst>
            <pc:docMk/>
            <pc:sldMk cId="445871252" sldId="2146847625"/>
            <ac:spMk id="135" creationId="{7FA7DCBA-C766-7B76-D33B-DF37ED6EE73D}"/>
          </ac:spMkLst>
        </pc:spChg>
        <pc:spChg chg="mod">
          <ac:chgData name="Mikami, Maho" userId="50612f1b-df2d-47bb-8fdd-7ddedc83fc7e" providerId="ADAL" clId="{5CBE12F2-F3C8-4DCE-AD77-5EBD7EED8DBF}" dt="2024-03-24T06:28:15.719" v="4287"/>
          <ac:spMkLst>
            <pc:docMk/>
            <pc:sldMk cId="445871252" sldId="2146847625"/>
            <ac:spMk id="136" creationId="{DFE94AF7-1B8C-9959-4AF7-25C79BD3A8EA}"/>
          </ac:spMkLst>
        </pc:spChg>
        <pc:spChg chg="mod">
          <ac:chgData name="Mikami, Maho" userId="50612f1b-df2d-47bb-8fdd-7ddedc83fc7e" providerId="ADAL" clId="{5CBE12F2-F3C8-4DCE-AD77-5EBD7EED8DBF}" dt="2024-03-24T06:28:15.719" v="4287"/>
          <ac:spMkLst>
            <pc:docMk/>
            <pc:sldMk cId="445871252" sldId="2146847625"/>
            <ac:spMk id="140" creationId="{76089A06-7640-E42D-8890-00DD3E5FB030}"/>
          </ac:spMkLst>
        </pc:spChg>
        <pc:spChg chg="mod">
          <ac:chgData name="Mikami, Maho" userId="50612f1b-df2d-47bb-8fdd-7ddedc83fc7e" providerId="ADAL" clId="{5CBE12F2-F3C8-4DCE-AD77-5EBD7EED8DBF}" dt="2024-03-24T06:28:15.719" v="4287"/>
          <ac:spMkLst>
            <pc:docMk/>
            <pc:sldMk cId="445871252" sldId="2146847625"/>
            <ac:spMk id="141" creationId="{A77496DD-F3A6-ACA6-A0C9-F1B2C8DDD3ED}"/>
          </ac:spMkLst>
        </pc:spChg>
        <pc:spChg chg="mod">
          <ac:chgData name="Mikami, Maho" userId="50612f1b-df2d-47bb-8fdd-7ddedc83fc7e" providerId="ADAL" clId="{5CBE12F2-F3C8-4DCE-AD77-5EBD7EED8DBF}" dt="2024-03-24T06:28:15.719" v="4287"/>
          <ac:spMkLst>
            <pc:docMk/>
            <pc:sldMk cId="445871252" sldId="2146847625"/>
            <ac:spMk id="145" creationId="{AD3DCC7C-41A6-1C98-70AD-E987909076A9}"/>
          </ac:spMkLst>
        </pc:spChg>
        <pc:spChg chg="mod">
          <ac:chgData name="Mikami, Maho" userId="50612f1b-df2d-47bb-8fdd-7ddedc83fc7e" providerId="ADAL" clId="{5CBE12F2-F3C8-4DCE-AD77-5EBD7EED8DBF}" dt="2024-03-24T06:28:15.719" v="4287"/>
          <ac:spMkLst>
            <pc:docMk/>
            <pc:sldMk cId="445871252" sldId="2146847625"/>
            <ac:spMk id="150" creationId="{9E3FFADF-752F-1C7A-22D5-FE4CF23F431A}"/>
          </ac:spMkLst>
        </pc:spChg>
        <pc:spChg chg="mod">
          <ac:chgData name="Mikami, Maho" userId="50612f1b-df2d-47bb-8fdd-7ddedc83fc7e" providerId="ADAL" clId="{5CBE12F2-F3C8-4DCE-AD77-5EBD7EED8DBF}" dt="2024-03-24T06:28:15.719" v="4287"/>
          <ac:spMkLst>
            <pc:docMk/>
            <pc:sldMk cId="445871252" sldId="2146847625"/>
            <ac:spMk id="151" creationId="{2296B13D-BB81-4031-AA3B-C0D33F2AB252}"/>
          </ac:spMkLst>
        </pc:spChg>
        <pc:spChg chg="mod">
          <ac:chgData name="Mikami, Maho" userId="50612f1b-df2d-47bb-8fdd-7ddedc83fc7e" providerId="ADAL" clId="{5CBE12F2-F3C8-4DCE-AD77-5EBD7EED8DBF}" dt="2024-03-24T06:28:15.719" v="4287"/>
          <ac:spMkLst>
            <pc:docMk/>
            <pc:sldMk cId="445871252" sldId="2146847625"/>
            <ac:spMk id="152" creationId="{22585D18-CF00-B1B5-0C53-129D495F5D07}"/>
          </ac:spMkLst>
        </pc:spChg>
        <pc:spChg chg="mod">
          <ac:chgData name="Mikami, Maho" userId="50612f1b-df2d-47bb-8fdd-7ddedc83fc7e" providerId="ADAL" clId="{5CBE12F2-F3C8-4DCE-AD77-5EBD7EED8DBF}" dt="2024-03-24T06:28:15.719" v="4287"/>
          <ac:spMkLst>
            <pc:docMk/>
            <pc:sldMk cId="445871252" sldId="2146847625"/>
            <ac:spMk id="160" creationId="{877446D8-A3A1-B971-766A-ECAFA1940B2B}"/>
          </ac:spMkLst>
        </pc:spChg>
        <pc:spChg chg="mod">
          <ac:chgData name="Mikami, Maho" userId="50612f1b-df2d-47bb-8fdd-7ddedc83fc7e" providerId="ADAL" clId="{5CBE12F2-F3C8-4DCE-AD77-5EBD7EED8DBF}" dt="2024-03-24T06:28:15.719" v="4287"/>
          <ac:spMkLst>
            <pc:docMk/>
            <pc:sldMk cId="445871252" sldId="2146847625"/>
            <ac:spMk id="161" creationId="{99531003-1749-3BD8-4A2D-0ED243641956}"/>
          </ac:spMkLst>
        </pc:spChg>
        <pc:grpChg chg="add mod">
          <ac:chgData name="Mikami, Maho" userId="50612f1b-df2d-47bb-8fdd-7ddedc83fc7e" providerId="ADAL" clId="{5CBE12F2-F3C8-4DCE-AD77-5EBD7EED8DBF}" dt="2024-03-24T06:28:03.283" v="4282"/>
          <ac:grpSpMkLst>
            <pc:docMk/>
            <pc:sldMk cId="445871252" sldId="2146847625"/>
            <ac:grpSpMk id="17" creationId="{514A8D06-953B-6127-B51C-04C5856311FD}"/>
          </ac:grpSpMkLst>
        </pc:grpChg>
        <pc:grpChg chg="del">
          <ac:chgData name="Mikami, Maho" userId="50612f1b-df2d-47bb-8fdd-7ddedc83fc7e" providerId="ADAL" clId="{5CBE12F2-F3C8-4DCE-AD77-5EBD7EED8DBF}" dt="2024-03-24T04:49:49.634" v="2321" actId="478"/>
          <ac:grpSpMkLst>
            <pc:docMk/>
            <pc:sldMk cId="445871252" sldId="2146847625"/>
            <ac:grpSpMk id="19" creationId="{8DA8C2D0-267D-865E-435B-7CA58BE6C20B}"/>
          </ac:grpSpMkLst>
        </pc:grpChg>
        <pc:grpChg chg="add mod">
          <ac:chgData name="Mikami, Maho" userId="50612f1b-df2d-47bb-8fdd-7ddedc83fc7e" providerId="ADAL" clId="{5CBE12F2-F3C8-4DCE-AD77-5EBD7EED8DBF}" dt="2024-03-24T06:28:14.153" v="4286"/>
          <ac:grpSpMkLst>
            <pc:docMk/>
            <pc:sldMk cId="445871252" sldId="2146847625"/>
            <ac:grpSpMk id="68" creationId="{AA3AB581-4213-D533-689F-E85FC9D2D54C}"/>
          </ac:grpSpMkLst>
        </pc:grpChg>
        <pc:grpChg chg="add mod ord">
          <ac:chgData name="Mikami, Maho" userId="50612f1b-df2d-47bb-8fdd-7ddedc83fc7e" providerId="ADAL" clId="{5CBE12F2-F3C8-4DCE-AD77-5EBD7EED8DBF}" dt="2024-03-24T06:28:26.119" v="4324"/>
          <ac:grpSpMkLst>
            <pc:docMk/>
            <pc:sldMk cId="445871252" sldId="2146847625"/>
            <ac:grpSpMk id="115" creationId="{713357AC-86C4-77AB-2DE1-F81638685D3F}"/>
          </ac:grpSpMkLst>
        </pc:grpChg>
        <pc:graphicFrameChg chg="mod">
          <ac:chgData name="Mikami, Maho" userId="50612f1b-df2d-47bb-8fdd-7ddedc83fc7e" providerId="ADAL" clId="{5CBE12F2-F3C8-4DCE-AD77-5EBD7EED8DBF}" dt="2024-03-24T06:28:26.165" v="4347"/>
          <ac:graphicFrameMkLst>
            <pc:docMk/>
            <pc:sldMk cId="445871252" sldId="2146847625"/>
            <ac:graphicFrameMk id="8" creationId="{07C8CE62-B07B-3B84-847A-5186FF9FB11E}"/>
          </ac:graphicFrameMkLst>
        </pc:graphicFrameChg>
        <pc:picChg chg="add del mod">
          <ac:chgData name="Mikami, Maho" userId="50612f1b-df2d-47bb-8fdd-7ddedc83fc7e" providerId="ADAL" clId="{5CBE12F2-F3C8-4DCE-AD77-5EBD7EED8DBF}" dt="2024-03-24T04:49:24.372" v="2311" actId="478"/>
          <ac:picMkLst>
            <pc:docMk/>
            <pc:sldMk cId="445871252" sldId="2146847625"/>
            <ac:picMk id="11" creationId="{B820FE60-EFBB-7505-1732-EE29A261FB98}"/>
          </ac:picMkLst>
        </pc:picChg>
        <pc:picChg chg="add mod">
          <ac:chgData name="Mikami, Maho" userId="50612f1b-df2d-47bb-8fdd-7ddedc83fc7e" providerId="ADAL" clId="{5CBE12F2-F3C8-4DCE-AD77-5EBD7EED8DBF}" dt="2024-03-24T04:49:27.275" v="2313"/>
          <ac:picMkLst>
            <pc:docMk/>
            <pc:sldMk cId="445871252" sldId="2146847625"/>
            <ac:picMk id="12" creationId="{17EB4178-5F67-AA22-F714-F91BBDFA1060}"/>
          </ac:picMkLst>
        </pc:picChg>
        <pc:picChg chg="del mod">
          <ac:chgData name="Mikami, Maho" userId="50612f1b-df2d-47bb-8fdd-7ddedc83fc7e" providerId="ADAL" clId="{5CBE12F2-F3C8-4DCE-AD77-5EBD7EED8DBF}" dt="2024-03-24T06:28:02.965" v="4281" actId="478"/>
          <ac:picMkLst>
            <pc:docMk/>
            <pc:sldMk cId="445871252" sldId="2146847625"/>
            <ac:picMk id="13" creationId="{CD0AC230-9A39-5577-B60C-0A676D2EDE4D}"/>
          </ac:picMkLst>
        </pc:picChg>
        <pc:cxnChg chg="mod">
          <ac:chgData name="Mikami, Maho" userId="50612f1b-df2d-47bb-8fdd-7ddedc83fc7e" providerId="ADAL" clId="{5CBE12F2-F3C8-4DCE-AD77-5EBD7EED8DBF}" dt="2024-03-24T06:28:03.283" v="4282"/>
          <ac:cxnSpMkLst>
            <pc:docMk/>
            <pc:sldMk cId="445871252" sldId="2146847625"/>
            <ac:cxnSpMk id="31" creationId="{4FB4FF0F-D170-4CAE-5140-A5320125AAAB}"/>
          </ac:cxnSpMkLst>
        </pc:cxnChg>
        <pc:cxnChg chg="mod">
          <ac:chgData name="Mikami, Maho" userId="50612f1b-df2d-47bb-8fdd-7ddedc83fc7e" providerId="ADAL" clId="{5CBE12F2-F3C8-4DCE-AD77-5EBD7EED8DBF}" dt="2024-03-24T06:28:03.283" v="4282"/>
          <ac:cxnSpMkLst>
            <pc:docMk/>
            <pc:sldMk cId="445871252" sldId="2146847625"/>
            <ac:cxnSpMk id="32" creationId="{91CA73FE-44C3-2B94-8454-E22D4C9968DD}"/>
          </ac:cxnSpMkLst>
        </pc:cxnChg>
        <pc:cxnChg chg="mod">
          <ac:chgData name="Mikami, Maho" userId="50612f1b-df2d-47bb-8fdd-7ddedc83fc7e" providerId="ADAL" clId="{5CBE12F2-F3C8-4DCE-AD77-5EBD7EED8DBF}" dt="2024-03-24T06:28:03.283" v="4282"/>
          <ac:cxnSpMkLst>
            <pc:docMk/>
            <pc:sldMk cId="445871252" sldId="2146847625"/>
            <ac:cxnSpMk id="40" creationId="{DFFDFC30-1422-06B2-0C1B-B1D4CB7D27FC}"/>
          </ac:cxnSpMkLst>
        </pc:cxnChg>
        <pc:cxnChg chg="mod">
          <ac:chgData name="Mikami, Maho" userId="50612f1b-df2d-47bb-8fdd-7ddedc83fc7e" providerId="ADAL" clId="{5CBE12F2-F3C8-4DCE-AD77-5EBD7EED8DBF}" dt="2024-03-24T06:28:03.283" v="4282"/>
          <ac:cxnSpMkLst>
            <pc:docMk/>
            <pc:sldMk cId="445871252" sldId="2146847625"/>
            <ac:cxnSpMk id="43" creationId="{E0C292A1-1B6D-9EDD-3E11-78BFAA45F630}"/>
          </ac:cxnSpMkLst>
        </pc:cxnChg>
        <pc:cxnChg chg="mod">
          <ac:chgData name="Mikami, Maho" userId="50612f1b-df2d-47bb-8fdd-7ddedc83fc7e" providerId="ADAL" clId="{5CBE12F2-F3C8-4DCE-AD77-5EBD7EED8DBF}" dt="2024-03-24T06:28:03.283" v="4282"/>
          <ac:cxnSpMkLst>
            <pc:docMk/>
            <pc:sldMk cId="445871252" sldId="2146847625"/>
            <ac:cxnSpMk id="44" creationId="{F921B1FF-D71F-E44A-FB58-91CB10420CCF}"/>
          </ac:cxnSpMkLst>
        </pc:cxnChg>
        <pc:cxnChg chg="mod">
          <ac:chgData name="Mikami, Maho" userId="50612f1b-df2d-47bb-8fdd-7ddedc83fc7e" providerId="ADAL" clId="{5CBE12F2-F3C8-4DCE-AD77-5EBD7EED8DBF}" dt="2024-03-24T06:28:03.283" v="4282"/>
          <ac:cxnSpMkLst>
            <pc:docMk/>
            <pc:sldMk cId="445871252" sldId="2146847625"/>
            <ac:cxnSpMk id="45" creationId="{4BC6452C-9960-CC44-4048-A379D64FABE9}"/>
          </ac:cxnSpMkLst>
        </pc:cxnChg>
        <pc:cxnChg chg="mod">
          <ac:chgData name="Mikami, Maho" userId="50612f1b-df2d-47bb-8fdd-7ddedc83fc7e" providerId="ADAL" clId="{5CBE12F2-F3C8-4DCE-AD77-5EBD7EED8DBF}" dt="2024-03-24T06:28:03.283" v="4282"/>
          <ac:cxnSpMkLst>
            <pc:docMk/>
            <pc:sldMk cId="445871252" sldId="2146847625"/>
            <ac:cxnSpMk id="48" creationId="{FCC6821F-230F-E1A9-FBF5-ABB892FC4C42}"/>
          </ac:cxnSpMkLst>
        </pc:cxnChg>
        <pc:cxnChg chg="mod">
          <ac:chgData name="Mikami, Maho" userId="50612f1b-df2d-47bb-8fdd-7ddedc83fc7e" providerId="ADAL" clId="{5CBE12F2-F3C8-4DCE-AD77-5EBD7EED8DBF}" dt="2024-03-24T06:28:03.283" v="4282"/>
          <ac:cxnSpMkLst>
            <pc:docMk/>
            <pc:sldMk cId="445871252" sldId="2146847625"/>
            <ac:cxnSpMk id="49" creationId="{D8B29778-A151-AD47-6732-2C04464B0FCE}"/>
          </ac:cxnSpMkLst>
        </pc:cxnChg>
        <pc:cxnChg chg="mod">
          <ac:chgData name="Mikami, Maho" userId="50612f1b-df2d-47bb-8fdd-7ddedc83fc7e" providerId="ADAL" clId="{5CBE12F2-F3C8-4DCE-AD77-5EBD7EED8DBF}" dt="2024-03-24T06:28:03.283" v="4282"/>
          <ac:cxnSpMkLst>
            <pc:docMk/>
            <pc:sldMk cId="445871252" sldId="2146847625"/>
            <ac:cxnSpMk id="50" creationId="{6A3A4BD4-FC51-D0C1-8241-9C5C52294599}"/>
          </ac:cxnSpMkLst>
        </pc:cxnChg>
        <pc:cxnChg chg="mod">
          <ac:chgData name="Mikami, Maho" userId="50612f1b-df2d-47bb-8fdd-7ddedc83fc7e" providerId="ADAL" clId="{5CBE12F2-F3C8-4DCE-AD77-5EBD7EED8DBF}" dt="2024-03-24T06:28:03.283" v="4282"/>
          <ac:cxnSpMkLst>
            <pc:docMk/>
            <pc:sldMk cId="445871252" sldId="2146847625"/>
            <ac:cxnSpMk id="52" creationId="{EFFD1EDA-7334-CE44-A6EB-3E2895F538FD}"/>
          </ac:cxnSpMkLst>
        </pc:cxnChg>
        <pc:cxnChg chg="mod">
          <ac:chgData name="Mikami, Maho" userId="50612f1b-df2d-47bb-8fdd-7ddedc83fc7e" providerId="ADAL" clId="{5CBE12F2-F3C8-4DCE-AD77-5EBD7EED8DBF}" dt="2024-03-24T06:28:03.283" v="4282"/>
          <ac:cxnSpMkLst>
            <pc:docMk/>
            <pc:sldMk cId="445871252" sldId="2146847625"/>
            <ac:cxnSpMk id="53" creationId="{71DBF95C-D1B4-96FF-74FD-32E26A401CD1}"/>
          </ac:cxnSpMkLst>
        </pc:cxnChg>
        <pc:cxnChg chg="mod">
          <ac:chgData name="Mikami, Maho" userId="50612f1b-df2d-47bb-8fdd-7ddedc83fc7e" providerId="ADAL" clId="{5CBE12F2-F3C8-4DCE-AD77-5EBD7EED8DBF}" dt="2024-03-24T06:28:03.283" v="4282"/>
          <ac:cxnSpMkLst>
            <pc:docMk/>
            <pc:sldMk cId="445871252" sldId="2146847625"/>
            <ac:cxnSpMk id="54" creationId="{1D345E62-9938-9D80-1B71-0A3EC6095B01}"/>
          </ac:cxnSpMkLst>
        </pc:cxnChg>
        <pc:cxnChg chg="mod">
          <ac:chgData name="Mikami, Maho" userId="50612f1b-df2d-47bb-8fdd-7ddedc83fc7e" providerId="ADAL" clId="{5CBE12F2-F3C8-4DCE-AD77-5EBD7EED8DBF}" dt="2024-03-24T06:28:03.283" v="4282"/>
          <ac:cxnSpMkLst>
            <pc:docMk/>
            <pc:sldMk cId="445871252" sldId="2146847625"/>
            <ac:cxnSpMk id="55" creationId="{20DD0B5C-724E-CC16-F3CE-B1C052513DCD}"/>
          </ac:cxnSpMkLst>
        </pc:cxnChg>
        <pc:cxnChg chg="mod">
          <ac:chgData name="Mikami, Maho" userId="50612f1b-df2d-47bb-8fdd-7ddedc83fc7e" providerId="ADAL" clId="{5CBE12F2-F3C8-4DCE-AD77-5EBD7EED8DBF}" dt="2024-03-24T06:28:03.283" v="4282"/>
          <ac:cxnSpMkLst>
            <pc:docMk/>
            <pc:sldMk cId="445871252" sldId="2146847625"/>
            <ac:cxnSpMk id="59" creationId="{B02F92C3-3391-76A1-E1A9-0774A1AA57A9}"/>
          </ac:cxnSpMkLst>
        </pc:cxnChg>
        <pc:cxnChg chg="mod">
          <ac:chgData name="Mikami, Maho" userId="50612f1b-df2d-47bb-8fdd-7ddedc83fc7e" providerId="ADAL" clId="{5CBE12F2-F3C8-4DCE-AD77-5EBD7EED8DBF}" dt="2024-03-24T06:28:03.283" v="4282"/>
          <ac:cxnSpMkLst>
            <pc:docMk/>
            <pc:sldMk cId="445871252" sldId="2146847625"/>
            <ac:cxnSpMk id="60" creationId="{D40F6032-3681-1A0F-3FEA-6CBDFD64E2EB}"/>
          </ac:cxnSpMkLst>
        </pc:cxnChg>
        <pc:cxnChg chg="mod">
          <ac:chgData name="Mikami, Maho" userId="50612f1b-df2d-47bb-8fdd-7ddedc83fc7e" providerId="ADAL" clId="{5CBE12F2-F3C8-4DCE-AD77-5EBD7EED8DBF}" dt="2024-03-24T06:28:03.283" v="4282"/>
          <ac:cxnSpMkLst>
            <pc:docMk/>
            <pc:sldMk cId="445871252" sldId="2146847625"/>
            <ac:cxnSpMk id="61" creationId="{6F4D458C-4BFF-1F79-C9F7-2897AA63497D}"/>
          </ac:cxnSpMkLst>
        </pc:cxnChg>
        <pc:cxnChg chg="mod">
          <ac:chgData name="Mikami, Maho" userId="50612f1b-df2d-47bb-8fdd-7ddedc83fc7e" providerId="ADAL" clId="{5CBE12F2-F3C8-4DCE-AD77-5EBD7EED8DBF}" dt="2024-03-24T06:28:03.283" v="4282"/>
          <ac:cxnSpMkLst>
            <pc:docMk/>
            <pc:sldMk cId="445871252" sldId="2146847625"/>
            <ac:cxnSpMk id="62" creationId="{BD348B33-FBB6-7534-8AE0-033E56868331}"/>
          </ac:cxnSpMkLst>
        </pc:cxnChg>
        <pc:cxnChg chg="mod">
          <ac:chgData name="Mikami, Maho" userId="50612f1b-df2d-47bb-8fdd-7ddedc83fc7e" providerId="ADAL" clId="{5CBE12F2-F3C8-4DCE-AD77-5EBD7EED8DBF}" dt="2024-03-24T06:28:03.283" v="4282"/>
          <ac:cxnSpMkLst>
            <pc:docMk/>
            <pc:sldMk cId="445871252" sldId="2146847625"/>
            <ac:cxnSpMk id="63" creationId="{2F027574-8E71-56EB-36FE-81621F48C51D}"/>
          </ac:cxnSpMkLst>
        </pc:cxnChg>
        <pc:cxnChg chg="mod">
          <ac:chgData name="Mikami, Maho" userId="50612f1b-df2d-47bb-8fdd-7ddedc83fc7e" providerId="ADAL" clId="{5CBE12F2-F3C8-4DCE-AD77-5EBD7EED8DBF}" dt="2024-03-24T06:28:03.283" v="4282"/>
          <ac:cxnSpMkLst>
            <pc:docMk/>
            <pc:sldMk cId="445871252" sldId="2146847625"/>
            <ac:cxnSpMk id="64" creationId="{64A45FBD-7E09-42C1-CE29-3400548AD1AA}"/>
          </ac:cxnSpMkLst>
        </pc:cxnChg>
        <pc:cxnChg chg="mod">
          <ac:chgData name="Mikami, Maho" userId="50612f1b-df2d-47bb-8fdd-7ddedc83fc7e" providerId="ADAL" clId="{5CBE12F2-F3C8-4DCE-AD77-5EBD7EED8DBF}" dt="2024-03-24T06:28:03.283" v="4282"/>
          <ac:cxnSpMkLst>
            <pc:docMk/>
            <pc:sldMk cId="445871252" sldId="2146847625"/>
            <ac:cxnSpMk id="65" creationId="{B5F687C2-9CFC-C687-E274-7B13290AB7A6}"/>
          </ac:cxnSpMkLst>
        </pc:cxnChg>
        <pc:cxnChg chg="mod">
          <ac:chgData name="Mikami, Maho" userId="50612f1b-df2d-47bb-8fdd-7ddedc83fc7e" providerId="ADAL" clId="{5CBE12F2-F3C8-4DCE-AD77-5EBD7EED8DBF}" dt="2024-03-24T06:28:14.153" v="4286"/>
          <ac:cxnSpMkLst>
            <pc:docMk/>
            <pc:sldMk cId="445871252" sldId="2146847625"/>
            <ac:cxnSpMk id="78" creationId="{01A6ACA4-FA6A-AC44-B741-E35B25ED4669}"/>
          </ac:cxnSpMkLst>
        </pc:cxnChg>
        <pc:cxnChg chg="mod">
          <ac:chgData name="Mikami, Maho" userId="50612f1b-df2d-47bb-8fdd-7ddedc83fc7e" providerId="ADAL" clId="{5CBE12F2-F3C8-4DCE-AD77-5EBD7EED8DBF}" dt="2024-03-24T06:28:14.153" v="4286"/>
          <ac:cxnSpMkLst>
            <pc:docMk/>
            <pc:sldMk cId="445871252" sldId="2146847625"/>
            <ac:cxnSpMk id="79" creationId="{1A2E0E9C-5174-503F-3B7C-45258A033792}"/>
          </ac:cxnSpMkLst>
        </pc:cxnChg>
        <pc:cxnChg chg="mod">
          <ac:chgData name="Mikami, Maho" userId="50612f1b-df2d-47bb-8fdd-7ddedc83fc7e" providerId="ADAL" clId="{5CBE12F2-F3C8-4DCE-AD77-5EBD7EED8DBF}" dt="2024-03-24T06:28:14.153" v="4286"/>
          <ac:cxnSpMkLst>
            <pc:docMk/>
            <pc:sldMk cId="445871252" sldId="2146847625"/>
            <ac:cxnSpMk id="87" creationId="{65010A16-EE77-A33C-C7C6-D653B9E3616B}"/>
          </ac:cxnSpMkLst>
        </pc:cxnChg>
        <pc:cxnChg chg="mod">
          <ac:chgData name="Mikami, Maho" userId="50612f1b-df2d-47bb-8fdd-7ddedc83fc7e" providerId="ADAL" clId="{5CBE12F2-F3C8-4DCE-AD77-5EBD7EED8DBF}" dt="2024-03-24T06:28:14.153" v="4286"/>
          <ac:cxnSpMkLst>
            <pc:docMk/>
            <pc:sldMk cId="445871252" sldId="2146847625"/>
            <ac:cxnSpMk id="90" creationId="{18406879-F6B1-612C-442A-49394E342D11}"/>
          </ac:cxnSpMkLst>
        </pc:cxnChg>
        <pc:cxnChg chg="mod">
          <ac:chgData name="Mikami, Maho" userId="50612f1b-df2d-47bb-8fdd-7ddedc83fc7e" providerId="ADAL" clId="{5CBE12F2-F3C8-4DCE-AD77-5EBD7EED8DBF}" dt="2024-03-24T06:28:14.153" v="4286"/>
          <ac:cxnSpMkLst>
            <pc:docMk/>
            <pc:sldMk cId="445871252" sldId="2146847625"/>
            <ac:cxnSpMk id="91" creationId="{74EF9470-C417-947B-61B2-31ECBEED5D7B}"/>
          </ac:cxnSpMkLst>
        </pc:cxnChg>
        <pc:cxnChg chg="mod">
          <ac:chgData name="Mikami, Maho" userId="50612f1b-df2d-47bb-8fdd-7ddedc83fc7e" providerId="ADAL" clId="{5CBE12F2-F3C8-4DCE-AD77-5EBD7EED8DBF}" dt="2024-03-24T06:28:14.153" v="4286"/>
          <ac:cxnSpMkLst>
            <pc:docMk/>
            <pc:sldMk cId="445871252" sldId="2146847625"/>
            <ac:cxnSpMk id="92" creationId="{412DF78C-04BD-DDE7-00CB-187A494D59A3}"/>
          </ac:cxnSpMkLst>
        </pc:cxnChg>
        <pc:cxnChg chg="mod">
          <ac:chgData name="Mikami, Maho" userId="50612f1b-df2d-47bb-8fdd-7ddedc83fc7e" providerId="ADAL" clId="{5CBE12F2-F3C8-4DCE-AD77-5EBD7EED8DBF}" dt="2024-03-24T06:28:14.153" v="4286"/>
          <ac:cxnSpMkLst>
            <pc:docMk/>
            <pc:sldMk cId="445871252" sldId="2146847625"/>
            <ac:cxnSpMk id="95" creationId="{CF45036A-F92B-707C-6F19-F7309AFA3B29}"/>
          </ac:cxnSpMkLst>
        </pc:cxnChg>
        <pc:cxnChg chg="mod">
          <ac:chgData name="Mikami, Maho" userId="50612f1b-df2d-47bb-8fdd-7ddedc83fc7e" providerId="ADAL" clId="{5CBE12F2-F3C8-4DCE-AD77-5EBD7EED8DBF}" dt="2024-03-24T06:28:14.153" v="4286"/>
          <ac:cxnSpMkLst>
            <pc:docMk/>
            <pc:sldMk cId="445871252" sldId="2146847625"/>
            <ac:cxnSpMk id="96" creationId="{C2C2E675-470C-6F8A-95B6-EDD422226783}"/>
          </ac:cxnSpMkLst>
        </pc:cxnChg>
        <pc:cxnChg chg="mod">
          <ac:chgData name="Mikami, Maho" userId="50612f1b-df2d-47bb-8fdd-7ddedc83fc7e" providerId="ADAL" clId="{5CBE12F2-F3C8-4DCE-AD77-5EBD7EED8DBF}" dt="2024-03-24T06:28:14.153" v="4286"/>
          <ac:cxnSpMkLst>
            <pc:docMk/>
            <pc:sldMk cId="445871252" sldId="2146847625"/>
            <ac:cxnSpMk id="97" creationId="{C0E9BA72-2286-CC14-E22B-4E88D2F8F321}"/>
          </ac:cxnSpMkLst>
        </pc:cxnChg>
        <pc:cxnChg chg="mod">
          <ac:chgData name="Mikami, Maho" userId="50612f1b-df2d-47bb-8fdd-7ddedc83fc7e" providerId="ADAL" clId="{5CBE12F2-F3C8-4DCE-AD77-5EBD7EED8DBF}" dt="2024-03-24T06:28:14.153" v="4286"/>
          <ac:cxnSpMkLst>
            <pc:docMk/>
            <pc:sldMk cId="445871252" sldId="2146847625"/>
            <ac:cxnSpMk id="99" creationId="{EE2F83BD-5B1E-1D43-5812-15AF7DEBD7D4}"/>
          </ac:cxnSpMkLst>
        </pc:cxnChg>
        <pc:cxnChg chg="mod">
          <ac:chgData name="Mikami, Maho" userId="50612f1b-df2d-47bb-8fdd-7ddedc83fc7e" providerId="ADAL" clId="{5CBE12F2-F3C8-4DCE-AD77-5EBD7EED8DBF}" dt="2024-03-24T06:28:14.153" v="4286"/>
          <ac:cxnSpMkLst>
            <pc:docMk/>
            <pc:sldMk cId="445871252" sldId="2146847625"/>
            <ac:cxnSpMk id="100" creationId="{FBD7E85F-C988-4A0C-7423-D2BC1623EB0C}"/>
          </ac:cxnSpMkLst>
        </pc:cxnChg>
        <pc:cxnChg chg="mod">
          <ac:chgData name="Mikami, Maho" userId="50612f1b-df2d-47bb-8fdd-7ddedc83fc7e" providerId="ADAL" clId="{5CBE12F2-F3C8-4DCE-AD77-5EBD7EED8DBF}" dt="2024-03-24T06:28:14.153" v="4286"/>
          <ac:cxnSpMkLst>
            <pc:docMk/>
            <pc:sldMk cId="445871252" sldId="2146847625"/>
            <ac:cxnSpMk id="101" creationId="{22FB1322-88D8-9DFD-A879-A672632E36F3}"/>
          </ac:cxnSpMkLst>
        </pc:cxnChg>
        <pc:cxnChg chg="mod">
          <ac:chgData name="Mikami, Maho" userId="50612f1b-df2d-47bb-8fdd-7ddedc83fc7e" providerId="ADAL" clId="{5CBE12F2-F3C8-4DCE-AD77-5EBD7EED8DBF}" dt="2024-03-24T06:28:14.153" v="4286"/>
          <ac:cxnSpMkLst>
            <pc:docMk/>
            <pc:sldMk cId="445871252" sldId="2146847625"/>
            <ac:cxnSpMk id="102" creationId="{458AFEBC-C695-DAA0-57F7-60461A143561}"/>
          </ac:cxnSpMkLst>
        </pc:cxnChg>
        <pc:cxnChg chg="mod">
          <ac:chgData name="Mikami, Maho" userId="50612f1b-df2d-47bb-8fdd-7ddedc83fc7e" providerId="ADAL" clId="{5CBE12F2-F3C8-4DCE-AD77-5EBD7EED8DBF}" dt="2024-03-24T06:28:14.153" v="4286"/>
          <ac:cxnSpMkLst>
            <pc:docMk/>
            <pc:sldMk cId="445871252" sldId="2146847625"/>
            <ac:cxnSpMk id="106" creationId="{E696C985-437C-75CD-217A-7DCDA911E0D5}"/>
          </ac:cxnSpMkLst>
        </pc:cxnChg>
        <pc:cxnChg chg="mod">
          <ac:chgData name="Mikami, Maho" userId="50612f1b-df2d-47bb-8fdd-7ddedc83fc7e" providerId="ADAL" clId="{5CBE12F2-F3C8-4DCE-AD77-5EBD7EED8DBF}" dt="2024-03-24T06:28:14.153" v="4286"/>
          <ac:cxnSpMkLst>
            <pc:docMk/>
            <pc:sldMk cId="445871252" sldId="2146847625"/>
            <ac:cxnSpMk id="107" creationId="{96AAA7C5-297D-0C72-B2E1-357AD3AC074E}"/>
          </ac:cxnSpMkLst>
        </pc:cxnChg>
        <pc:cxnChg chg="mod">
          <ac:chgData name="Mikami, Maho" userId="50612f1b-df2d-47bb-8fdd-7ddedc83fc7e" providerId="ADAL" clId="{5CBE12F2-F3C8-4DCE-AD77-5EBD7EED8DBF}" dt="2024-03-24T06:28:14.153" v="4286"/>
          <ac:cxnSpMkLst>
            <pc:docMk/>
            <pc:sldMk cId="445871252" sldId="2146847625"/>
            <ac:cxnSpMk id="108" creationId="{7A589CD3-DFAA-5BE2-5CA6-86C03C9FC0C7}"/>
          </ac:cxnSpMkLst>
        </pc:cxnChg>
        <pc:cxnChg chg="mod">
          <ac:chgData name="Mikami, Maho" userId="50612f1b-df2d-47bb-8fdd-7ddedc83fc7e" providerId="ADAL" clId="{5CBE12F2-F3C8-4DCE-AD77-5EBD7EED8DBF}" dt="2024-03-24T06:28:14.153" v="4286"/>
          <ac:cxnSpMkLst>
            <pc:docMk/>
            <pc:sldMk cId="445871252" sldId="2146847625"/>
            <ac:cxnSpMk id="109" creationId="{53A845D8-D521-C027-05C8-3FB7FEBF7AB1}"/>
          </ac:cxnSpMkLst>
        </pc:cxnChg>
        <pc:cxnChg chg="mod">
          <ac:chgData name="Mikami, Maho" userId="50612f1b-df2d-47bb-8fdd-7ddedc83fc7e" providerId="ADAL" clId="{5CBE12F2-F3C8-4DCE-AD77-5EBD7EED8DBF}" dt="2024-03-24T06:28:14.153" v="4286"/>
          <ac:cxnSpMkLst>
            <pc:docMk/>
            <pc:sldMk cId="445871252" sldId="2146847625"/>
            <ac:cxnSpMk id="110" creationId="{EF6A1FC0-1C0E-FD79-297A-EFFE25EA2544}"/>
          </ac:cxnSpMkLst>
        </pc:cxnChg>
        <pc:cxnChg chg="mod">
          <ac:chgData name="Mikami, Maho" userId="50612f1b-df2d-47bb-8fdd-7ddedc83fc7e" providerId="ADAL" clId="{5CBE12F2-F3C8-4DCE-AD77-5EBD7EED8DBF}" dt="2024-03-24T06:28:14.153" v="4286"/>
          <ac:cxnSpMkLst>
            <pc:docMk/>
            <pc:sldMk cId="445871252" sldId="2146847625"/>
            <ac:cxnSpMk id="111" creationId="{90F787D6-6144-20FC-CD49-5A2CD3D592EE}"/>
          </ac:cxnSpMkLst>
        </pc:cxnChg>
        <pc:cxnChg chg="mod">
          <ac:chgData name="Mikami, Maho" userId="50612f1b-df2d-47bb-8fdd-7ddedc83fc7e" providerId="ADAL" clId="{5CBE12F2-F3C8-4DCE-AD77-5EBD7EED8DBF}" dt="2024-03-24T06:28:14.153" v="4286"/>
          <ac:cxnSpMkLst>
            <pc:docMk/>
            <pc:sldMk cId="445871252" sldId="2146847625"/>
            <ac:cxnSpMk id="112" creationId="{CD5F883E-7DB6-D602-9865-1D7A38287AFB}"/>
          </ac:cxnSpMkLst>
        </pc:cxnChg>
        <pc:cxnChg chg="mod">
          <ac:chgData name="Mikami, Maho" userId="50612f1b-df2d-47bb-8fdd-7ddedc83fc7e" providerId="ADAL" clId="{5CBE12F2-F3C8-4DCE-AD77-5EBD7EED8DBF}" dt="2024-03-24T06:28:15.719" v="4287"/>
          <ac:cxnSpMkLst>
            <pc:docMk/>
            <pc:sldMk cId="445871252" sldId="2146847625"/>
            <ac:cxnSpMk id="125" creationId="{549DD3F9-A2F2-80E0-2445-81CCDF29112A}"/>
          </ac:cxnSpMkLst>
        </pc:cxnChg>
        <pc:cxnChg chg="mod">
          <ac:chgData name="Mikami, Maho" userId="50612f1b-df2d-47bb-8fdd-7ddedc83fc7e" providerId="ADAL" clId="{5CBE12F2-F3C8-4DCE-AD77-5EBD7EED8DBF}" dt="2024-03-24T06:28:15.719" v="4287"/>
          <ac:cxnSpMkLst>
            <pc:docMk/>
            <pc:sldMk cId="445871252" sldId="2146847625"/>
            <ac:cxnSpMk id="126" creationId="{9ECA5830-3758-E27D-BD60-248E3FD61E71}"/>
          </ac:cxnSpMkLst>
        </pc:cxnChg>
        <pc:cxnChg chg="mod">
          <ac:chgData name="Mikami, Maho" userId="50612f1b-df2d-47bb-8fdd-7ddedc83fc7e" providerId="ADAL" clId="{5CBE12F2-F3C8-4DCE-AD77-5EBD7EED8DBF}" dt="2024-03-24T06:28:15.719" v="4287"/>
          <ac:cxnSpMkLst>
            <pc:docMk/>
            <pc:sldMk cId="445871252" sldId="2146847625"/>
            <ac:cxnSpMk id="134" creationId="{7577F699-468F-C942-B934-0DEA8D6D5970}"/>
          </ac:cxnSpMkLst>
        </pc:cxnChg>
        <pc:cxnChg chg="mod">
          <ac:chgData name="Mikami, Maho" userId="50612f1b-df2d-47bb-8fdd-7ddedc83fc7e" providerId="ADAL" clId="{5CBE12F2-F3C8-4DCE-AD77-5EBD7EED8DBF}" dt="2024-03-24T06:28:15.719" v="4287"/>
          <ac:cxnSpMkLst>
            <pc:docMk/>
            <pc:sldMk cId="445871252" sldId="2146847625"/>
            <ac:cxnSpMk id="137" creationId="{E985DD72-36D8-5484-A477-4E5905B9F24B}"/>
          </ac:cxnSpMkLst>
        </pc:cxnChg>
        <pc:cxnChg chg="mod">
          <ac:chgData name="Mikami, Maho" userId="50612f1b-df2d-47bb-8fdd-7ddedc83fc7e" providerId="ADAL" clId="{5CBE12F2-F3C8-4DCE-AD77-5EBD7EED8DBF}" dt="2024-03-24T06:28:15.719" v="4287"/>
          <ac:cxnSpMkLst>
            <pc:docMk/>
            <pc:sldMk cId="445871252" sldId="2146847625"/>
            <ac:cxnSpMk id="138" creationId="{9B6700A6-114C-FCC5-1BEA-7C844E8D7A4F}"/>
          </ac:cxnSpMkLst>
        </pc:cxnChg>
        <pc:cxnChg chg="mod">
          <ac:chgData name="Mikami, Maho" userId="50612f1b-df2d-47bb-8fdd-7ddedc83fc7e" providerId="ADAL" clId="{5CBE12F2-F3C8-4DCE-AD77-5EBD7EED8DBF}" dt="2024-03-24T06:28:15.719" v="4287"/>
          <ac:cxnSpMkLst>
            <pc:docMk/>
            <pc:sldMk cId="445871252" sldId="2146847625"/>
            <ac:cxnSpMk id="139" creationId="{B6A96ACE-2A3C-0DE4-D4E8-F82F6512C2DD}"/>
          </ac:cxnSpMkLst>
        </pc:cxnChg>
        <pc:cxnChg chg="mod">
          <ac:chgData name="Mikami, Maho" userId="50612f1b-df2d-47bb-8fdd-7ddedc83fc7e" providerId="ADAL" clId="{5CBE12F2-F3C8-4DCE-AD77-5EBD7EED8DBF}" dt="2024-03-24T06:28:15.719" v="4287"/>
          <ac:cxnSpMkLst>
            <pc:docMk/>
            <pc:sldMk cId="445871252" sldId="2146847625"/>
            <ac:cxnSpMk id="142" creationId="{996E4118-0780-A57F-3E89-C5DDDE3BFAB5}"/>
          </ac:cxnSpMkLst>
        </pc:cxnChg>
        <pc:cxnChg chg="mod">
          <ac:chgData name="Mikami, Maho" userId="50612f1b-df2d-47bb-8fdd-7ddedc83fc7e" providerId="ADAL" clId="{5CBE12F2-F3C8-4DCE-AD77-5EBD7EED8DBF}" dt="2024-03-24T06:28:15.719" v="4287"/>
          <ac:cxnSpMkLst>
            <pc:docMk/>
            <pc:sldMk cId="445871252" sldId="2146847625"/>
            <ac:cxnSpMk id="143" creationId="{0B9CED95-2D78-6BDA-25DD-8EC571DC6A31}"/>
          </ac:cxnSpMkLst>
        </pc:cxnChg>
        <pc:cxnChg chg="mod">
          <ac:chgData name="Mikami, Maho" userId="50612f1b-df2d-47bb-8fdd-7ddedc83fc7e" providerId="ADAL" clId="{5CBE12F2-F3C8-4DCE-AD77-5EBD7EED8DBF}" dt="2024-03-24T06:28:15.719" v="4287"/>
          <ac:cxnSpMkLst>
            <pc:docMk/>
            <pc:sldMk cId="445871252" sldId="2146847625"/>
            <ac:cxnSpMk id="144" creationId="{88A458C9-2788-B63F-0184-4062DFAE7C58}"/>
          </ac:cxnSpMkLst>
        </pc:cxnChg>
        <pc:cxnChg chg="mod">
          <ac:chgData name="Mikami, Maho" userId="50612f1b-df2d-47bb-8fdd-7ddedc83fc7e" providerId="ADAL" clId="{5CBE12F2-F3C8-4DCE-AD77-5EBD7EED8DBF}" dt="2024-03-24T06:28:15.719" v="4287"/>
          <ac:cxnSpMkLst>
            <pc:docMk/>
            <pc:sldMk cId="445871252" sldId="2146847625"/>
            <ac:cxnSpMk id="146" creationId="{1474AE76-B188-ABB1-9CAA-0A4AB018A6DD}"/>
          </ac:cxnSpMkLst>
        </pc:cxnChg>
        <pc:cxnChg chg="mod">
          <ac:chgData name="Mikami, Maho" userId="50612f1b-df2d-47bb-8fdd-7ddedc83fc7e" providerId="ADAL" clId="{5CBE12F2-F3C8-4DCE-AD77-5EBD7EED8DBF}" dt="2024-03-24T06:28:15.719" v="4287"/>
          <ac:cxnSpMkLst>
            <pc:docMk/>
            <pc:sldMk cId="445871252" sldId="2146847625"/>
            <ac:cxnSpMk id="147" creationId="{473E2FAE-793B-0BA5-081F-6C3AC768AA2A}"/>
          </ac:cxnSpMkLst>
        </pc:cxnChg>
        <pc:cxnChg chg="mod">
          <ac:chgData name="Mikami, Maho" userId="50612f1b-df2d-47bb-8fdd-7ddedc83fc7e" providerId="ADAL" clId="{5CBE12F2-F3C8-4DCE-AD77-5EBD7EED8DBF}" dt="2024-03-24T06:28:15.719" v="4287"/>
          <ac:cxnSpMkLst>
            <pc:docMk/>
            <pc:sldMk cId="445871252" sldId="2146847625"/>
            <ac:cxnSpMk id="148" creationId="{90A80CBA-C484-0009-3611-C4AD26E7217B}"/>
          </ac:cxnSpMkLst>
        </pc:cxnChg>
        <pc:cxnChg chg="mod">
          <ac:chgData name="Mikami, Maho" userId="50612f1b-df2d-47bb-8fdd-7ddedc83fc7e" providerId="ADAL" clId="{5CBE12F2-F3C8-4DCE-AD77-5EBD7EED8DBF}" dt="2024-03-24T06:28:15.719" v="4287"/>
          <ac:cxnSpMkLst>
            <pc:docMk/>
            <pc:sldMk cId="445871252" sldId="2146847625"/>
            <ac:cxnSpMk id="149" creationId="{55326812-B1A9-0E82-27DF-40C933080EEF}"/>
          </ac:cxnSpMkLst>
        </pc:cxnChg>
        <pc:cxnChg chg="mod">
          <ac:chgData name="Mikami, Maho" userId="50612f1b-df2d-47bb-8fdd-7ddedc83fc7e" providerId="ADAL" clId="{5CBE12F2-F3C8-4DCE-AD77-5EBD7EED8DBF}" dt="2024-03-24T06:28:15.719" v="4287"/>
          <ac:cxnSpMkLst>
            <pc:docMk/>
            <pc:sldMk cId="445871252" sldId="2146847625"/>
            <ac:cxnSpMk id="153" creationId="{75BC0C6C-CAF0-82CD-A98C-9812A8E67BE3}"/>
          </ac:cxnSpMkLst>
        </pc:cxnChg>
        <pc:cxnChg chg="mod">
          <ac:chgData name="Mikami, Maho" userId="50612f1b-df2d-47bb-8fdd-7ddedc83fc7e" providerId="ADAL" clId="{5CBE12F2-F3C8-4DCE-AD77-5EBD7EED8DBF}" dt="2024-03-24T06:28:15.719" v="4287"/>
          <ac:cxnSpMkLst>
            <pc:docMk/>
            <pc:sldMk cId="445871252" sldId="2146847625"/>
            <ac:cxnSpMk id="154" creationId="{44071D73-F45C-506F-2BC6-E8E097051F66}"/>
          </ac:cxnSpMkLst>
        </pc:cxnChg>
        <pc:cxnChg chg="mod">
          <ac:chgData name="Mikami, Maho" userId="50612f1b-df2d-47bb-8fdd-7ddedc83fc7e" providerId="ADAL" clId="{5CBE12F2-F3C8-4DCE-AD77-5EBD7EED8DBF}" dt="2024-03-24T06:28:15.719" v="4287"/>
          <ac:cxnSpMkLst>
            <pc:docMk/>
            <pc:sldMk cId="445871252" sldId="2146847625"/>
            <ac:cxnSpMk id="155" creationId="{BAABD985-5FDC-D72F-969F-0D55CEDC0525}"/>
          </ac:cxnSpMkLst>
        </pc:cxnChg>
        <pc:cxnChg chg="mod">
          <ac:chgData name="Mikami, Maho" userId="50612f1b-df2d-47bb-8fdd-7ddedc83fc7e" providerId="ADAL" clId="{5CBE12F2-F3C8-4DCE-AD77-5EBD7EED8DBF}" dt="2024-03-24T06:28:15.719" v="4287"/>
          <ac:cxnSpMkLst>
            <pc:docMk/>
            <pc:sldMk cId="445871252" sldId="2146847625"/>
            <ac:cxnSpMk id="156" creationId="{D892A08A-228B-DF01-0696-09F66BAFC4CD}"/>
          </ac:cxnSpMkLst>
        </pc:cxnChg>
        <pc:cxnChg chg="mod">
          <ac:chgData name="Mikami, Maho" userId="50612f1b-df2d-47bb-8fdd-7ddedc83fc7e" providerId="ADAL" clId="{5CBE12F2-F3C8-4DCE-AD77-5EBD7EED8DBF}" dt="2024-03-24T06:28:15.719" v="4287"/>
          <ac:cxnSpMkLst>
            <pc:docMk/>
            <pc:sldMk cId="445871252" sldId="2146847625"/>
            <ac:cxnSpMk id="157" creationId="{495DE3A0-1007-C5B0-CA2F-3E903885C29E}"/>
          </ac:cxnSpMkLst>
        </pc:cxnChg>
        <pc:cxnChg chg="mod">
          <ac:chgData name="Mikami, Maho" userId="50612f1b-df2d-47bb-8fdd-7ddedc83fc7e" providerId="ADAL" clId="{5CBE12F2-F3C8-4DCE-AD77-5EBD7EED8DBF}" dt="2024-03-24T06:28:15.719" v="4287"/>
          <ac:cxnSpMkLst>
            <pc:docMk/>
            <pc:sldMk cId="445871252" sldId="2146847625"/>
            <ac:cxnSpMk id="158" creationId="{95B00BF2-3D98-D026-7870-94CE70E2CC58}"/>
          </ac:cxnSpMkLst>
        </pc:cxnChg>
        <pc:cxnChg chg="mod">
          <ac:chgData name="Mikami, Maho" userId="50612f1b-df2d-47bb-8fdd-7ddedc83fc7e" providerId="ADAL" clId="{5CBE12F2-F3C8-4DCE-AD77-5EBD7EED8DBF}" dt="2024-03-24T06:28:15.719" v="4287"/>
          <ac:cxnSpMkLst>
            <pc:docMk/>
            <pc:sldMk cId="445871252" sldId="2146847625"/>
            <ac:cxnSpMk id="159" creationId="{D409F483-3FAB-E6B9-6782-1CDEBB9756B5}"/>
          </ac:cxnSpMkLst>
        </pc:cxnChg>
      </pc:sldChg>
      <pc:sldChg chg="add del">
        <pc:chgData name="Mikami, Maho" userId="50612f1b-df2d-47bb-8fdd-7ddedc83fc7e" providerId="ADAL" clId="{5CBE12F2-F3C8-4DCE-AD77-5EBD7EED8DBF}" dt="2024-03-24T06:28:39.548" v="4353" actId="47"/>
        <pc:sldMkLst>
          <pc:docMk/>
          <pc:sldMk cId="873623441" sldId="2147377906"/>
        </pc:sldMkLst>
      </pc:sldChg>
      <pc:sldChg chg="del">
        <pc:chgData name="Mikami, Maho" userId="50612f1b-df2d-47bb-8fdd-7ddedc83fc7e" providerId="ADAL" clId="{5CBE12F2-F3C8-4DCE-AD77-5EBD7EED8DBF}" dt="2024-03-24T06:23:05.322" v="4132" actId="47"/>
        <pc:sldMkLst>
          <pc:docMk/>
          <pc:sldMk cId="3958614740" sldId="2147378631"/>
        </pc:sldMkLst>
      </pc:sldChg>
      <pc:sldChg chg="delSp modSp mod">
        <pc:chgData name="Mikami, Maho" userId="50612f1b-df2d-47bb-8fdd-7ddedc83fc7e" providerId="ADAL" clId="{5CBE12F2-F3C8-4DCE-AD77-5EBD7EED8DBF}" dt="2024-03-24T07:05:50.502" v="4917" actId="478"/>
        <pc:sldMkLst>
          <pc:docMk/>
          <pc:sldMk cId="2852443830" sldId="2147378632"/>
        </pc:sldMkLst>
        <pc:spChg chg="del mod">
          <ac:chgData name="Mikami, Maho" userId="50612f1b-df2d-47bb-8fdd-7ddedc83fc7e" providerId="ADAL" clId="{5CBE12F2-F3C8-4DCE-AD77-5EBD7EED8DBF}" dt="2024-03-24T07:05:50.502" v="4917" actId="478"/>
          <ac:spMkLst>
            <pc:docMk/>
            <pc:sldMk cId="2852443830" sldId="2147378632"/>
            <ac:spMk id="3" creationId="{4B3CE172-D199-01B5-37C0-A7F49A5FC9A9}"/>
          </ac:spMkLst>
        </pc:spChg>
        <pc:spChg chg="mod">
          <ac:chgData name="Mikami, Maho" userId="50612f1b-df2d-47bb-8fdd-7ddedc83fc7e" providerId="ADAL" clId="{5CBE12F2-F3C8-4DCE-AD77-5EBD7EED8DBF}" dt="2024-03-24T07:05:49.213" v="4916" actId="1076"/>
          <ac:spMkLst>
            <pc:docMk/>
            <pc:sldMk cId="2852443830" sldId="2147378632"/>
            <ac:spMk id="11" creationId="{2185EA67-61D9-4064-809F-BA3B5CE98408}"/>
          </ac:spMkLst>
        </pc:spChg>
        <pc:graphicFrameChg chg="mod modGraphic">
          <ac:chgData name="Mikami, Maho" userId="50612f1b-df2d-47bb-8fdd-7ddedc83fc7e" providerId="ADAL" clId="{5CBE12F2-F3C8-4DCE-AD77-5EBD7EED8DBF}" dt="2024-03-24T05:02:35.604" v="3059" actId="115"/>
          <ac:graphicFrameMkLst>
            <pc:docMk/>
            <pc:sldMk cId="2852443830" sldId="2147378632"/>
            <ac:graphicFrameMk id="6" creationId="{B55303B4-CE87-4811-3F7F-A140D7D12FA2}"/>
          </ac:graphicFrameMkLst>
        </pc:graphicFrameChg>
      </pc:sldChg>
      <pc:sldChg chg="modSp del mod">
        <pc:chgData name="Mikami, Maho" userId="50612f1b-df2d-47bb-8fdd-7ddedc83fc7e" providerId="ADAL" clId="{5CBE12F2-F3C8-4DCE-AD77-5EBD7EED8DBF}" dt="2024-03-24T06:23:10.246" v="4134" actId="47"/>
        <pc:sldMkLst>
          <pc:docMk/>
          <pc:sldMk cId="813696313" sldId="2147378633"/>
        </pc:sldMkLst>
        <pc:spChg chg="mod">
          <ac:chgData name="Mikami, Maho" userId="50612f1b-df2d-47bb-8fdd-7ddedc83fc7e" providerId="ADAL" clId="{5CBE12F2-F3C8-4DCE-AD77-5EBD7EED8DBF}" dt="2024-03-24T05:00:15.552" v="2881" actId="20577"/>
          <ac:spMkLst>
            <pc:docMk/>
            <pc:sldMk cId="813696313" sldId="2147378633"/>
            <ac:spMk id="10" creationId="{80E6EF29-A9F8-46B2-8DDE-5092A65E485F}"/>
          </ac:spMkLst>
        </pc:spChg>
      </pc:sldChg>
      <pc:sldChg chg="del">
        <pc:chgData name="Mikami, Maho" userId="50612f1b-df2d-47bb-8fdd-7ddedc83fc7e" providerId="ADAL" clId="{5CBE12F2-F3C8-4DCE-AD77-5EBD7EED8DBF}" dt="2024-03-24T06:23:42.375" v="4221" actId="47"/>
        <pc:sldMkLst>
          <pc:docMk/>
          <pc:sldMk cId="2542649328" sldId="2147378635"/>
        </pc:sldMkLst>
      </pc:sldChg>
      <pc:sldChg chg="del">
        <pc:chgData name="Mikami, Maho" userId="50612f1b-df2d-47bb-8fdd-7ddedc83fc7e" providerId="ADAL" clId="{5CBE12F2-F3C8-4DCE-AD77-5EBD7EED8DBF}" dt="2024-03-24T06:23:55.476" v="4225" actId="47"/>
        <pc:sldMkLst>
          <pc:docMk/>
          <pc:sldMk cId="280400123" sldId="2147378639"/>
        </pc:sldMkLst>
      </pc:sldChg>
      <pc:sldChg chg="modSp mod">
        <pc:chgData name="Mikami, Maho" userId="50612f1b-df2d-47bb-8fdd-7ddedc83fc7e" providerId="ADAL" clId="{5CBE12F2-F3C8-4DCE-AD77-5EBD7EED8DBF}" dt="2024-03-24T06:20:11.531" v="3879" actId="20577"/>
        <pc:sldMkLst>
          <pc:docMk/>
          <pc:sldMk cId="1869527861" sldId="2147378640"/>
        </pc:sldMkLst>
        <pc:spChg chg="mod">
          <ac:chgData name="Mikami, Maho" userId="50612f1b-df2d-47bb-8fdd-7ddedc83fc7e" providerId="ADAL" clId="{5CBE12F2-F3C8-4DCE-AD77-5EBD7EED8DBF}" dt="2024-03-24T06:20:11.531" v="3879" actId="20577"/>
          <ac:spMkLst>
            <pc:docMk/>
            <pc:sldMk cId="1869527861" sldId="2147378640"/>
            <ac:spMk id="10" creationId="{80E6EF29-A9F8-46B2-8DDE-5092A65E485F}"/>
          </ac:spMkLst>
        </pc:spChg>
      </pc:sldChg>
      <pc:sldChg chg="addSp modSp mod">
        <pc:chgData name="Mikami, Maho" userId="50612f1b-df2d-47bb-8fdd-7ddedc83fc7e" providerId="ADAL" clId="{5CBE12F2-F3C8-4DCE-AD77-5EBD7EED8DBF}" dt="2024-03-24T07:18:30.170" v="5990"/>
        <pc:sldMkLst>
          <pc:docMk/>
          <pc:sldMk cId="2971655775" sldId="2147378641"/>
        </pc:sldMkLst>
        <pc:spChg chg="add mod">
          <ac:chgData name="Mikami, Maho" userId="50612f1b-df2d-47bb-8fdd-7ddedc83fc7e" providerId="ADAL" clId="{5CBE12F2-F3C8-4DCE-AD77-5EBD7EED8DBF}" dt="2024-03-24T07:18:30.170" v="5990"/>
          <ac:spMkLst>
            <pc:docMk/>
            <pc:sldMk cId="2971655775" sldId="2147378641"/>
            <ac:spMk id="3" creationId="{94B4F4C3-E924-5C09-6C05-B7ACDED17F33}"/>
          </ac:spMkLst>
        </pc:spChg>
        <pc:spChg chg="mod">
          <ac:chgData name="Mikami, Maho" userId="50612f1b-df2d-47bb-8fdd-7ddedc83fc7e" providerId="ADAL" clId="{5CBE12F2-F3C8-4DCE-AD77-5EBD7EED8DBF}" dt="2024-03-24T04:55:12.415" v="2701" actId="948"/>
          <ac:spMkLst>
            <pc:docMk/>
            <pc:sldMk cId="2971655775" sldId="2147378641"/>
            <ac:spMk id="9" creationId="{D22A0A06-D5A8-4A1A-B66F-2A8EDBD644F1}"/>
          </ac:spMkLst>
        </pc:spChg>
        <pc:graphicFrameChg chg="mod">
          <ac:chgData name="Mikami, Maho" userId="50612f1b-df2d-47bb-8fdd-7ddedc83fc7e" providerId="ADAL" clId="{5CBE12F2-F3C8-4DCE-AD77-5EBD7EED8DBF}" dt="2024-03-24T04:55:12.430" v="2705"/>
          <ac:graphicFrameMkLst>
            <pc:docMk/>
            <pc:sldMk cId="2971655775" sldId="2147378641"/>
            <ac:graphicFrameMk id="5" creationId="{E78F9D36-5310-41D4-8608-5BFFDB0F22CA}"/>
          </ac:graphicFrameMkLst>
        </pc:graphicFrameChg>
      </pc:sldChg>
      <pc:sldChg chg="del">
        <pc:chgData name="Mikami, Maho" userId="50612f1b-df2d-47bb-8fdd-7ddedc83fc7e" providerId="ADAL" clId="{5CBE12F2-F3C8-4DCE-AD77-5EBD7EED8DBF}" dt="2024-03-24T06:34:30.331" v="4691" actId="47"/>
        <pc:sldMkLst>
          <pc:docMk/>
          <pc:sldMk cId="1188370737" sldId="2147378642"/>
        </pc:sldMkLst>
      </pc:sldChg>
      <pc:sldChg chg="addSp delSp modSp mod">
        <pc:chgData name="Mikami, Maho" userId="50612f1b-df2d-47bb-8fdd-7ddedc83fc7e" providerId="ADAL" clId="{5CBE12F2-F3C8-4DCE-AD77-5EBD7EED8DBF}" dt="2024-03-24T07:31:31.580" v="6780" actId="1035"/>
        <pc:sldMkLst>
          <pc:docMk/>
          <pc:sldMk cId="1805811011" sldId="2147378643"/>
        </pc:sldMkLst>
        <pc:spChg chg="del mod">
          <ac:chgData name="Mikami, Maho" userId="50612f1b-df2d-47bb-8fdd-7ddedc83fc7e" providerId="ADAL" clId="{5CBE12F2-F3C8-4DCE-AD77-5EBD7EED8DBF}" dt="2024-03-24T06:33:03.359" v="4558" actId="478"/>
          <ac:spMkLst>
            <pc:docMk/>
            <pc:sldMk cId="1805811011" sldId="2147378643"/>
            <ac:spMk id="3" creationId="{2B47DAB3-CE80-8ABF-3197-237049204C09}"/>
          </ac:spMkLst>
        </pc:spChg>
        <pc:spChg chg="add mod">
          <ac:chgData name="Mikami, Maho" userId="50612f1b-df2d-47bb-8fdd-7ddedc83fc7e" providerId="ADAL" clId="{5CBE12F2-F3C8-4DCE-AD77-5EBD7EED8DBF}" dt="2024-03-24T06:33:39.620" v="4625" actId="20577"/>
          <ac:spMkLst>
            <pc:docMk/>
            <pc:sldMk cId="1805811011" sldId="2147378643"/>
            <ac:spMk id="4" creationId="{78A6158B-C9C8-BC24-B780-F2E8C3167CB7}"/>
          </ac:spMkLst>
        </pc:spChg>
        <pc:spChg chg="add mod">
          <ac:chgData name="Mikami, Maho" userId="50612f1b-df2d-47bb-8fdd-7ddedc83fc7e" providerId="ADAL" clId="{5CBE12F2-F3C8-4DCE-AD77-5EBD7EED8DBF}" dt="2024-03-24T07:31:31.580" v="6780" actId="1035"/>
          <ac:spMkLst>
            <pc:docMk/>
            <pc:sldMk cId="1805811011" sldId="2147378643"/>
            <ac:spMk id="7" creationId="{64324C95-6697-EA74-E1BA-7DBD14662868}"/>
          </ac:spMkLst>
        </pc:spChg>
        <pc:spChg chg="add mod">
          <ac:chgData name="Mikami, Maho" userId="50612f1b-df2d-47bb-8fdd-7ddedc83fc7e" providerId="ADAL" clId="{5CBE12F2-F3C8-4DCE-AD77-5EBD7EED8DBF}" dt="2024-03-24T07:31:27.951" v="6771"/>
          <ac:spMkLst>
            <pc:docMk/>
            <pc:sldMk cId="1805811011" sldId="2147378643"/>
            <ac:spMk id="8" creationId="{CB55F509-E4B5-D1B3-0847-4D548304DBD8}"/>
          </ac:spMkLst>
        </pc:spChg>
        <pc:spChg chg="mod">
          <ac:chgData name="Mikami, Maho" userId="50612f1b-df2d-47bb-8fdd-7ddedc83fc7e" providerId="ADAL" clId="{5CBE12F2-F3C8-4DCE-AD77-5EBD7EED8DBF}" dt="2024-03-24T06:33:16.207" v="4566" actId="948"/>
          <ac:spMkLst>
            <pc:docMk/>
            <pc:sldMk cId="1805811011" sldId="2147378643"/>
            <ac:spMk id="9" creationId="{AE399A2B-7760-B687-0FFA-C43A562B0500}"/>
          </ac:spMkLst>
        </pc:spChg>
        <pc:graphicFrameChg chg="mod">
          <ac:chgData name="Mikami, Maho" userId="50612f1b-df2d-47bb-8fdd-7ddedc83fc7e" providerId="ADAL" clId="{5CBE12F2-F3C8-4DCE-AD77-5EBD7EED8DBF}" dt="2024-03-24T06:33:16.220" v="4570"/>
          <ac:graphicFrameMkLst>
            <pc:docMk/>
            <pc:sldMk cId="1805811011" sldId="2147378643"/>
            <ac:graphicFrameMk id="5" creationId="{C2B6F089-FB91-CDC8-7303-932DF8BCCE89}"/>
          </ac:graphicFrameMkLst>
        </pc:graphicFrameChg>
        <pc:graphicFrameChg chg="modGraphic">
          <ac:chgData name="Mikami, Maho" userId="50612f1b-df2d-47bb-8fdd-7ddedc83fc7e" providerId="ADAL" clId="{5CBE12F2-F3C8-4DCE-AD77-5EBD7EED8DBF}" dt="2024-03-24T04:11:39.487" v="1934" actId="2164"/>
          <ac:graphicFrameMkLst>
            <pc:docMk/>
            <pc:sldMk cId="1805811011" sldId="2147378643"/>
            <ac:graphicFrameMk id="13" creationId="{50E9E96A-FD26-603D-DD3F-FD8D762A7EBB}"/>
          </ac:graphicFrameMkLst>
        </pc:graphicFrameChg>
      </pc:sldChg>
      <pc:sldChg chg="addSp delSp modSp mod">
        <pc:chgData name="Mikami, Maho" userId="50612f1b-df2d-47bb-8fdd-7ddedc83fc7e" providerId="ADAL" clId="{5CBE12F2-F3C8-4DCE-AD77-5EBD7EED8DBF}" dt="2024-03-24T07:31:03.695" v="6707" actId="1035"/>
        <pc:sldMkLst>
          <pc:docMk/>
          <pc:sldMk cId="4186158384" sldId="2147378644"/>
        </pc:sldMkLst>
        <pc:spChg chg="mod">
          <ac:chgData name="Mikami, Maho" userId="50612f1b-df2d-47bb-8fdd-7ddedc83fc7e" providerId="ADAL" clId="{5CBE12F2-F3C8-4DCE-AD77-5EBD7EED8DBF}" dt="2024-03-24T04:01:38.547" v="1644"/>
          <ac:spMkLst>
            <pc:docMk/>
            <pc:sldMk cId="4186158384" sldId="2147378644"/>
            <ac:spMk id="3" creationId="{092C27A8-BB62-72B8-B8C0-F8AF62BE1C59}"/>
          </ac:spMkLst>
        </pc:spChg>
        <pc:spChg chg="mod">
          <ac:chgData name="Mikami, Maho" userId="50612f1b-df2d-47bb-8fdd-7ddedc83fc7e" providerId="ADAL" clId="{5CBE12F2-F3C8-4DCE-AD77-5EBD7EED8DBF}" dt="2024-03-24T04:55:53.727" v="2724" actId="948"/>
          <ac:spMkLst>
            <pc:docMk/>
            <pc:sldMk cId="4186158384" sldId="2147378644"/>
            <ac:spMk id="4" creationId="{9A77793A-6FD1-95D9-8A62-34EA102E3C19}"/>
          </ac:spMkLst>
        </pc:spChg>
        <pc:spChg chg="add mod">
          <ac:chgData name="Mikami, Maho" userId="50612f1b-df2d-47bb-8fdd-7ddedc83fc7e" providerId="ADAL" clId="{5CBE12F2-F3C8-4DCE-AD77-5EBD7EED8DBF}" dt="2024-03-24T07:07:44.393" v="4975" actId="14100"/>
          <ac:spMkLst>
            <pc:docMk/>
            <pc:sldMk cId="4186158384" sldId="2147378644"/>
            <ac:spMk id="5" creationId="{5929DA61-9492-16C6-77EC-2F6154CAB4D5}"/>
          </ac:spMkLst>
        </pc:spChg>
        <pc:spChg chg="del mod">
          <ac:chgData name="Mikami, Maho" userId="50612f1b-df2d-47bb-8fdd-7ddedc83fc7e" providerId="ADAL" clId="{5CBE12F2-F3C8-4DCE-AD77-5EBD7EED8DBF}" dt="2024-03-24T07:03:06.225" v="4692" actId="478"/>
          <ac:spMkLst>
            <pc:docMk/>
            <pc:sldMk cId="4186158384" sldId="2147378644"/>
            <ac:spMk id="7" creationId="{222C1F65-A6E5-C874-BDE7-97EE38DA79D2}"/>
          </ac:spMkLst>
        </pc:spChg>
        <pc:spChg chg="mod">
          <ac:chgData name="Mikami, Maho" userId="50612f1b-df2d-47bb-8fdd-7ddedc83fc7e" providerId="ADAL" clId="{5CBE12F2-F3C8-4DCE-AD77-5EBD7EED8DBF}" dt="2024-03-24T07:06:31.301" v="4946" actId="1035"/>
          <ac:spMkLst>
            <pc:docMk/>
            <pc:sldMk cId="4186158384" sldId="2147378644"/>
            <ac:spMk id="10" creationId="{03A39EDF-8745-AF9D-17B2-B285ECED9F56}"/>
          </ac:spMkLst>
        </pc:spChg>
        <pc:spChg chg="mod">
          <ac:chgData name="Mikami, Maho" userId="50612f1b-df2d-47bb-8fdd-7ddedc83fc7e" providerId="ADAL" clId="{5CBE12F2-F3C8-4DCE-AD77-5EBD7EED8DBF}" dt="2024-03-24T07:07:36.519" v="4973" actId="1035"/>
          <ac:spMkLst>
            <pc:docMk/>
            <pc:sldMk cId="4186158384" sldId="2147378644"/>
            <ac:spMk id="12" creationId="{7DDB96D5-A9F5-444E-2565-C271B5960BA4}"/>
          </ac:spMkLst>
        </pc:spChg>
        <pc:spChg chg="add del mod">
          <ac:chgData name="Mikami, Maho" userId="50612f1b-df2d-47bb-8fdd-7ddedc83fc7e" providerId="ADAL" clId="{5CBE12F2-F3C8-4DCE-AD77-5EBD7EED8DBF}" dt="2024-03-24T07:07:14.003" v="4966" actId="478"/>
          <ac:spMkLst>
            <pc:docMk/>
            <pc:sldMk cId="4186158384" sldId="2147378644"/>
            <ac:spMk id="16" creationId="{D82731B7-5750-703C-4B7E-BF51E0DCA3F7}"/>
          </ac:spMkLst>
        </pc:spChg>
        <pc:spChg chg="add del mod">
          <ac:chgData name="Mikami, Maho" userId="50612f1b-df2d-47bb-8fdd-7ddedc83fc7e" providerId="ADAL" clId="{5CBE12F2-F3C8-4DCE-AD77-5EBD7EED8DBF}" dt="2024-03-24T07:08:23.850" v="5072" actId="478"/>
          <ac:spMkLst>
            <pc:docMk/>
            <pc:sldMk cId="4186158384" sldId="2147378644"/>
            <ac:spMk id="17" creationId="{86F0F3BA-31D5-CB5F-DAA4-6F832E98B5D6}"/>
          </ac:spMkLst>
        </pc:spChg>
        <pc:spChg chg="mod">
          <ac:chgData name="Mikami, Maho" userId="50612f1b-df2d-47bb-8fdd-7ddedc83fc7e" providerId="ADAL" clId="{5CBE12F2-F3C8-4DCE-AD77-5EBD7EED8DBF}" dt="2024-03-24T07:03:06.899" v="4693"/>
          <ac:spMkLst>
            <pc:docMk/>
            <pc:sldMk cId="4186158384" sldId="2147378644"/>
            <ac:spMk id="19" creationId="{35B280C7-CA5E-F0C6-68E2-40EE6742AF62}"/>
          </ac:spMkLst>
        </pc:spChg>
        <pc:spChg chg="mod">
          <ac:chgData name="Mikami, Maho" userId="50612f1b-df2d-47bb-8fdd-7ddedc83fc7e" providerId="ADAL" clId="{5CBE12F2-F3C8-4DCE-AD77-5EBD7EED8DBF}" dt="2024-03-24T07:03:06.899" v="4693"/>
          <ac:spMkLst>
            <pc:docMk/>
            <pc:sldMk cId="4186158384" sldId="2147378644"/>
            <ac:spMk id="20" creationId="{77FA37A2-3D19-64A0-1D6B-68239720DFA8}"/>
          </ac:spMkLst>
        </pc:spChg>
        <pc:spChg chg="mod">
          <ac:chgData name="Mikami, Maho" userId="50612f1b-df2d-47bb-8fdd-7ddedc83fc7e" providerId="ADAL" clId="{5CBE12F2-F3C8-4DCE-AD77-5EBD7EED8DBF}" dt="2024-03-24T07:03:06.899" v="4693"/>
          <ac:spMkLst>
            <pc:docMk/>
            <pc:sldMk cId="4186158384" sldId="2147378644"/>
            <ac:spMk id="21" creationId="{1C6EC807-1E37-FAF3-1C9F-E3C46F1AFAD8}"/>
          </ac:spMkLst>
        </pc:spChg>
        <pc:spChg chg="mod">
          <ac:chgData name="Mikami, Maho" userId="50612f1b-df2d-47bb-8fdd-7ddedc83fc7e" providerId="ADAL" clId="{5CBE12F2-F3C8-4DCE-AD77-5EBD7EED8DBF}" dt="2024-03-24T07:03:06.899" v="4693"/>
          <ac:spMkLst>
            <pc:docMk/>
            <pc:sldMk cId="4186158384" sldId="2147378644"/>
            <ac:spMk id="22" creationId="{E7E9367E-A6CE-05CA-47DC-618127082E39}"/>
          </ac:spMkLst>
        </pc:spChg>
        <pc:spChg chg="del">
          <ac:chgData name="Mikami, Maho" userId="50612f1b-df2d-47bb-8fdd-7ddedc83fc7e" providerId="ADAL" clId="{5CBE12F2-F3C8-4DCE-AD77-5EBD7EED8DBF}" dt="2024-03-24T07:07:14.003" v="4966" actId="478"/>
          <ac:spMkLst>
            <pc:docMk/>
            <pc:sldMk cId="4186158384" sldId="2147378644"/>
            <ac:spMk id="23" creationId="{3B4E9364-AA14-FAB0-8D8D-7AB72E4B3A4A}"/>
          </ac:spMkLst>
        </pc:spChg>
        <pc:spChg chg="del mod">
          <ac:chgData name="Mikami, Maho" userId="50612f1b-df2d-47bb-8fdd-7ddedc83fc7e" providerId="ADAL" clId="{5CBE12F2-F3C8-4DCE-AD77-5EBD7EED8DBF}" dt="2024-03-24T07:07:14.003" v="4966" actId="478"/>
          <ac:spMkLst>
            <pc:docMk/>
            <pc:sldMk cId="4186158384" sldId="2147378644"/>
            <ac:spMk id="24" creationId="{6812ECF5-219C-F96E-DC34-885D07A885CB}"/>
          </ac:spMkLst>
        </pc:spChg>
        <pc:spChg chg="del">
          <ac:chgData name="Mikami, Maho" userId="50612f1b-df2d-47bb-8fdd-7ddedc83fc7e" providerId="ADAL" clId="{5CBE12F2-F3C8-4DCE-AD77-5EBD7EED8DBF}" dt="2024-03-24T07:07:14.003" v="4966" actId="478"/>
          <ac:spMkLst>
            <pc:docMk/>
            <pc:sldMk cId="4186158384" sldId="2147378644"/>
            <ac:spMk id="25" creationId="{2C4F13DB-EF49-E9D8-5C50-FFD25408D991}"/>
          </ac:spMkLst>
        </pc:spChg>
        <pc:spChg chg="mod">
          <ac:chgData name="Mikami, Maho" userId="50612f1b-df2d-47bb-8fdd-7ddedc83fc7e" providerId="ADAL" clId="{5CBE12F2-F3C8-4DCE-AD77-5EBD7EED8DBF}" dt="2024-03-24T07:03:06.899" v="4693"/>
          <ac:spMkLst>
            <pc:docMk/>
            <pc:sldMk cId="4186158384" sldId="2147378644"/>
            <ac:spMk id="26" creationId="{B0B6ED99-9E0B-6E0A-EBF1-E99B1E87524C}"/>
          </ac:spMkLst>
        </pc:spChg>
        <pc:spChg chg="mod">
          <ac:chgData name="Mikami, Maho" userId="50612f1b-df2d-47bb-8fdd-7ddedc83fc7e" providerId="ADAL" clId="{5CBE12F2-F3C8-4DCE-AD77-5EBD7EED8DBF}" dt="2024-03-24T07:03:06.899" v="4693"/>
          <ac:spMkLst>
            <pc:docMk/>
            <pc:sldMk cId="4186158384" sldId="2147378644"/>
            <ac:spMk id="27" creationId="{19B054EB-C550-AA04-1B15-85F52E2048E3}"/>
          </ac:spMkLst>
        </pc:spChg>
        <pc:spChg chg="mod">
          <ac:chgData name="Mikami, Maho" userId="50612f1b-df2d-47bb-8fdd-7ddedc83fc7e" providerId="ADAL" clId="{5CBE12F2-F3C8-4DCE-AD77-5EBD7EED8DBF}" dt="2024-03-24T07:03:06.899" v="4693"/>
          <ac:spMkLst>
            <pc:docMk/>
            <pc:sldMk cId="4186158384" sldId="2147378644"/>
            <ac:spMk id="28" creationId="{E51DE320-4174-80E1-9613-75E0B9A330DC}"/>
          </ac:spMkLst>
        </pc:spChg>
        <pc:spChg chg="mod">
          <ac:chgData name="Mikami, Maho" userId="50612f1b-df2d-47bb-8fdd-7ddedc83fc7e" providerId="ADAL" clId="{5CBE12F2-F3C8-4DCE-AD77-5EBD7EED8DBF}" dt="2024-03-24T07:03:06.899" v="4693"/>
          <ac:spMkLst>
            <pc:docMk/>
            <pc:sldMk cId="4186158384" sldId="2147378644"/>
            <ac:spMk id="29" creationId="{702F676C-C111-4671-E273-B4CBF4905EE6}"/>
          </ac:spMkLst>
        </pc:spChg>
        <pc:spChg chg="mod">
          <ac:chgData name="Mikami, Maho" userId="50612f1b-df2d-47bb-8fdd-7ddedc83fc7e" providerId="ADAL" clId="{5CBE12F2-F3C8-4DCE-AD77-5EBD7EED8DBF}" dt="2024-03-24T07:03:06.899" v="4693"/>
          <ac:spMkLst>
            <pc:docMk/>
            <pc:sldMk cId="4186158384" sldId="2147378644"/>
            <ac:spMk id="30" creationId="{FD69D26B-368F-FEE5-E3D7-D150560A4CFD}"/>
          </ac:spMkLst>
        </pc:spChg>
        <pc:spChg chg="mod">
          <ac:chgData name="Mikami, Maho" userId="50612f1b-df2d-47bb-8fdd-7ddedc83fc7e" providerId="ADAL" clId="{5CBE12F2-F3C8-4DCE-AD77-5EBD7EED8DBF}" dt="2024-03-24T07:03:06.899" v="4693"/>
          <ac:spMkLst>
            <pc:docMk/>
            <pc:sldMk cId="4186158384" sldId="2147378644"/>
            <ac:spMk id="31" creationId="{A287243F-1291-C9CD-3A55-10FDC6966BD5}"/>
          </ac:spMkLst>
        </pc:spChg>
        <pc:spChg chg="mod">
          <ac:chgData name="Mikami, Maho" userId="50612f1b-df2d-47bb-8fdd-7ddedc83fc7e" providerId="ADAL" clId="{5CBE12F2-F3C8-4DCE-AD77-5EBD7EED8DBF}" dt="2024-03-24T07:03:06.899" v="4693"/>
          <ac:spMkLst>
            <pc:docMk/>
            <pc:sldMk cId="4186158384" sldId="2147378644"/>
            <ac:spMk id="32" creationId="{0731FFA3-D256-86D9-8483-1ABF52F4F173}"/>
          </ac:spMkLst>
        </pc:spChg>
        <pc:spChg chg="mod">
          <ac:chgData name="Mikami, Maho" userId="50612f1b-df2d-47bb-8fdd-7ddedc83fc7e" providerId="ADAL" clId="{5CBE12F2-F3C8-4DCE-AD77-5EBD7EED8DBF}" dt="2024-03-24T07:03:06.899" v="4693"/>
          <ac:spMkLst>
            <pc:docMk/>
            <pc:sldMk cId="4186158384" sldId="2147378644"/>
            <ac:spMk id="34" creationId="{0BE88BF1-065F-8F07-5EAC-D89BFD2A7D5B}"/>
          </ac:spMkLst>
        </pc:spChg>
        <pc:spChg chg="mod">
          <ac:chgData name="Mikami, Maho" userId="50612f1b-df2d-47bb-8fdd-7ddedc83fc7e" providerId="ADAL" clId="{5CBE12F2-F3C8-4DCE-AD77-5EBD7EED8DBF}" dt="2024-03-24T07:03:06.899" v="4693"/>
          <ac:spMkLst>
            <pc:docMk/>
            <pc:sldMk cId="4186158384" sldId="2147378644"/>
            <ac:spMk id="38" creationId="{80874058-AC76-1161-2B1F-03C135EE0AD0}"/>
          </ac:spMkLst>
        </pc:spChg>
        <pc:spChg chg="mod">
          <ac:chgData name="Mikami, Maho" userId="50612f1b-df2d-47bb-8fdd-7ddedc83fc7e" providerId="ADAL" clId="{5CBE12F2-F3C8-4DCE-AD77-5EBD7EED8DBF}" dt="2024-03-24T07:03:06.899" v="4693"/>
          <ac:spMkLst>
            <pc:docMk/>
            <pc:sldMk cId="4186158384" sldId="2147378644"/>
            <ac:spMk id="39" creationId="{00F46FC2-D2A3-2C19-4536-EC09EA0A1BCE}"/>
          </ac:spMkLst>
        </pc:spChg>
        <pc:spChg chg="mod">
          <ac:chgData name="Mikami, Maho" userId="50612f1b-df2d-47bb-8fdd-7ddedc83fc7e" providerId="ADAL" clId="{5CBE12F2-F3C8-4DCE-AD77-5EBD7EED8DBF}" dt="2024-03-24T07:03:06.899" v="4693"/>
          <ac:spMkLst>
            <pc:docMk/>
            <pc:sldMk cId="4186158384" sldId="2147378644"/>
            <ac:spMk id="40" creationId="{5C0659B3-9E94-7609-30C2-95D435DF5AF6}"/>
          </ac:spMkLst>
        </pc:spChg>
        <pc:spChg chg="mod">
          <ac:chgData name="Mikami, Maho" userId="50612f1b-df2d-47bb-8fdd-7ddedc83fc7e" providerId="ADAL" clId="{5CBE12F2-F3C8-4DCE-AD77-5EBD7EED8DBF}" dt="2024-03-24T07:03:06.899" v="4693"/>
          <ac:spMkLst>
            <pc:docMk/>
            <pc:sldMk cId="4186158384" sldId="2147378644"/>
            <ac:spMk id="41" creationId="{87DC25F0-C0B4-C147-1C55-DD400A977CA6}"/>
          </ac:spMkLst>
        </pc:spChg>
        <pc:spChg chg="mod">
          <ac:chgData name="Mikami, Maho" userId="50612f1b-df2d-47bb-8fdd-7ddedc83fc7e" providerId="ADAL" clId="{5CBE12F2-F3C8-4DCE-AD77-5EBD7EED8DBF}" dt="2024-03-24T07:03:06.899" v="4693"/>
          <ac:spMkLst>
            <pc:docMk/>
            <pc:sldMk cId="4186158384" sldId="2147378644"/>
            <ac:spMk id="42" creationId="{9A80B6DD-A756-1700-F53D-32CF562828DB}"/>
          </ac:spMkLst>
        </pc:spChg>
        <pc:spChg chg="mod">
          <ac:chgData name="Mikami, Maho" userId="50612f1b-df2d-47bb-8fdd-7ddedc83fc7e" providerId="ADAL" clId="{5CBE12F2-F3C8-4DCE-AD77-5EBD7EED8DBF}" dt="2024-03-24T07:03:06.899" v="4693"/>
          <ac:spMkLst>
            <pc:docMk/>
            <pc:sldMk cId="4186158384" sldId="2147378644"/>
            <ac:spMk id="43" creationId="{FE74082F-0FC1-DA4B-3D30-8EEF98D639CF}"/>
          </ac:spMkLst>
        </pc:spChg>
        <pc:spChg chg="mod">
          <ac:chgData name="Mikami, Maho" userId="50612f1b-df2d-47bb-8fdd-7ddedc83fc7e" providerId="ADAL" clId="{5CBE12F2-F3C8-4DCE-AD77-5EBD7EED8DBF}" dt="2024-03-24T07:03:06.899" v="4693"/>
          <ac:spMkLst>
            <pc:docMk/>
            <pc:sldMk cId="4186158384" sldId="2147378644"/>
            <ac:spMk id="44" creationId="{98033BDC-BE6F-2038-7B09-F76459ED7C06}"/>
          </ac:spMkLst>
        </pc:spChg>
        <pc:spChg chg="mod">
          <ac:chgData name="Mikami, Maho" userId="50612f1b-df2d-47bb-8fdd-7ddedc83fc7e" providerId="ADAL" clId="{5CBE12F2-F3C8-4DCE-AD77-5EBD7EED8DBF}" dt="2024-03-24T07:03:06.899" v="4693"/>
          <ac:spMkLst>
            <pc:docMk/>
            <pc:sldMk cId="4186158384" sldId="2147378644"/>
            <ac:spMk id="45" creationId="{E0E14667-6EBC-0917-92EC-19A4E60A83AD}"/>
          </ac:spMkLst>
        </pc:spChg>
        <pc:spChg chg="mod">
          <ac:chgData name="Mikami, Maho" userId="50612f1b-df2d-47bb-8fdd-7ddedc83fc7e" providerId="ADAL" clId="{5CBE12F2-F3C8-4DCE-AD77-5EBD7EED8DBF}" dt="2024-03-24T07:03:06.899" v="4693"/>
          <ac:spMkLst>
            <pc:docMk/>
            <pc:sldMk cId="4186158384" sldId="2147378644"/>
            <ac:spMk id="46" creationId="{8FE5E2A2-6231-8D78-098C-A0E5DA4A2342}"/>
          </ac:spMkLst>
        </pc:spChg>
        <pc:spChg chg="mod">
          <ac:chgData name="Mikami, Maho" userId="50612f1b-df2d-47bb-8fdd-7ddedc83fc7e" providerId="ADAL" clId="{5CBE12F2-F3C8-4DCE-AD77-5EBD7EED8DBF}" dt="2024-03-24T07:03:06.899" v="4693"/>
          <ac:spMkLst>
            <pc:docMk/>
            <pc:sldMk cId="4186158384" sldId="2147378644"/>
            <ac:spMk id="47" creationId="{F191A9BE-6862-72C8-289F-2E6679BEFF04}"/>
          </ac:spMkLst>
        </pc:spChg>
        <pc:spChg chg="mod">
          <ac:chgData name="Mikami, Maho" userId="50612f1b-df2d-47bb-8fdd-7ddedc83fc7e" providerId="ADAL" clId="{5CBE12F2-F3C8-4DCE-AD77-5EBD7EED8DBF}" dt="2024-03-24T07:03:06.899" v="4693"/>
          <ac:spMkLst>
            <pc:docMk/>
            <pc:sldMk cId="4186158384" sldId="2147378644"/>
            <ac:spMk id="51" creationId="{4D34E471-450A-309E-6C21-3E6208D50C70}"/>
          </ac:spMkLst>
        </pc:spChg>
        <pc:spChg chg="mod">
          <ac:chgData name="Mikami, Maho" userId="50612f1b-df2d-47bb-8fdd-7ddedc83fc7e" providerId="ADAL" clId="{5CBE12F2-F3C8-4DCE-AD77-5EBD7EED8DBF}" dt="2024-03-24T07:03:06.899" v="4693"/>
          <ac:spMkLst>
            <pc:docMk/>
            <pc:sldMk cId="4186158384" sldId="2147378644"/>
            <ac:spMk id="52" creationId="{C5ED0E6F-99CA-479B-613E-D2C1B88E3768}"/>
          </ac:spMkLst>
        </pc:spChg>
        <pc:spChg chg="mod">
          <ac:chgData name="Mikami, Maho" userId="50612f1b-df2d-47bb-8fdd-7ddedc83fc7e" providerId="ADAL" clId="{5CBE12F2-F3C8-4DCE-AD77-5EBD7EED8DBF}" dt="2024-03-24T07:03:06.899" v="4693"/>
          <ac:spMkLst>
            <pc:docMk/>
            <pc:sldMk cId="4186158384" sldId="2147378644"/>
            <ac:spMk id="53" creationId="{2DCA143F-AA89-E1FD-DFC0-B00848DA2DED}"/>
          </ac:spMkLst>
        </pc:spChg>
        <pc:spChg chg="mod">
          <ac:chgData name="Mikami, Maho" userId="50612f1b-df2d-47bb-8fdd-7ddedc83fc7e" providerId="ADAL" clId="{5CBE12F2-F3C8-4DCE-AD77-5EBD7EED8DBF}" dt="2024-03-24T07:03:06.899" v="4693"/>
          <ac:spMkLst>
            <pc:docMk/>
            <pc:sldMk cId="4186158384" sldId="2147378644"/>
            <ac:spMk id="55" creationId="{356F74A1-3963-B2F5-8399-3AA854804E48}"/>
          </ac:spMkLst>
        </pc:spChg>
        <pc:spChg chg="mod">
          <ac:chgData name="Mikami, Maho" userId="50612f1b-df2d-47bb-8fdd-7ddedc83fc7e" providerId="ADAL" clId="{5CBE12F2-F3C8-4DCE-AD77-5EBD7EED8DBF}" dt="2024-03-24T07:03:06.899" v="4693"/>
          <ac:spMkLst>
            <pc:docMk/>
            <pc:sldMk cId="4186158384" sldId="2147378644"/>
            <ac:spMk id="57" creationId="{A39926A6-0C1B-DEF1-9836-347FFFE11F06}"/>
          </ac:spMkLst>
        </pc:spChg>
        <pc:spChg chg="mod">
          <ac:chgData name="Mikami, Maho" userId="50612f1b-df2d-47bb-8fdd-7ddedc83fc7e" providerId="ADAL" clId="{5CBE12F2-F3C8-4DCE-AD77-5EBD7EED8DBF}" dt="2024-03-24T07:03:06.899" v="4693"/>
          <ac:spMkLst>
            <pc:docMk/>
            <pc:sldMk cId="4186158384" sldId="2147378644"/>
            <ac:spMk id="58" creationId="{F1EC6160-3EF0-B383-170B-B9F2573B6798}"/>
          </ac:spMkLst>
        </pc:spChg>
        <pc:spChg chg="mod">
          <ac:chgData name="Mikami, Maho" userId="50612f1b-df2d-47bb-8fdd-7ddedc83fc7e" providerId="ADAL" clId="{5CBE12F2-F3C8-4DCE-AD77-5EBD7EED8DBF}" dt="2024-03-24T07:03:06.899" v="4693"/>
          <ac:spMkLst>
            <pc:docMk/>
            <pc:sldMk cId="4186158384" sldId="2147378644"/>
            <ac:spMk id="59" creationId="{BB44516F-FCF6-BEB2-196C-DA13B212144E}"/>
          </ac:spMkLst>
        </pc:spChg>
        <pc:spChg chg="mod">
          <ac:chgData name="Mikami, Maho" userId="50612f1b-df2d-47bb-8fdd-7ddedc83fc7e" providerId="ADAL" clId="{5CBE12F2-F3C8-4DCE-AD77-5EBD7EED8DBF}" dt="2024-03-24T07:03:06.899" v="4693"/>
          <ac:spMkLst>
            <pc:docMk/>
            <pc:sldMk cId="4186158384" sldId="2147378644"/>
            <ac:spMk id="60" creationId="{FB8C6A40-F3CB-366C-79C9-DADEC7CDDEA9}"/>
          </ac:spMkLst>
        </pc:spChg>
        <pc:spChg chg="mod">
          <ac:chgData name="Mikami, Maho" userId="50612f1b-df2d-47bb-8fdd-7ddedc83fc7e" providerId="ADAL" clId="{5CBE12F2-F3C8-4DCE-AD77-5EBD7EED8DBF}" dt="2024-03-24T07:03:06.899" v="4693"/>
          <ac:spMkLst>
            <pc:docMk/>
            <pc:sldMk cId="4186158384" sldId="2147378644"/>
            <ac:spMk id="67" creationId="{AA96B6DC-5677-6B3B-4113-EAF79990ABDC}"/>
          </ac:spMkLst>
        </pc:spChg>
        <pc:spChg chg="mod">
          <ac:chgData name="Mikami, Maho" userId="50612f1b-df2d-47bb-8fdd-7ddedc83fc7e" providerId="ADAL" clId="{5CBE12F2-F3C8-4DCE-AD77-5EBD7EED8DBF}" dt="2024-03-24T07:03:06.899" v="4693"/>
          <ac:spMkLst>
            <pc:docMk/>
            <pc:sldMk cId="4186158384" sldId="2147378644"/>
            <ac:spMk id="70" creationId="{FCE4AE95-19F7-818F-F0F5-0926D79915C2}"/>
          </ac:spMkLst>
        </pc:spChg>
        <pc:spChg chg="mod">
          <ac:chgData name="Mikami, Maho" userId="50612f1b-df2d-47bb-8fdd-7ddedc83fc7e" providerId="ADAL" clId="{5CBE12F2-F3C8-4DCE-AD77-5EBD7EED8DBF}" dt="2024-03-24T07:03:06.899" v="4693"/>
          <ac:spMkLst>
            <pc:docMk/>
            <pc:sldMk cId="4186158384" sldId="2147378644"/>
            <ac:spMk id="71" creationId="{2F354C49-BBCE-D08D-70AC-3C23611C0E04}"/>
          </ac:spMkLst>
        </pc:spChg>
        <pc:spChg chg="mod">
          <ac:chgData name="Mikami, Maho" userId="50612f1b-df2d-47bb-8fdd-7ddedc83fc7e" providerId="ADAL" clId="{5CBE12F2-F3C8-4DCE-AD77-5EBD7EED8DBF}" dt="2024-03-24T07:03:06.899" v="4693"/>
          <ac:spMkLst>
            <pc:docMk/>
            <pc:sldMk cId="4186158384" sldId="2147378644"/>
            <ac:spMk id="74" creationId="{716FF46A-2368-7CFB-ED1E-C94C478B2F78}"/>
          </ac:spMkLst>
        </pc:spChg>
        <pc:spChg chg="mod">
          <ac:chgData name="Mikami, Maho" userId="50612f1b-df2d-47bb-8fdd-7ddedc83fc7e" providerId="ADAL" clId="{5CBE12F2-F3C8-4DCE-AD77-5EBD7EED8DBF}" dt="2024-03-24T07:03:06.899" v="4693"/>
          <ac:spMkLst>
            <pc:docMk/>
            <pc:sldMk cId="4186158384" sldId="2147378644"/>
            <ac:spMk id="75" creationId="{E0FDEBA9-DBDD-4F50-59BE-8EE84C39FA2D}"/>
          </ac:spMkLst>
        </pc:spChg>
        <pc:spChg chg="mod">
          <ac:chgData name="Mikami, Maho" userId="50612f1b-df2d-47bb-8fdd-7ddedc83fc7e" providerId="ADAL" clId="{5CBE12F2-F3C8-4DCE-AD77-5EBD7EED8DBF}" dt="2024-03-24T07:03:06.899" v="4693"/>
          <ac:spMkLst>
            <pc:docMk/>
            <pc:sldMk cId="4186158384" sldId="2147378644"/>
            <ac:spMk id="76" creationId="{E7F1EE3F-5B62-AF46-5952-AE86150A0D8F}"/>
          </ac:spMkLst>
        </pc:spChg>
        <pc:spChg chg="mod">
          <ac:chgData name="Mikami, Maho" userId="50612f1b-df2d-47bb-8fdd-7ddedc83fc7e" providerId="ADAL" clId="{5CBE12F2-F3C8-4DCE-AD77-5EBD7EED8DBF}" dt="2024-03-24T07:03:06.899" v="4693"/>
          <ac:spMkLst>
            <pc:docMk/>
            <pc:sldMk cId="4186158384" sldId="2147378644"/>
            <ac:spMk id="84" creationId="{0E46FC6C-9DE9-077D-3FA8-E1B969B4491D}"/>
          </ac:spMkLst>
        </pc:spChg>
        <pc:spChg chg="mod">
          <ac:chgData name="Mikami, Maho" userId="50612f1b-df2d-47bb-8fdd-7ddedc83fc7e" providerId="ADAL" clId="{5CBE12F2-F3C8-4DCE-AD77-5EBD7EED8DBF}" dt="2024-03-24T07:03:06.899" v="4693"/>
          <ac:spMkLst>
            <pc:docMk/>
            <pc:sldMk cId="4186158384" sldId="2147378644"/>
            <ac:spMk id="85" creationId="{FE370207-73F0-2E43-D2E7-80876285E12E}"/>
          </ac:spMkLst>
        </pc:spChg>
        <pc:spChg chg="mod">
          <ac:chgData name="Mikami, Maho" userId="50612f1b-df2d-47bb-8fdd-7ddedc83fc7e" providerId="ADAL" clId="{5CBE12F2-F3C8-4DCE-AD77-5EBD7EED8DBF}" dt="2024-03-24T07:03:06.899" v="4693"/>
          <ac:spMkLst>
            <pc:docMk/>
            <pc:sldMk cId="4186158384" sldId="2147378644"/>
            <ac:spMk id="87" creationId="{EDF80C7D-BC08-DF59-8C88-F593BAF91C05}"/>
          </ac:spMkLst>
        </pc:spChg>
        <pc:spChg chg="mod">
          <ac:chgData name="Mikami, Maho" userId="50612f1b-df2d-47bb-8fdd-7ddedc83fc7e" providerId="ADAL" clId="{5CBE12F2-F3C8-4DCE-AD77-5EBD7EED8DBF}" dt="2024-03-24T07:03:06.899" v="4693"/>
          <ac:spMkLst>
            <pc:docMk/>
            <pc:sldMk cId="4186158384" sldId="2147378644"/>
            <ac:spMk id="88" creationId="{4FF1DF9B-791F-3873-FAAE-5AD8A9A7330E}"/>
          </ac:spMkLst>
        </pc:spChg>
        <pc:spChg chg="mod">
          <ac:chgData name="Mikami, Maho" userId="50612f1b-df2d-47bb-8fdd-7ddedc83fc7e" providerId="ADAL" clId="{5CBE12F2-F3C8-4DCE-AD77-5EBD7EED8DBF}" dt="2024-03-24T07:03:06.899" v="4693"/>
          <ac:spMkLst>
            <pc:docMk/>
            <pc:sldMk cId="4186158384" sldId="2147378644"/>
            <ac:spMk id="89" creationId="{AD9365AB-29B7-A690-8C08-9C57DCE10B7F}"/>
          </ac:spMkLst>
        </pc:spChg>
        <pc:spChg chg="mod">
          <ac:chgData name="Mikami, Maho" userId="50612f1b-df2d-47bb-8fdd-7ddedc83fc7e" providerId="ADAL" clId="{5CBE12F2-F3C8-4DCE-AD77-5EBD7EED8DBF}" dt="2024-03-24T07:03:06.899" v="4693"/>
          <ac:spMkLst>
            <pc:docMk/>
            <pc:sldMk cId="4186158384" sldId="2147378644"/>
            <ac:spMk id="90" creationId="{C8B01E9C-AF77-D7DA-A46E-4F3A8C45045C}"/>
          </ac:spMkLst>
        </pc:spChg>
        <pc:spChg chg="mod">
          <ac:chgData name="Mikami, Maho" userId="50612f1b-df2d-47bb-8fdd-7ddedc83fc7e" providerId="ADAL" clId="{5CBE12F2-F3C8-4DCE-AD77-5EBD7EED8DBF}" dt="2024-03-24T07:03:06.899" v="4693"/>
          <ac:spMkLst>
            <pc:docMk/>
            <pc:sldMk cId="4186158384" sldId="2147378644"/>
            <ac:spMk id="91" creationId="{F7F1F30C-0760-4D3F-B0D1-75B96A35347B}"/>
          </ac:spMkLst>
        </pc:spChg>
        <pc:spChg chg="mod">
          <ac:chgData name="Mikami, Maho" userId="50612f1b-df2d-47bb-8fdd-7ddedc83fc7e" providerId="ADAL" clId="{5CBE12F2-F3C8-4DCE-AD77-5EBD7EED8DBF}" dt="2024-03-24T07:03:06.899" v="4693"/>
          <ac:spMkLst>
            <pc:docMk/>
            <pc:sldMk cId="4186158384" sldId="2147378644"/>
            <ac:spMk id="92" creationId="{0FC20338-25FE-E622-2BA4-A9368897694E}"/>
          </ac:spMkLst>
        </pc:spChg>
        <pc:spChg chg="mod">
          <ac:chgData name="Mikami, Maho" userId="50612f1b-df2d-47bb-8fdd-7ddedc83fc7e" providerId="ADAL" clId="{5CBE12F2-F3C8-4DCE-AD77-5EBD7EED8DBF}" dt="2024-03-24T07:03:06.899" v="4693"/>
          <ac:spMkLst>
            <pc:docMk/>
            <pc:sldMk cId="4186158384" sldId="2147378644"/>
            <ac:spMk id="93" creationId="{0BD2C255-B921-6B03-2946-F80D818AEA35}"/>
          </ac:spMkLst>
        </pc:spChg>
        <pc:spChg chg="mod">
          <ac:chgData name="Mikami, Maho" userId="50612f1b-df2d-47bb-8fdd-7ddedc83fc7e" providerId="ADAL" clId="{5CBE12F2-F3C8-4DCE-AD77-5EBD7EED8DBF}" dt="2024-03-24T07:03:06.899" v="4693"/>
          <ac:spMkLst>
            <pc:docMk/>
            <pc:sldMk cId="4186158384" sldId="2147378644"/>
            <ac:spMk id="95" creationId="{A2EE99F2-9866-2E85-F7F4-947600AD4016}"/>
          </ac:spMkLst>
        </pc:spChg>
        <pc:spChg chg="mod">
          <ac:chgData name="Mikami, Maho" userId="50612f1b-df2d-47bb-8fdd-7ddedc83fc7e" providerId="ADAL" clId="{5CBE12F2-F3C8-4DCE-AD77-5EBD7EED8DBF}" dt="2024-03-24T07:03:06.899" v="4693"/>
          <ac:spMkLst>
            <pc:docMk/>
            <pc:sldMk cId="4186158384" sldId="2147378644"/>
            <ac:spMk id="96" creationId="{769EBA8B-3634-080E-0511-494BFBA9B954}"/>
          </ac:spMkLst>
        </pc:spChg>
        <pc:spChg chg="mod">
          <ac:chgData name="Mikami, Maho" userId="50612f1b-df2d-47bb-8fdd-7ddedc83fc7e" providerId="ADAL" clId="{5CBE12F2-F3C8-4DCE-AD77-5EBD7EED8DBF}" dt="2024-03-24T07:03:06.899" v="4693"/>
          <ac:spMkLst>
            <pc:docMk/>
            <pc:sldMk cId="4186158384" sldId="2147378644"/>
            <ac:spMk id="97" creationId="{FB04CA4F-0EC8-0A49-3E50-E4932F397FBB}"/>
          </ac:spMkLst>
        </pc:spChg>
        <pc:spChg chg="mod">
          <ac:chgData name="Mikami, Maho" userId="50612f1b-df2d-47bb-8fdd-7ddedc83fc7e" providerId="ADAL" clId="{5CBE12F2-F3C8-4DCE-AD77-5EBD7EED8DBF}" dt="2024-03-24T07:03:06.899" v="4693"/>
          <ac:spMkLst>
            <pc:docMk/>
            <pc:sldMk cId="4186158384" sldId="2147378644"/>
            <ac:spMk id="98" creationId="{66C300D3-FF14-59EE-B119-795D9B7AE9A1}"/>
          </ac:spMkLst>
        </pc:spChg>
        <pc:spChg chg="mod">
          <ac:chgData name="Mikami, Maho" userId="50612f1b-df2d-47bb-8fdd-7ddedc83fc7e" providerId="ADAL" clId="{5CBE12F2-F3C8-4DCE-AD77-5EBD7EED8DBF}" dt="2024-03-24T07:03:06.899" v="4693"/>
          <ac:spMkLst>
            <pc:docMk/>
            <pc:sldMk cId="4186158384" sldId="2147378644"/>
            <ac:spMk id="99" creationId="{6D43C934-8869-569A-26F5-B1F1B3475747}"/>
          </ac:spMkLst>
        </pc:spChg>
        <pc:spChg chg="mod">
          <ac:chgData name="Mikami, Maho" userId="50612f1b-df2d-47bb-8fdd-7ddedc83fc7e" providerId="ADAL" clId="{5CBE12F2-F3C8-4DCE-AD77-5EBD7EED8DBF}" dt="2024-03-24T07:03:36.110" v="4699" actId="255"/>
          <ac:spMkLst>
            <pc:docMk/>
            <pc:sldMk cId="4186158384" sldId="2147378644"/>
            <ac:spMk id="101" creationId="{C2645F1F-9DB7-94AC-C2F6-29FC346E70C4}"/>
          </ac:spMkLst>
        </pc:spChg>
        <pc:spChg chg="mod">
          <ac:chgData name="Mikami, Maho" userId="50612f1b-df2d-47bb-8fdd-7ddedc83fc7e" providerId="ADAL" clId="{5CBE12F2-F3C8-4DCE-AD77-5EBD7EED8DBF}" dt="2024-03-24T07:03:36.110" v="4699" actId="255"/>
          <ac:spMkLst>
            <pc:docMk/>
            <pc:sldMk cId="4186158384" sldId="2147378644"/>
            <ac:spMk id="102" creationId="{3D777A0B-7A30-DA19-EE2A-2F61B975995A}"/>
          </ac:spMkLst>
        </pc:spChg>
        <pc:spChg chg="mod">
          <ac:chgData name="Mikami, Maho" userId="50612f1b-df2d-47bb-8fdd-7ddedc83fc7e" providerId="ADAL" clId="{5CBE12F2-F3C8-4DCE-AD77-5EBD7EED8DBF}" dt="2024-03-24T07:03:36.110" v="4699" actId="255"/>
          <ac:spMkLst>
            <pc:docMk/>
            <pc:sldMk cId="4186158384" sldId="2147378644"/>
            <ac:spMk id="103" creationId="{496EA881-A8EC-F430-65F8-AC05A644BE7E}"/>
          </ac:spMkLst>
        </pc:spChg>
        <pc:spChg chg="mod">
          <ac:chgData name="Mikami, Maho" userId="50612f1b-df2d-47bb-8fdd-7ddedc83fc7e" providerId="ADAL" clId="{5CBE12F2-F3C8-4DCE-AD77-5EBD7EED8DBF}" dt="2024-03-24T07:03:36.110" v="4699" actId="255"/>
          <ac:spMkLst>
            <pc:docMk/>
            <pc:sldMk cId="4186158384" sldId="2147378644"/>
            <ac:spMk id="104" creationId="{79555C27-B582-5B65-DBD2-A7E7702A955B}"/>
          </ac:spMkLst>
        </pc:spChg>
        <pc:spChg chg="mod">
          <ac:chgData name="Mikami, Maho" userId="50612f1b-df2d-47bb-8fdd-7ddedc83fc7e" providerId="ADAL" clId="{5CBE12F2-F3C8-4DCE-AD77-5EBD7EED8DBF}" dt="2024-03-24T07:03:36.110" v="4699" actId="255"/>
          <ac:spMkLst>
            <pc:docMk/>
            <pc:sldMk cId="4186158384" sldId="2147378644"/>
            <ac:spMk id="105" creationId="{039D9CC5-4C57-25F4-F446-AF1413EB40F9}"/>
          </ac:spMkLst>
        </pc:spChg>
        <pc:spChg chg="mod">
          <ac:chgData name="Mikami, Maho" userId="50612f1b-df2d-47bb-8fdd-7ddedc83fc7e" providerId="ADAL" clId="{5CBE12F2-F3C8-4DCE-AD77-5EBD7EED8DBF}" dt="2024-03-24T07:03:36.110" v="4699" actId="255"/>
          <ac:spMkLst>
            <pc:docMk/>
            <pc:sldMk cId="4186158384" sldId="2147378644"/>
            <ac:spMk id="106" creationId="{0CC34DE8-D1BB-A24D-B165-8C6D562F6257}"/>
          </ac:spMkLst>
        </pc:spChg>
        <pc:spChg chg="mod">
          <ac:chgData name="Mikami, Maho" userId="50612f1b-df2d-47bb-8fdd-7ddedc83fc7e" providerId="ADAL" clId="{5CBE12F2-F3C8-4DCE-AD77-5EBD7EED8DBF}" dt="2024-03-24T07:03:36.110" v="4699" actId="255"/>
          <ac:spMkLst>
            <pc:docMk/>
            <pc:sldMk cId="4186158384" sldId="2147378644"/>
            <ac:spMk id="107" creationId="{3821D49F-6E95-6653-DF9E-5B716D26E1FE}"/>
          </ac:spMkLst>
        </pc:spChg>
        <pc:spChg chg="mod">
          <ac:chgData name="Mikami, Maho" userId="50612f1b-df2d-47bb-8fdd-7ddedc83fc7e" providerId="ADAL" clId="{5CBE12F2-F3C8-4DCE-AD77-5EBD7EED8DBF}" dt="2024-03-24T07:03:36.110" v="4699" actId="255"/>
          <ac:spMkLst>
            <pc:docMk/>
            <pc:sldMk cId="4186158384" sldId="2147378644"/>
            <ac:spMk id="108" creationId="{D64426CC-502B-F6B8-AB39-1A8C1DA95E11}"/>
          </ac:spMkLst>
        </pc:spChg>
        <pc:spChg chg="mod">
          <ac:chgData name="Mikami, Maho" userId="50612f1b-df2d-47bb-8fdd-7ddedc83fc7e" providerId="ADAL" clId="{5CBE12F2-F3C8-4DCE-AD77-5EBD7EED8DBF}" dt="2024-03-24T07:03:36.110" v="4699" actId="255"/>
          <ac:spMkLst>
            <pc:docMk/>
            <pc:sldMk cId="4186158384" sldId="2147378644"/>
            <ac:spMk id="109" creationId="{692FEFFF-B1AA-6AFD-51AD-20053F70869A}"/>
          </ac:spMkLst>
        </pc:spChg>
        <pc:spChg chg="mod">
          <ac:chgData name="Mikami, Maho" userId="50612f1b-df2d-47bb-8fdd-7ddedc83fc7e" providerId="ADAL" clId="{5CBE12F2-F3C8-4DCE-AD77-5EBD7EED8DBF}" dt="2024-03-24T07:03:36.110" v="4699" actId="255"/>
          <ac:spMkLst>
            <pc:docMk/>
            <pc:sldMk cId="4186158384" sldId="2147378644"/>
            <ac:spMk id="110" creationId="{70CB168C-A788-BFBF-4844-E6527B3DCB74}"/>
          </ac:spMkLst>
        </pc:spChg>
        <pc:spChg chg="mod">
          <ac:chgData name="Mikami, Maho" userId="50612f1b-df2d-47bb-8fdd-7ddedc83fc7e" providerId="ADAL" clId="{5CBE12F2-F3C8-4DCE-AD77-5EBD7EED8DBF}" dt="2024-03-24T07:03:36.110" v="4699" actId="255"/>
          <ac:spMkLst>
            <pc:docMk/>
            <pc:sldMk cId="4186158384" sldId="2147378644"/>
            <ac:spMk id="111" creationId="{4DDFAA5D-1319-D0C4-08AD-E0007D834D4E}"/>
          </ac:spMkLst>
        </pc:spChg>
        <pc:spChg chg="mod">
          <ac:chgData name="Mikami, Maho" userId="50612f1b-df2d-47bb-8fdd-7ddedc83fc7e" providerId="ADAL" clId="{5CBE12F2-F3C8-4DCE-AD77-5EBD7EED8DBF}" dt="2024-03-24T07:03:36.110" v="4699" actId="255"/>
          <ac:spMkLst>
            <pc:docMk/>
            <pc:sldMk cId="4186158384" sldId="2147378644"/>
            <ac:spMk id="113" creationId="{30A3234C-9F78-744A-D4FD-CC09591E87CF}"/>
          </ac:spMkLst>
        </pc:spChg>
        <pc:spChg chg="mod">
          <ac:chgData name="Mikami, Maho" userId="50612f1b-df2d-47bb-8fdd-7ddedc83fc7e" providerId="ADAL" clId="{5CBE12F2-F3C8-4DCE-AD77-5EBD7EED8DBF}" dt="2024-03-24T07:03:36.110" v="4699" actId="255"/>
          <ac:spMkLst>
            <pc:docMk/>
            <pc:sldMk cId="4186158384" sldId="2147378644"/>
            <ac:spMk id="117" creationId="{173C319B-1FEB-1109-4A2B-2BE3BB2EDC36}"/>
          </ac:spMkLst>
        </pc:spChg>
        <pc:spChg chg="mod">
          <ac:chgData name="Mikami, Maho" userId="50612f1b-df2d-47bb-8fdd-7ddedc83fc7e" providerId="ADAL" clId="{5CBE12F2-F3C8-4DCE-AD77-5EBD7EED8DBF}" dt="2024-03-24T07:03:36.110" v="4699" actId="255"/>
          <ac:spMkLst>
            <pc:docMk/>
            <pc:sldMk cId="4186158384" sldId="2147378644"/>
            <ac:spMk id="118" creationId="{474EC7FD-813F-5652-CD6A-A7759843EE89}"/>
          </ac:spMkLst>
        </pc:spChg>
        <pc:spChg chg="mod">
          <ac:chgData name="Mikami, Maho" userId="50612f1b-df2d-47bb-8fdd-7ddedc83fc7e" providerId="ADAL" clId="{5CBE12F2-F3C8-4DCE-AD77-5EBD7EED8DBF}" dt="2024-03-24T07:03:36.110" v="4699" actId="255"/>
          <ac:spMkLst>
            <pc:docMk/>
            <pc:sldMk cId="4186158384" sldId="2147378644"/>
            <ac:spMk id="119" creationId="{90A28747-4832-F999-F02C-FD2DCE5C6A7F}"/>
          </ac:spMkLst>
        </pc:spChg>
        <pc:spChg chg="mod">
          <ac:chgData name="Mikami, Maho" userId="50612f1b-df2d-47bb-8fdd-7ddedc83fc7e" providerId="ADAL" clId="{5CBE12F2-F3C8-4DCE-AD77-5EBD7EED8DBF}" dt="2024-03-24T07:03:36.110" v="4699" actId="255"/>
          <ac:spMkLst>
            <pc:docMk/>
            <pc:sldMk cId="4186158384" sldId="2147378644"/>
            <ac:spMk id="120" creationId="{4AD82941-858C-5329-2317-A682B7E611FE}"/>
          </ac:spMkLst>
        </pc:spChg>
        <pc:spChg chg="mod">
          <ac:chgData name="Mikami, Maho" userId="50612f1b-df2d-47bb-8fdd-7ddedc83fc7e" providerId="ADAL" clId="{5CBE12F2-F3C8-4DCE-AD77-5EBD7EED8DBF}" dt="2024-03-24T07:03:36.110" v="4699" actId="255"/>
          <ac:spMkLst>
            <pc:docMk/>
            <pc:sldMk cId="4186158384" sldId="2147378644"/>
            <ac:spMk id="121" creationId="{78CA1DEF-2235-0BA9-ADB3-01FCBCFF5921}"/>
          </ac:spMkLst>
        </pc:spChg>
        <pc:spChg chg="mod">
          <ac:chgData name="Mikami, Maho" userId="50612f1b-df2d-47bb-8fdd-7ddedc83fc7e" providerId="ADAL" clId="{5CBE12F2-F3C8-4DCE-AD77-5EBD7EED8DBF}" dt="2024-03-24T07:03:36.110" v="4699" actId="255"/>
          <ac:spMkLst>
            <pc:docMk/>
            <pc:sldMk cId="4186158384" sldId="2147378644"/>
            <ac:spMk id="122" creationId="{81898300-7B44-2BE6-A27B-C91169EC6146}"/>
          </ac:spMkLst>
        </pc:spChg>
        <pc:spChg chg="mod">
          <ac:chgData name="Mikami, Maho" userId="50612f1b-df2d-47bb-8fdd-7ddedc83fc7e" providerId="ADAL" clId="{5CBE12F2-F3C8-4DCE-AD77-5EBD7EED8DBF}" dt="2024-03-24T07:03:36.110" v="4699" actId="255"/>
          <ac:spMkLst>
            <pc:docMk/>
            <pc:sldMk cId="4186158384" sldId="2147378644"/>
            <ac:spMk id="123" creationId="{639C6E7D-5FC0-8669-5E63-9AF58CF00F1A}"/>
          </ac:spMkLst>
        </pc:spChg>
        <pc:spChg chg="mod">
          <ac:chgData name="Mikami, Maho" userId="50612f1b-df2d-47bb-8fdd-7ddedc83fc7e" providerId="ADAL" clId="{5CBE12F2-F3C8-4DCE-AD77-5EBD7EED8DBF}" dt="2024-03-24T07:03:36.110" v="4699" actId="255"/>
          <ac:spMkLst>
            <pc:docMk/>
            <pc:sldMk cId="4186158384" sldId="2147378644"/>
            <ac:spMk id="124" creationId="{60D90DF3-27D4-F61E-B67C-8318FFF3D8CD}"/>
          </ac:spMkLst>
        </pc:spChg>
        <pc:spChg chg="mod">
          <ac:chgData name="Mikami, Maho" userId="50612f1b-df2d-47bb-8fdd-7ddedc83fc7e" providerId="ADAL" clId="{5CBE12F2-F3C8-4DCE-AD77-5EBD7EED8DBF}" dt="2024-03-24T07:03:36.110" v="4699" actId="255"/>
          <ac:spMkLst>
            <pc:docMk/>
            <pc:sldMk cId="4186158384" sldId="2147378644"/>
            <ac:spMk id="125" creationId="{AE8D7497-1A51-03B9-F1EF-4CC2CA56BD1B}"/>
          </ac:spMkLst>
        </pc:spChg>
        <pc:spChg chg="mod">
          <ac:chgData name="Mikami, Maho" userId="50612f1b-df2d-47bb-8fdd-7ddedc83fc7e" providerId="ADAL" clId="{5CBE12F2-F3C8-4DCE-AD77-5EBD7EED8DBF}" dt="2024-03-24T07:03:36.110" v="4699" actId="255"/>
          <ac:spMkLst>
            <pc:docMk/>
            <pc:sldMk cId="4186158384" sldId="2147378644"/>
            <ac:spMk id="126" creationId="{0D11A4AB-CD2E-D4BA-1287-D92DC45D77EF}"/>
          </ac:spMkLst>
        </pc:spChg>
        <pc:spChg chg="mod">
          <ac:chgData name="Mikami, Maho" userId="50612f1b-df2d-47bb-8fdd-7ddedc83fc7e" providerId="ADAL" clId="{5CBE12F2-F3C8-4DCE-AD77-5EBD7EED8DBF}" dt="2024-03-24T07:03:36.110" v="4699" actId="255"/>
          <ac:spMkLst>
            <pc:docMk/>
            <pc:sldMk cId="4186158384" sldId="2147378644"/>
            <ac:spMk id="130" creationId="{699F8769-EBBE-4ACD-65C6-0E85978CD364}"/>
          </ac:spMkLst>
        </pc:spChg>
        <pc:spChg chg="mod">
          <ac:chgData name="Mikami, Maho" userId="50612f1b-df2d-47bb-8fdd-7ddedc83fc7e" providerId="ADAL" clId="{5CBE12F2-F3C8-4DCE-AD77-5EBD7EED8DBF}" dt="2024-03-24T07:03:36.110" v="4699" actId="255"/>
          <ac:spMkLst>
            <pc:docMk/>
            <pc:sldMk cId="4186158384" sldId="2147378644"/>
            <ac:spMk id="131" creationId="{D9FC0991-0184-4F34-8E58-3DA5717C7623}"/>
          </ac:spMkLst>
        </pc:spChg>
        <pc:spChg chg="mod">
          <ac:chgData name="Mikami, Maho" userId="50612f1b-df2d-47bb-8fdd-7ddedc83fc7e" providerId="ADAL" clId="{5CBE12F2-F3C8-4DCE-AD77-5EBD7EED8DBF}" dt="2024-03-24T07:03:36.110" v="4699" actId="255"/>
          <ac:spMkLst>
            <pc:docMk/>
            <pc:sldMk cId="4186158384" sldId="2147378644"/>
            <ac:spMk id="132" creationId="{5DF89AC3-26F5-6F6C-CD43-B53840AAD1B1}"/>
          </ac:spMkLst>
        </pc:spChg>
        <pc:spChg chg="mod">
          <ac:chgData name="Mikami, Maho" userId="50612f1b-df2d-47bb-8fdd-7ddedc83fc7e" providerId="ADAL" clId="{5CBE12F2-F3C8-4DCE-AD77-5EBD7EED8DBF}" dt="2024-03-24T07:03:36.110" v="4699" actId="255"/>
          <ac:spMkLst>
            <pc:docMk/>
            <pc:sldMk cId="4186158384" sldId="2147378644"/>
            <ac:spMk id="134" creationId="{A962DFF3-CB8F-559A-D874-66A7EF9487BE}"/>
          </ac:spMkLst>
        </pc:spChg>
        <pc:spChg chg="mod">
          <ac:chgData name="Mikami, Maho" userId="50612f1b-df2d-47bb-8fdd-7ddedc83fc7e" providerId="ADAL" clId="{5CBE12F2-F3C8-4DCE-AD77-5EBD7EED8DBF}" dt="2024-03-24T07:03:36.110" v="4699" actId="255"/>
          <ac:spMkLst>
            <pc:docMk/>
            <pc:sldMk cId="4186158384" sldId="2147378644"/>
            <ac:spMk id="136" creationId="{0216B5F6-CEBC-BF01-E67B-B83E326703FD}"/>
          </ac:spMkLst>
        </pc:spChg>
        <pc:spChg chg="mod">
          <ac:chgData name="Mikami, Maho" userId="50612f1b-df2d-47bb-8fdd-7ddedc83fc7e" providerId="ADAL" clId="{5CBE12F2-F3C8-4DCE-AD77-5EBD7EED8DBF}" dt="2024-03-24T07:03:36.110" v="4699" actId="255"/>
          <ac:spMkLst>
            <pc:docMk/>
            <pc:sldMk cId="4186158384" sldId="2147378644"/>
            <ac:spMk id="137" creationId="{DC0F81F6-6740-5955-5F4B-1AB09B43E0F6}"/>
          </ac:spMkLst>
        </pc:spChg>
        <pc:spChg chg="mod">
          <ac:chgData name="Mikami, Maho" userId="50612f1b-df2d-47bb-8fdd-7ddedc83fc7e" providerId="ADAL" clId="{5CBE12F2-F3C8-4DCE-AD77-5EBD7EED8DBF}" dt="2024-03-24T07:03:36.110" v="4699" actId="255"/>
          <ac:spMkLst>
            <pc:docMk/>
            <pc:sldMk cId="4186158384" sldId="2147378644"/>
            <ac:spMk id="138" creationId="{5D10962D-8C56-309C-67A8-6E868B270F78}"/>
          </ac:spMkLst>
        </pc:spChg>
        <pc:spChg chg="mod">
          <ac:chgData name="Mikami, Maho" userId="50612f1b-df2d-47bb-8fdd-7ddedc83fc7e" providerId="ADAL" clId="{5CBE12F2-F3C8-4DCE-AD77-5EBD7EED8DBF}" dt="2024-03-24T07:03:36.110" v="4699" actId="255"/>
          <ac:spMkLst>
            <pc:docMk/>
            <pc:sldMk cId="4186158384" sldId="2147378644"/>
            <ac:spMk id="139" creationId="{2EE2F2EE-E8C1-7447-0BD2-5257201F8662}"/>
          </ac:spMkLst>
        </pc:spChg>
        <pc:spChg chg="mod">
          <ac:chgData name="Mikami, Maho" userId="50612f1b-df2d-47bb-8fdd-7ddedc83fc7e" providerId="ADAL" clId="{5CBE12F2-F3C8-4DCE-AD77-5EBD7EED8DBF}" dt="2024-03-24T07:03:36.110" v="4699" actId="255"/>
          <ac:spMkLst>
            <pc:docMk/>
            <pc:sldMk cId="4186158384" sldId="2147378644"/>
            <ac:spMk id="146" creationId="{51AE1A12-3284-3E05-8BF1-D2D75D1BB8C4}"/>
          </ac:spMkLst>
        </pc:spChg>
        <pc:spChg chg="mod">
          <ac:chgData name="Mikami, Maho" userId="50612f1b-df2d-47bb-8fdd-7ddedc83fc7e" providerId="ADAL" clId="{5CBE12F2-F3C8-4DCE-AD77-5EBD7EED8DBF}" dt="2024-03-24T07:03:36.110" v="4699" actId="255"/>
          <ac:spMkLst>
            <pc:docMk/>
            <pc:sldMk cId="4186158384" sldId="2147378644"/>
            <ac:spMk id="149" creationId="{13D1E651-062B-B84C-550C-4FF8739BCB68}"/>
          </ac:spMkLst>
        </pc:spChg>
        <pc:spChg chg="mod">
          <ac:chgData name="Mikami, Maho" userId="50612f1b-df2d-47bb-8fdd-7ddedc83fc7e" providerId="ADAL" clId="{5CBE12F2-F3C8-4DCE-AD77-5EBD7EED8DBF}" dt="2024-03-24T07:03:36.110" v="4699" actId="255"/>
          <ac:spMkLst>
            <pc:docMk/>
            <pc:sldMk cId="4186158384" sldId="2147378644"/>
            <ac:spMk id="150" creationId="{D33CC146-AA89-2EDA-0A85-EAAC3B05CCF0}"/>
          </ac:spMkLst>
        </pc:spChg>
        <pc:spChg chg="mod">
          <ac:chgData name="Mikami, Maho" userId="50612f1b-df2d-47bb-8fdd-7ddedc83fc7e" providerId="ADAL" clId="{5CBE12F2-F3C8-4DCE-AD77-5EBD7EED8DBF}" dt="2024-03-24T07:03:36.110" v="4699" actId="255"/>
          <ac:spMkLst>
            <pc:docMk/>
            <pc:sldMk cId="4186158384" sldId="2147378644"/>
            <ac:spMk id="153" creationId="{B3DBBF75-755E-B62A-7EB1-3959DAAAFAB4}"/>
          </ac:spMkLst>
        </pc:spChg>
        <pc:spChg chg="mod">
          <ac:chgData name="Mikami, Maho" userId="50612f1b-df2d-47bb-8fdd-7ddedc83fc7e" providerId="ADAL" clId="{5CBE12F2-F3C8-4DCE-AD77-5EBD7EED8DBF}" dt="2024-03-24T07:03:36.110" v="4699" actId="255"/>
          <ac:spMkLst>
            <pc:docMk/>
            <pc:sldMk cId="4186158384" sldId="2147378644"/>
            <ac:spMk id="154" creationId="{3C277AC6-2ABC-F44C-AB76-B1B8EF209FE2}"/>
          </ac:spMkLst>
        </pc:spChg>
        <pc:spChg chg="mod">
          <ac:chgData name="Mikami, Maho" userId="50612f1b-df2d-47bb-8fdd-7ddedc83fc7e" providerId="ADAL" clId="{5CBE12F2-F3C8-4DCE-AD77-5EBD7EED8DBF}" dt="2024-03-24T07:03:36.110" v="4699" actId="255"/>
          <ac:spMkLst>
            <pc:docMk/>
            <pc:sldMk cId="4186158384" sldId="2147378644"/>
            <ac:spMk id="155" creationId="{A164AA63-9EA3-AE53-F2E3-71E53992D170}"/>
          </ac:spMkLst>
        </pc:spChg>
        <pc:spChg chg="mod">
          <ac:chgData name="Mikami, Maho" userId="50612f1b-df2d-47bb-8fdd-7ddedc83fc7e" providerId="ADAL" clId="{5CBE12F2-F3C8-4DCE-AD77-5EBD7EED8DBF}" dt="2024-03-24T07:03:36.110" v="4699" actId="255"/>
          <ac:spMkLst>
            <pc:docMk/>
            <pc:sldMk cId="4186158384" sldId="2147378644"/>
            <ac:spMk id="163" creationId="{545E9CA6-CCEC-8575-A349-1AB35E7AC741}"/>
          </ac:spMkLst>
        </pc:spChg>
        <pc:spChg chg="mod">
          <ac:chgData name="Mikami, Maho" userId="50612f1b-df2d-47bb-8fdd-7ddedc83fc7e" providerId="ADAL" clId="{5CBE12F2-F3C8-4DCE-AD77-5EBD7EED8DBF}" dt="2024-03-24T07:03:36.110" v="4699" actId="255"/>
          <ac:spMkLst>
            <pc:docMk/>
            <pc:sldMk cId="4186158384" sldId="2147378644"/>
            <ac:spMk id="164" creationId="{E11F8876-A7DF-A26C-0800-C268C374BB59}"/>
          </ac:spMkLst>
        </pc:spChg>
        <pc:spChg chg="mod">
          <ac:chgData name="Mikami, Maho" userId="50612f1b-df2d-47bb-8fdd-7ddedc83fc7e" providerId="ADAL" clId="{5CBE12F2-F3C8-4DCE-AD77-5EBD7EED8DBF}" dt="2024-03-24T07:03:36.110" v="4699" actId="255"/>
          <ac:spMkLst>
            <pc:docMk/>
            <pc:sldMk cId="4186158384" sldId="2147378644"/>
            <ac:spMk id="166" creationId="{ACBBA1F8-9590-1B9C-472E-2E409A3006D3}"/>
          </ac:spMkLst>
        </pc:spChg>
        <pc:spChg chg="mod">
          <ac:chgData name="Mikami, Maho" userId="50612f1b-df2d-47bb-8fdd-7ddedc83fc7e" providerId="ADAL" clId="{5CBE12F2-F3C8-4DCE-AD77-5EBD7EED8DBF}" dt="2024-03-24T07:03:36.110" v="4699" actId="255"/>
          <ac:spMkLst>
            <pc:docMk/>
            <pc:sldMk cId="4186158384" sldId="2147378644"/>
            <ac:spMk id="167" creationId="{E85C04D6-27DE-1254-1BE0-8BFC994BDA31}"/>
          </ac:spMkLst>
        </pc:spChg>
        <pc:spChg chg="mod">
          <ac:chgData name="Mikami, Maho" userId="50612f1b-df2d-47bb-8fdd-7ddedc83fc7e" providerId="ADAL" clId="{5CBE12F2-F3C8-4DCE-AD77-5EBD7EED8DBF}" dt="2024-03-24T07:03:36.110" v="4699" actId="255"/>
          <ac:spMkLst>
            <pc:docMk/>
            <pc:sldMk cId="4186158384" sldId="2147378644"/>
            <ac:spMk id="168" creationId="{1C3A73BD-621A-CCD6-E5AA-DACB58A220B6}"/>
          </ac:spMkLst>
        </pc:spChg>
        <pc:spChg chg="mod">
          <ac:chgData name="Mikami, Maho" userId="50612f1b-df2d-47bb-8fdd-7ddedc83fc7e" providerId="ADAL" clId="{5CBE12F2-F3C8-4DCE-AD77-5EBD7EED8DBF}" dt="2024-03-24T07:03:36.110" v="4699" actId="255"/>
          <ac:spMkLst>
            <pc:docMk/>
            <pc:sldMk cId="4186158384" sldId="2147378644"/>
            <ac:spMk id="169" creationId="{989F6C55-FC78-CA70-4836-FCBC9CC01AF5}"/>
          </ac:spMkLst>
        </pc:spChg>
        <pc:spChg chg="mod">
          <ac:chgData name="Mikami, Maho" userId="50612f1b-df2d-47bb-8fdd-7ddedc83fc7e" providerId="ADAL" clId="{5CBE12F2-F3C8-4DCE-AD77-5EBD7EED8DBF}" dt="2024-03-24T07:03:36.110" v="4699" actId="255"/>
          <ac:spMkLst>
            <pc:docMk/>
            <pc:sldMk cId="4186158384" sldId="2147378644"/>
            <ac:spMk id="170" creationId="{95DBC30C-4FF2-60AF-7429-A1E92E5F4D33}"/>
          </ac:spMkLst>
        </pc:spChg>
        <pc:spChg chg="mod">
          <ac:chgData name="Mikami, Maho" userId="50612f1b-df2d-47bb-8fdd-7ddedc83fc7e" providerId="ADAL" clId="{5CBE12F2-F3C8-4DCE-AD77-5EBD7EED8DBF}" dt="2024-03-24T07:03:36.110" v="4699" actId="255"/>
          <ac:spMkLst>
            <pc:docMk/>
            <pc:sldMk cId="4186158384" sldId="2147378644"/>
            <ac:spMk id="171" creationId="{76C60C28-D422-A320-E2C5-31F236E648B4}"/>
          </ac:spMkLst>
        </pc:spChg>
        <pc:spChg chg="mod">
          <ac:chgData name="Mikami, Maho" userId="50612f1b-df2d-47bb-8fdd-7ddedc83fc7e" providerId="ADAL" clId="{5CBE12F2-F3C8-4DCE-AD77-5EBD7EED8DBF}" dt="2024-03-24T07:03:36.110" v="4699" actId="255"/>
          <ac:spMkLst>
            <pc:docMk/>
            <pc:sldMk cId="4186158384" sldId="2147378644"/>
            <ac:spMk id="172" creationId="{DC1D339E-2399-8968-6E32-8CD71F00A6A3}"/>
          </ac:spMkLst>
        </pc:spChg>
        <pc:spChg chg="mod">
          <ac:chgData name="Mikami, Maho" userId="50612f1b-df2d-47bb-8fdd-7ddedc83fc7e" providerId="ADAL" clId="{5CBE12F2-F3C8-4DCE-AD77-5EBD7EED8DBF}" dt="2024-03-24T07:03:36.110" v="4699" actId="255"/>
          <ac:spMkLst>
            <pc:docMk/>
            <pc:sldMk cId="4186158384" sldId="2147378644"/>
            <ac:spMk id="174" creationId="{BF2366A1-7AA0-7510-7040-1FA93BA7FD9A}"/>
          </ac:spMkLst>
        </pc:spChg>
        <pc:spChg chg="mod">
          <ac:chgData name="Mikami, Maho" userId="50612f1b-df2d-47bb-8fdd-7ddedc83fc7e" providerId="ADAL" clId="{5CBE12F2-F3C8-4DCE-AD77-5EBD7EED8DBF}" dt="2024-03-24T07:03:36.110" v="4699" actId="255"/>
          <ac:spMkLst>
            <pc:docMk/>
            <pc:sldMk cId="4186158384" sldId="2147378644"/>
            <ac:spMk id="175" creationId="{89223AA0-CF2B-5A87-88A1-51B3ED7D671B}"/>
          </ac:spMkLst>
        </pc:spChg>
        <pc:spChg chg="mod">
          <ac:chgData name="Mikami, Maho" userId="50612f1b-df2d-47bb-8fdd-7ddedc83fc7e" providerId="ADAL" clId="{5CBE12F2-F3C8-4DCE-AD77-5EBD7EED8DBF}" dt="2024-03-24T07:03:36.110" v="4699" actId="255"/>
          <ac:spMkLst>
            <pc:docMk/>
            <pc:sldMk cId="4186158384" sldId="2147378644"/>
            <ac:spMk id="176" creationId="{A4CBF70C-CE3B-E946-1081-D185B364818A}"/>
          </ac:spMkLst>
        </pc:spChg>
        <pc:spChg chg="mod">
          <ac:chgData name="Mikami, Maho" userId="50612f1b-df2d-47bb-8fdd-7ddedc83fc7e" providerId="ADAL" clId="{5CBE12F2-F3C8-4DCE-AD77-5EBD7EED8DBF}" dt="2024-03-24T07:03:36.110" v="4699" actId="255"/>
          <ac:spMkLst>
            <pc:docMk/>
            <pc:sldMk cId="4186158384" sldId="2147378644"/>
            <ac:spMk id="177" creationId="{DA833005-53EE-F55B-A571-7C316E7097C3}"/>
          </ac:spMkLst>
        </pc:spChg>
        <pc:spChg chg="mod">
          <ac:chgData name="Mikami, Maho" userId="50612f1b-df2d-47bb-8fdd-7ddedc83fc7e" providerId="ADAL" clId="{5CBE12F2-F3C8-4DCE-AD77-5EBD7EED8DBF}" dt="2024-03-24T07:03:36.110" v="4699" actId="255"/>
          <ac:spMkLst>
            <pc:docMk/>
            <pc:sldMk cId="4186158384" sldId="2147378644"/>
            <ac:spMk id="178" creationId="{77A9A2CA-6C95-E607-1499-283954F4C219}"/>
          </ac:spMkLst>
        </pc:spChg>
        <pc:spChg chg="add mod">
          <ac:chgData name="Mikami, Maho" userId="50612f1b-df2d-47bb-8fdd-7ddedc83fc7e" providerId="ADAL" clId="{5CBE12F2-F3C8-4DCE-AD77-5EBD7EED8DBF}" dt="2024-03-24T07:31:03.695" v="6707" actId="1035"/>
          <ac:spMkLst>
            <pc:docMk/>
            <pc:sldMk cId="4186158384" sldId="2147378644"/>
            <ac:spMk id="179" creationId="{CF64EC44-CFE5-A1DF-86FD-4B44650CDF89}"/>
          </ac:spMkLst>
        </pc:spChg>
        <pc:spChg chg="add mod">
          <ac:chgData name="Mikami, Maho" userId="50612f1b-df2d-47bb-8fdd-7ddedc83fc7e" providerId="ADAL" clId="{5CBE12F2-F3C8-4DCE-AD77-5EBD7EED8DBF}" dt="2024-03-24T07:08:21.845" v="5070"/>
          <ac:spMkLst>
            <pc:docMk/>
            <pc:sldMk cId="4186158384" sldId="2147378644"/>
            <ac:spMk id="180" creationId="{46C0EAB9-0A7D-E06A-0909-58A3537554E7}"/>
          </ac:spMkLst>
        </pc:spChg>
        <pc:spChg chg="add mod">
          <ac:chgData name="Mikami, Maho" userId="50612f1b-df2d-47bb-8fdd-7ddedc83fc7e" providerId="ADAL" clId="{5CBE12F2-F3C8-4DCE-AD77-5EBD7EED8DBF}" dt="2024-03-24T07:08:13.667" v="5042" actId="20577"/>
          <ac:spMkLst>
            <pc:docMk/>
            <pc:sldMk cId="4186158384" sldId="2147378644"/>
            <ac:spMk id="181" creationId="{85C28915-DF8F-2B32-E4E3-D2C19CC8C51E}"/>
          </ac:spMkLst>
        </pc:spChg>
        <pc:spChg chg="add mod">
          <ac:chgData name="Mikami, Maho" userId="50612f1b-df2d-47bb-8fdd-7ddedc83fc7e" providerId="ADAL" clId="{5CBE12F2-F3C8-4DCE-AD77-5EBD7EED8DBF}" dt="2024-03-24T07:30:57.352" v="6686"/>
          <ac:spMkLst>
            <pc:docMk/>
            <pc:sldMk cId="4186158384" sldId="2147378644"/>
            <ac:spMk id="182" creationId="{A9206EFB-3D1A-5DB3-D4E8-4A0CBDC06C78}"/>
          </ac:spMkLst>
        </pc:spChg>
        <pc:grpChg chg="add del mod">
          <ac:chgData name="Mikami, Maho" userId="50612f1b-df2d-47bb-8fdd-7ddedc83fc7e" providerId="ADAL" clId="{5CBE12F2-F3C8-4DCE-AD77-5EBD7EED8DBF}" dt="2024-03-24T04:57:27.432" v="2803" actId="165"/>
          <ac:grpSpMkLst>
            <pc:docMk/>
            <pc:sldMk cId="4186158384" sldId="2147378644"/>
            <ac:grpSpMk id="6" creationId="{CC7812BE-31FB-0B8A-54F6-C5F374424722}"/>
          </ac:grpSpMkLst>
        </pc:grpChg>
        <pc:grpChg chg="mod topLvl">
          <ac:chgData name="Mikami, Maho" userId="50612f1b-df2d-47bb-8fdd-7ddedc83fc7e" providerId="ADAL" clId="{5CBE12F2-F3C8-4DCE-AD77-5EBD7EED8DBF}" dt="2024-03-24T07:07:36.519" v="4973" actId="1035"/>
          <ac:grpSpMkLst>
            <pc:docMk/>
            <pc:sldMk cId="4186158384" sldId="2147378644"/>
            <ac:grpSpMk id="8" creationId="{838224B0-6750-1F07-DAF4-38330ADCF9FE}"/>
          </ac:grpSpMkLst>
        </pc:grpChg>
        <pc:grpChg chg="del mod topLvl">
          <ac:chgData name="Mikami, Maho" userId="50612f1b-df2d-47bb-8fdd-7ddedc83fc7e" providerId="ADAL" clId="{5CBE12F2-F3C8-4DCE-AD77-5EBD7EED8DBF}" dt="2024-03-24T07:06:41.916" v="4949" actId="478"/>
          <ac:grpSpMkLst>
            <pc:docMk/>
            <pc:sldMk cId="4186158384" sldId="2147378644"/>
            <ac:grpSpMk id="9" creationId="{EBFD8DD9-4CD6-9BC2-4C3A-96A087D177E8}"/>
          </ac:grpSpMkLst>
        </pc:grpChg>
        <pc:grpChg chg="add mod">
          <ac:chgData name="Mikami, Maho" userId="50612f1b-df2d-47bb-8fdd-7ddedc83fc7e" providerId="ADAL" clId="{5CBE12F2-F3C8-4DCE-AD77-5EBD7EED8DBF}" dt="2024-03-24T07:03:06.899" v="4693"/>
          <ac:grpSpMkLst>
            <pc:docMk/>
            <pc:sldMk cId="4186158384" sldId="2147378644"/>
            <ac:grpSpMk id="18" creationId="{DCDFDFA4-D018-CCE2-1FAB-FB5E777D1E76}"/>
          </ac:grpSpMkLst>
        </pc:grpChg>
        <pc:grpChg chg="mod">
          <ac:chgData name="Mikami, Maho" userId="50612f1b-df2d-47bb-8fdd-7ddedc83fc7e" providerId="ADAL" clId="{5CBE12F2-F3C8-4DCE-AD77-5EBD7EED8DBF}" dt="2024-03-24T07:03:06.899" v="4693"/>
          <ac:grpSpMkLst>
            <pc:docMk/>
            <pc:sldMk cId="4186158384" sldId="2147378644"/>
            <ac:grpSpMk id="77" creationId="{05145EFD-67C3-B58E-95B8-BE9E9D6A1048}"/>
          </ac:grpSpMkLst>
        </pc:grpChg>
        <pc:grpChg chg="mod">
          <ac:chgData name="Mikami, Maho" userId="50612f1b-df2d-47bb-8fdd-7ddedc83fc7e" providerId="ADAL" clId="{5CBE12F2-F3C8-4DCE-AD77-5EBD7EED8DBF}" dt="2024-03-24T07:03:06.899" v="4693"/>
          <ac:grpSpMkLst>
            <pc:docMk/>
            <pc:sldMk cId="4186158384" sldId="2147378644"/>
            <ac:grpSpMk id="78" creationId="{F7D94CF3-818A-1080-F054-EE3C7307B526}"/>
          </ac:grpSpMkLst>
        </pc:grpChg>
        <pc:grpChg chg="add mod">
          <ac:chgData name="Mikami, Maho" userId="50612f1b-df2d-47bb-8fdd-7ddedc83fc7e" providerId="ADAL" clId="{5CBE12F2-F3C8-4DCE-AD77-5EBD7EED8DBF}" dt="2024-03-24T07:07:03.494" v="4954" actId="1076"/>
          <ac:grpSpMkLst>
            <pc:docMk/>
            <pc:sldMk cId="4186158384" sldId="2147378644"/>
            <ac:grpSpMk id="100" creationId="{FD5F49C2-EF5C-3155-A87C-1507B1B4E36F}"/>
          </ac:grpSpMkLst>
        </pc:grpChg>
        <pc:grpChg chg="mod">
          <ac:chgData name="Mikami, Maho" userId="50612f1b-df2d-47bb-8fdd-7ddedc83fc7e" providerId="ADAL" clId="{5CBE12F2-F3C8-4DCE-AD77-5EBD7EED8DBF}" dt="2024-03-24T07:03:09.569" v="4694"/>
          <ac:grpSpMkLst>
            <pc:docMk/>
            <pc:sldMk cId="4186158384" sldId="2147378644"/>
            <ac:grpSpMk id="156" creationId="{6A4981F4-ECF8-2803-D80C-A682CE9B7B82}"/>
          </ac:grpSpMkLst>
        </pc:grpChg>
        <pc:grpChg chg="mod">
          <ac:chgData name="Mikami, Maho" userId="50612f1b-df2d-47bb-8fdd-7ddedc83fc7e" providerId="ADAL" clId="{5CBE12F2-F3C8-4DCE-AD77-5EBD7EED8DBF}" dt="2024-03-24T07:03:09.569" v="4694"/>
          <ac:grpSpMkLst>
            <pc:docMk/>
            <pc:sldMk cId="4186158384" sldId="2147378644"/>
            <ac:grpSpMk id="157" creationId="{B03D428E-2254-F267-D09A-17F27CB53B10}"/>
          </ac:grpSpMkLst>
        </pc:grpChg>
        <pc:graphicFrameChg chg="add mod ord modVis replST">
          <ac:chgData name="Mikami, Maho" userId="50612f1b-df2d-47bb-8fdd-7ddedc83fc7e" providerId="ADAL" clId="{5CBE12F2-F3C8-4DCE-AD77-5EBD7EED8DBF}" dt="2024-03-24T04:55:53.734" v="2728"/>
          <ac:graphicFrameMkLst>
            <pc:docMk/>
            <pc:sldMk cId="4186158384" sldId="2147378644"/>
            <ac:graphicFrameMk id="15" creationId="{2D8B9F62-5640-DA60-72EA-D3AA0A3EC839}"/>
          </ac:graphicFrameMkLst>
        </pc:graphicFrameChg>
        <pc:picChg chg="add del mod">
          <ac:chgData name="Mikami, Maho" userId="50612f1b-df2d-47bb-8fdd-7ddedc83fc7e" providerId="ADAL" clId="{5CBE12F2-F3C8-4DCE-AD77-5EBD7EED8DBF}" dt="2024-03-24T04:02:27.564" v="1780" actId="478"/>
          <ac:picMkLst>
            <pc:docMk/>
            <pc:sldMk cId="4186158384" sldId="2147378644"/>
            <ac:picMk id="14" creationId="{C1A33EC1-A348-B8F9-8553-6AD63679EFF9}"/>
          </ac:picMkLst>
        </pc:picChg>
        <pc:cxnChg chg="mod">
          <ac:chgData name="Mikami, Maho" userId="50612f1b-df2d-47bb-8fdd-7ddedc83fc7e" providerId="ADAL" clId="{5CBE12F2-F3C8-4DCE-AD77-5EBD7EED8DBF}" dt="2024-03-24T07:06:31.301" v="4946" actId="1035"/>
          <ac:cxnSpMkLst>
            <pc:docMk/>
            <pc:sldMk cId="4186158384" sldId="2147378644"/>
            <ac:cxnSpMk id="11" creationId="{16C08C3D-008A-D138-C4A4-8813DFDB0A5A}"/>
          </ac:cxnSpMkLst>
        </pc:cxnChg>
        <pc:cxnChg chg="mod">
          <ac:chgData name="Mikami, Maho" userId="50612f1b-df2d-47bb-8fdd-7ddedc83fc7e" providerId="ADAL" clId="{5CBE12F2-F3C8-4DCE-AD77-5EBD7EED8DBF}" dt="2024-03-24T07:07:36.519" v="4973" actId="1035"/>
          <ac:cxnSpMkLst>
            <pc:docMk/>
            <pc:sldMk cId="4186158384" sldId="2147378644"/>
            <ac:cxnSpMk id="13" creationId="{2222F0FB-A4D8-8B17-A5F9-5C85F5FE3E22}"/>
          </ac:cxnSpMkLst>
        </pc:cxnChg>
        <pc:cxnChg chg="mod">
          <ac:chgData name="Mikami, Maho" userId="50612f1b-df2d-47bb-8fdd-7ddedc83fc7e" providerId="ADAL" clId="{5CBE12F2-F3C8-4DCE-AD77-5EBD7EED8DBF}" dt="2024-03-24T07:03:06.899" v="4693"/>
          <ac:cxnSpMkLst>
            <pc:docMk/>
            <pc:sldMk cId="4186158384" sldId="2147378644"/>
            <ac:cxnSpMk id="33" creationId="{C65CB21E-13FC-F00F-C224-045436EC7A46}"/>
          </ac:cxnSpMkLst>
        </pc:cxnChg>
        <pc:cxnChg chg="mod">
          <ac:chgData name="Mikami, Maho" userId="50612f1b-df2d-47bb-8fdd-7ddedc83fc7e" providerId="ADAL" clId="{5CBE12F2-F3C8-4DCE-AD77-5EBD7EED8DBF}" dt="2024-03-24T07:03:06.899" v="4693"/>
          <ac:cxnSpMkLst>
            <pc:docMk/>
            <pc:sldMk cId="4186158384" sldId="2147378644"/>
            <ac:cxnSpMk id="35" creationId="{43E70E4B-21B6-BBE8-B3C6-CAB7AF890C47}"/>
          </ac:cxnSpMkLst>
        </pc:cxnChg>
        <pc:cxnChg chg="mod">
          <ac:chgData name="Mikami, Maho" userId="50612f1b-df2d-47bb-8fdd-7ddedc83fc7e" providerId="ADAL" clId="{5CBE12F2-F3C8-4DCE-AD77-5EBD7EED8DBF}" dt="2024-03-24T07:03:06.899" v="4693"/>
          <ac:cxnSpMkLst>
            <pc:docMk/>
            <pc:sldMk cId="4186158384" sldId="2147378644"/>
            <ac:cxnSpMk id="36" creationId="{7B49A2B3-9007-ABB9-2E9B-EA4D25BDB507}"/>
          </ac:cxnSpMkLst>
        </pc:cxnChg>
        <pc:cxnChg chg="mod">
          <ac:chgData name="Mikami, Maho" userId="50612f1b-df2d-47bb-8fdd-7ddedc83fc7e" providerId="ADAL" clId="{5CBE12F2-F3C8-4DCE-AD77-5EBD7EED8DBF}" dt="2024-03-24T07:03:06.899" v="4693"/>
          <ac:cxnSpMkLst>
            <pc:docMk/>
            <pc:sldMk cId="4186158384" sldId="2147378644"/>
            <ac:cxnSpMk id="37" creationId="{61FE0AC8-BE01-5B09-D78D-5F9ACCC48FAD}"/>
          </ac:cxnSpMkLst>
        </pc:cxnChg>
        <pc:cxnChg chg="mod">
          <ac:chgData name="Mikami, Maho" userId="50612f1b-df2d-47bb-8fdd-7ddedc83fc7e" providerId="ADAL" clId="{5CBE12F2-F3C8-4DCE-AD77-5EBD7EED8DBF}" dt="2024-03-24T07:03:06.899" v="4693"/>
          <ac:cxnSpMkLst>
            <pc:docMk/>
            <pc:sldMk cId="4186158384" sldId="2147378644"/>
            <ac:cxnSpMk id="48" creationId="{6FC5E497-43FF-9045-6A66-21D71862A14A}"/>
          </ac:cxnSpMkLst>
        </pc:cxnChg>
        <pc:cxnChg chg="mod">
          <ac:chgData name="Mikami, Maho" userId="50612f1b-df2d-47bb-8fdd-7ddedc83fc7e" providerId="ADAL" clId="{5CBE12F2-F3C8-4DCE-AD77-5EBD7EED8DBF}" dt="2024-03-24T07:03:06.899" v="4693"/>
          <ac:cxnSpMkLst>
            <pc:docMk/>
            <pc:sldMk cId="4186158384" sldId="2147378644"/>
            <ac:cxnSpMk id="49" creationId="{B7E9B8E5-A53C-E33B-28AD-8E81410C2581}"/>
          </ac:cxnSpMkLst>
        </pc:cxnChg>
        <pc:cxnChg chg="mod">
          <ac:chgData name="Mikami, Maho" userId="50612f1b-df2d-47bb-8fdd-7ddedc83fc7e" providerId="ADAL" clId="{5CBE12F2-F3C8-4DCE-AD77-5EBD7EED8DBF}" dt="2024-03-24T07:03:06.899" v="4693"/>
          <ac:cxnSpMkLst>
            <pc:docMk/>
            <pc:sldMk cId="4186158384" sldId="2147378644"/>
            <ac:cxnSpMk id="50" creationId="{14BDF555-D798-806B-9995-48525FB0BA0E}"/>
          </ac:cxnSpMkLst>
        </pc:cxnChg>
        <pc:cxnChg chg="mod">
          <ac:chgData name="Mikami, Maho" userId="50612f1b-df2d-47bb-8fdd-7ddedc83fc7e" providerId="ADAL" clId="{5CBE12F2-F3C8-4DCE-AD77-5EBD7EED8DBF}" dt="2024-03-24T07:03:06.899" v="4693"/>
          <ac:cxnSpMkLst>
            <pc:docMk/>
            <pc:sldMk cId="4186158384" sldId="2147378644"/>
            <ac:cxnSpMk id="54" creationId="{474881C1-1260-287F-C0E2-740E9EEA473F}"/>
          </ac:cxnSpMkLst>
        </pc:cxnChg>
        <pc:cxnChg chg="mod">
          <ac:chgData name="Mikami, Maho" userId="50612f1b-df2d-47bb-8fdd-7ddedc83fc7e" providerId="ADAL" clId="{5CBE12F2-F3C8-4DCE-AD77-5EBD7EED8DBF}" dt="2024-03-24T07:03:06.899" v="4693"/>
          <ac:cxnSpMkLst>
            <pc:docMk/>
            <pc:sldMk cId="4186158384" sldId="2147378644"/>
            <ac:cxnSpMk id="56" creationId="{B4A6BAF4-4BD0-896A-B57C-CA7F93215FE5}"/>
          </ac:cxnSpMkLst>
        </pc:cxnChg>
        <pc:cxnChg chg="mod">
          <ac:chgData name="Mikami, Maho" userId="50612f1b-df2d-47bb-8fdd-7ddedc83fc7e" providerId="ADAL" clId="{5CBE12F2-F3C8-4DCE-AD77-5EBD7EED8DBF}" dt="2024-03-24T07:03:06.899" v="4693"/>
          <ac:cxnSpMkLst>
            <pc:docMk/>
            <pc:sldMk cId="4186158384" sldId="2147378644"/>
            <ac:cxnSpMk id="61" creationId="{EBAD64FC-DB3C-E59F-230D-2C2745B2C9B7}"/>
          </ac:cxnSpMkLst>
        </pc:cxnChg>
        <pc:cxnChg chg="mod">
          <ac:chgData name="Mikami, Maho" userId="50612f1b-df2d-47bb-8fdd-7ddedc83fc7e" providerId="ADAL" clId="{5CBE12F2-F3C8-4DCE-AD77-5EBD7EED8DBF}" dt="2024-03-24T07:03:06.899" v="4693"/>
          <ac:cxnSpMkLst>
            <pc:docMk/>
            <pc:sldMk cId="4186158384" sldId="2147378644"/>
            <ac:cxnSpMk id="62" creationId="{492FE2E8-8FDF-C05C-2004-75110008E3E7}"/>
          </ac:cxnSpMkLst>
        </pc:cxnChg>
        <pc:cxnChg chg="mod">
          <ac:chgData name="Mikami, Maho" userId="50612f1b-df2d-47bb-8fdd-7ddedc83fc7e" providerId="ADAL" clId="{5CBE12F2-F3C8-4DCE-AD77-5EBD7EED8DBF}" dt="2024-03-24T07:03:06.899" v="4693"/>
          <ac:cxnSpMkLst>
            <pc:docMk/>
            <pc:sldMk cId="4186158384" sldId="2147378644"/>
            <ac:cxnSpMk id="63" creationId="{373C74A7-BAF8-1369-3AC8-7079E22FD82D}"/>
          </ac:cxnSpMkLst>
        </pc:cxnChg>
        <pc:cxnChg chg="mod">
          <ac:chgData name="Mikami, Maho" userId="50612f1b-df2d-47bb-8fdd-7ddedc83fc7e" providerId="ADAL" clId="{5CBE12F2-F3C8-4DCE-AD77-5EBD7EED8DBF}" dt="2024-03-24T07:03:06.899" v="4693"/>
          <ac:cxnSpMkLst>
            <pc:docMk/>
            <pc:sldMk cId="4186158384" sldId="2147378644"/>
            <ac:cxnSpMk id="64" creationId="{21B27F10-F831-512C-9FB5-38C1AB5B7B95}"/>
          </ac:cxnSpMkLst>
        </pc:cxnChg>
        <pc:cxnChg chg="mod">
          <ac:chgData name="Mikami, Maho" userId="50612f1b-df2d-47bb-8fdd-7ddedc83fc7e" providerId="ADAL" clId="{5CBE12F2-F3C8-4DCE-AD77-5EBD7EED8DBF}" dt="2024-03-24T07:03:06.899" v="4693"/>
          <ac:cxnSpMkLst>
            <pc:docMk/>
            <pc:sldMk cId="4186158384" sldId="2147378644"/>
            <ac:cxnSpMk id="65" creationId="{C77BF5DB-E501-FECD-13F3-F7DEC8B4B062}"/>
          </ac:cxnSpMkLst>
        </pc:cxnChg>
        <pc:cxnChg chg="mod">
          <ac:chgData name="Mikami, Maho" userId="50612f1b-df2d-47bb-8fdd-7ddedc83fc7e" providerId="ADAL" clId="{5CBE12F2-F3C8-4DCE-AD77-5EBD7EED8DBF}" dt="2024-03-24T07:03:06.899" v="4693"/>
          <ac:cxnSpMkLst>
            <pc:docMk/>
            <pc:sldMk cId="4186158384" sldId="2147378644"/>
            <ac:cxnSpMk id="66" creationId="{1B05E114-D631-D05B-F252-828BC4CBFF57}"/>
          </ac:cxnSpMkLst>
        </pc:cxnChg>
        <pc:cxnChg chg="mod">
          <ac:chgData name="Mikami, Maho" userId="50612f1b-df2d-47bb-8fdd-7ddedc83fc7e" providerId="ADAL" clId="{5CBE12F2-F3C8-4DCE-AD77-5EBD7EED8DBF}" dt="2024-03-24T07:03:06.899" v="4693"/>
          <ac:cxnSpMkLst>
            <pc:docMk/>
            <pc:sldMk cId="4186158384" sldId="2147378644"/>
            <ac:cxnSpMk id="68" creationId="{543981D0-3A08-9078-27F9-AF1E4EC262F1}"/>
          </ac:cxnSpMkLst>
        </pc:cxnChg>
        <pc:cxnChg chg="mod">
          <ac:chgData name="Mikami, Maho" userId="50612f1b-df2d-47bb-8fdd-7ddedc83fc7e" providerId="ADAL" clId="{5CBE12F2-F3C8-4DCE-AD77-5EBD7EED8DBF}" dt="2024-03-24T07:03:06.899" v="4693"/>
          <ac:cxnSpMkLst>
            <pc:docMk/>
            <pc:sldMk cId="4186158384" sldId="2147378644"/>
            <ac:cxnSpMk id="69" creationId="{E4D30B1E-C601-264C-8298-DB2396B19026}"/>
          </ac:cxnSpMkLst>
        </pc:cxnChg>
        <pc:cxnChg chg="mod">
          <ac:chgData name="Mikami, Maho" userId="50612f1b-df2d-47bb-8fdd-7ddedc83fc7e" providerId="ADAL" clId="{5CBE12F2-F3C8-4DCE-AD77-5EBD7EED8DBF}" dt="2024-03-24T07:03:06.899" v="4693"/>
          <ac:cxnSpMkLst>
            <pc:docMk/>
            <pc:sldMk cId="4186158384" sldId="2147378644"/>
            <ac:cxnSpMk id="72" creationId="{2282A5A2-3995-2BD9-5948-6EF39DD80E41}"/>
          </ac:cxnSpMkLst>
        </pc:cxnChg>
        <pc:cxnChg chg="mod">
          <ac:chgData name="Mikami, Maho" userId="50612f1b-df2d-47bb-8fdd-7ddedc83fc7e" providerId="ADAL" clId="{5CBE12F2-F3C8-4DCE-AD77-5EBD7EED8DBF}" dt="2024-03-24T07:03:06.899" v="4693"/>
          <ac:cxnSpMkLst>
            <pc:docMk/>
            <pc:sldMk cId="4186158384" sldId="2147378644"/>
            <ac:cxnSpMk id="73" creationId="{DB9C5D95-E5F5-E71C-D8CD-4B3BA765FA03}"/>
          </ac:cxnSpMkLst>
        </pc:cxnChg>
        <pc:cxnChg chg="mod">
          <ac:chgData name="Mikami, Maho" userId="50612f1b-df2d-47bb-8fdd-7ddedc83fc7e" providerId="ADAL" clId="{5CBE12F2-F3C8-4DCE-AD77-5EBD7EED8DBF}" dt="2024-03-24T07:03:06.899" v="4693"/>
          <ac:cxnSpMkLst>
            <pc:docMk/>
            <pc:sldMk cId="4186158384" sldId="2147378644"/>
            <ac:cxnSpMk id="79" creationId="{DA988BAA-7298-2998-CE36-D4A23324BA56}"/>
          </ac:cxnSpMkLst>
        </pc:cxnChg>
        <pc:cxnChg chg="mod">
          <ac:chgData name="Mikami, Maho" userId="50612f1b-df2d-47bb-8fdd-7ddedc83fc7e" providerId="ADAL" clId="{5CBE12F2-F3C8-4DCE-AD77-5EBD7EED8DBF}" dt="2024-03-24T07:03:06.899" v="4693"/>
          <ac:cxnSpMkLst>
            <pc:docMk/>
            <pc:sldMk cId="4186158384" sldId="2147378644"/>
            <ac:cxnSpMk id="80" creationId="{F5BA45B7-323E-9D22-A46F-CA5854C3AA66}"/>
          </ac:cxnSpMkLst>
        </pc:cxnChg>
        <pc:cxnChg chg="mod">
          <ac:chgData name="Mikami, Maho" userId="50612f1b-df2d-47bb-8fdd-7ddedc83fc7e" providerId="ADAL" clId="{5CBE12F2-F3C8-4DCE-AD77-5EBD7EED8DBF}" dt="2024-03-24T07:03:06.899" v="4693"/>
          <ac:cxnSpMkLst>
            <pc:docMk/>
            <pc:sldMk cId="4186158384" sldId="2147378644"/>
            <ac:cxnSpMk id="81" creationId="{14BD9890-A583-0332-4012-0FDCA82975B9}"/>
          </ac:cxnSpMkLst>
        </pc:cxnChg>
        <pc:cxnChg chg="mod">
          <ac:chgData name="Mikami, Maho" userId="50612f1b-df2d-47bb-8fdd-7ddedc83fc7e" providerId="ADAL" clId="{5CBE12F2-F3C8-4DCE-AD77-5EBD7EED8DBF}" dt="2024-03-24T07:03:06.899" v="4693"/>
          <ac:cxnSpMkLst>
            <pc:docMk/>
            <pc:sldMk cId="4186158384" sldId="2147378644"/>
            <ac:cxnSpMk id="82" creationId="{69D6C4E7-4859-F983-F8B4-CCD4D71CC5CC}"/>
          </ac:cxnSpMkLst>
        </pc:cxnChg>
        <pc:cxnChg chg="mod">
          <ac:chgData name="Mikami, Maho" userId="50612f1b-df2d-47bb-8fdd-7ddedc83fc7e" providerId="ADAL" clId="{5CBE12F2-F3C8-4DCE-AD77-5EBD7EED8DBF}" dt="2024-03-24T07:03:06.899" v="4693"/>
          <ac:cxnSpMkLst>
            <pc:docMk/>
            <pc:sldMk cId="4186158384" sldId="2147378644"/>
            <ac:cxnSpMk id="83" creationId="{709E948E-8693-38FF-FEC4-637E94DBA50E}"/>
          </ac:cxnSpMkLst>
        </pc:cxnChg>
        <pc:cxnChg chg="mod">
          <ac:chgData name="Mikami, Maho" userId="50612f1b-df2d-47bb-8fdd-7ddedc83fc7e" providerId="ADAL" clId="{5CBE12F2-F3C8-4DCE-AD77-5EBD7EED8DBF}" dt="2024-03-24T07:03:06.899" v="4693"/>
          <ac:cxnSpMkLst>
            <pc:docMk/>
            <pc:sldMk cId="4186158384" sldId="2147378644"/>
            <ac:cxnSpMk id="86" creationId="{6B426EBF-21EC-E583-58C3-501F59E42D1B}"/>
          </ac:cxnSpMkLst>
        </pc:cxnChg>
        <pc:cxnChg chg="mod">
          <ac:chgData name="Mikami, Maho" userId="50612f1b-df2d-47bb-8fdd-7ddedc83fc7e" providerId="ADAL" clId="{5CBE12F2-F3C8-4DCE-AD77-5EBD7EED8DBF}" dt="2024-03-24T07:03:06.899" v="4693"/>
          <ac:cxnSpMkLst>
            <pc:docMk/>
            <pc:sldMk cId="4186158384" sldId="2147378644"/>
            <ac:cxnSpMk id="94" creationId="{50C5E50E-FD8D-C84F-29CF-CAF084952DC1}"/>
          </ac:cxnSpMkLst>
        </pc:cxnChg>
        <pc:cxnChg chg="mod">
          <ac:chgData name="Mikami, Maho" userId="50612f1b-df2d-47bb-8fdd-7ddedc83fc7e" providerId="ADAL" clId="{5CBE12F2-F3C8-4DCE-AD77-5EBD7EED8DBF}" dt="2024-03-24T07:03:09.569" v="4694"/>
          <ac:cxnSpMkLst>
            <pc:docMk/>
            <pc:sldMk cId="4186158384" sldId="2147378644"/>
            <ac:cxnSpMk id="112" creationId="{28D914FE-2DD6-862F-AB8B-8339288C17A1}"/>
          </ac:cxnSpMkLst>
        </pc:cxnChg>
        <pc:cxnChg chg="mod">
          <ac:chgData name="Mikami, Maho" userId="50612f1b-df2d-47bb-8fdd-7ddedc83fc7e" providerId="ADAL" clId="{5CBE12F2-F3C8-4DCE-AD77-5EBD7EED8DBF}" dt="2024-03-24T07:03:09.569" v="4694"/>
          <ac:cxnSpMkLst>
            <pc:docMk/>
            <pc:sldMk cId="4186158384" sldId="2147378644"/>
            <ac:cxnSpMk id="114" creationId="{76C17139-59FA-EBB4-7245-A4D05240CA35}"/>
          </ac:cxnSpMkLst>
        </pc:cxnChg>
        <pc:cxnChg chg="mod">
          <ac:chgData name="Mikami, Maho" userId="50612f1b-df2d-47bb-8fdd-7ddedc83fc7e" providerId="ADAL" clId="{5CBE12F2-F3C8-4DCE-AD77-5EBD7EED8DBF}" dt="2024-03-24T07:03:09.569" v="4694"/>
          <ac:cxnSpMkLst>
            <pc:docMk/>
            <pc:sldMk cId="4186158384" sldId="2147378644"/>
            <ac:cxnSpMk id="115" creationId="{541CAD55-8663-4896-13EF-838097773D57}"/>
          </ac:cxnSpMkLst>
        </pc:cxnChg>
        <pc:cxnChg chg="mod">
          <ac:chgData name="Mikami, Maho" userId="50612f1b-df2d-47bb-8fdd-7ddedc83fc7e" providerId="ADAL" clId="{5CBE12F2-F3C8-4DCE-AD77-5EBD7EED8DBF}" dt="2024-03-24T07:03:09.569" v="4694"/>
          <ac:cxnSpMkLst>
            <pc:docMk/>
            <pc:sldMk cId="4186158384" sldId="2147378644"/>
            <ac:cxnSpMk id="116" creationId="{766D5174-F995-2088-C500-4159CB122E5F}"/>
          </ac:cxnSpMkLst>
        </pc:cxnChg>
        <pc:cxnChg chg="mod">
          <ac:chgData name="Mikami, Maho" userId="50612f1b-df2d-47bb-8fdd-7ddedc83fc7e" providerId="ADAL" clId="{5CBE12F2-F3C8-4DCE-AD77-5EBD7EED8DBF}" dt="2024-03-24T07:03:09.569" v="4694"/>
          <ac:cxnSpMkLst>
            <pc:docMk/>
            <pc:sldMk cId="4186158384" sldId="2147378644"/>
            <ac:cxnSpMk id="127" creationId="{674A3D0D-A6F1-D803-0DCF-BBF9836BD745}"/>
          </ac:cxnSpMkLst>
        </pc:cxnChg>
        <pc:cxnChg chg="mod">
          <ac:chgData name="Mikami, Maho" userId="50612f1b-df2d-47bb-8fdd-7ddedc83fc7e" providerId="ADAL" clId="{5CBE12F2-F3C8-4DCE-AD77-5EBD7EED8DBF}" dt="2024-03-24T07:03:09.569" v="4694"/>
          <ac:cxnSpMkLst>
            <pc:docMk/>
            <pc:sldMk cId="4186158384" sldId="2147378644"/>
            <ac:cxnSpMk id="128" creationId="{7AF59539-30A6-9F60-0FB0-EE0810CCC19D}"/>
          </ac:cxnSpMkLst>
        </pc:cxnChg>
        <pc:cxnChg chg="mod">
          <ac:chgData name="Mikami, Maho" userId="50612f1b-df2d-47bb-8fdd-7ddedc83fc7e" providerId="ADAL" clId="{5CBE12F2-F3C8-4DCE-AD77-5EBD7EED8DBF}" dt="2024-03-24T07:03:09.569" v="4694"/>
          <ac:cxnSpMkLst>
            <pc:docMk/>
            <pc:sldMk cId="4186158384" sldId="2147378644"/>
            <ac:cxnSpMk id="129" creationId="{2693CB02-4D19-C6C5-9126-0B5B3A61C9F0}"/>
          </ac:cxnSpMkLst>
        </pc:cxnChg>
        <pc:cxnChg chg="mod">
          <ac:chgData name="Mikami, Maho" userId="50612f1b-df2d-47bb-8fdd-7ddedc83fc7e" providerId="ADAL" clId="{5CBE12F2-F3C8-4DCE-AD77-5EBD7EED8DBF}" dt="2024-03-24T07:03:09.569" v="4694"/>
          <ac:cxnSpMkLst>
            <pc:docMk/>
            <pc:sldMk cId="4186158384" sldId="2147378644"/>
            <ac:cxnSpMk id="133" creationId="{15F348B4-4593-655C-57D3-D0321E4F5EA4}"/>
          </ac:cxnSpMkLst>
        </pc:cxnChg>
        <pc:cxnChg chg="mod">
          <ac:chgData name="Mikami, Maho" userId="50612f1b-df2d-47bb-8fdd-7ddedc83fc7e" providerId="ADAL" clId="{5CBE12F2-F3C8-4DCE-AD77-5EBD7EED8DBF}" dt="2024-03-24T07:03:09.569" v="4694"/>
          <ac:cxnSpMkLst>
            <pc:docMk/>
            <pc:sldMk cId="4186158384" sldId="2147378644"/>
            <ac:cxnSpMk id="135" creationId="{3E1D42F8-85D9-6C24-6593-8EC4A28ED2C0}"/>
          </ac:cxnSpMkLst>
        </pc:cxnChg>
        <pc:cxnChg chg="mod">
          <ac:chgData name="Mikami, Maho" userId="50612f1b-df2d-47bb-8fdd-7ddedc83fc7e" providerId="ADAL" clId="{5CBE12F2-F3C8-4DCE-AD77-5EBD7EED8DBF}" dt="2024-03-24T07:03:09.569" v="4694"/>
          <ac:cxnSpMkLst>
            <pc:docMk/>
            <pc:sldMk cId="4186158384" sldId="2147378644"/>
            <ac:cxnSpMk id="140" creationId="{7DAB4361-A95C-2B94-7844-39CB7A7AEDEF}"/>
          </ac:cxnSpMkLst>
        </pc:cxnChg>
        <pc:cxnChg chg="mod">
          <ac:chgData name="Mikami, Maho" userId="50612f1b-df2d-47bb-8fdd-7ddedc83fc7e" providerId="ADAL" clId="{5CBE12F2-F3C8-4DCE-AD77-5EBD7EED8DBF}" dt="2024-03-24T07:03:09.569" v="4694"/>
          <ac:cxnSpMkLst>
            <pc:docMk/>
            <pc:sldMk cId="4186158384" sldId="2147378644"/>
            <ac:cxnSpMk id="141" creationId="{E36D1FC0-9417-4EAF-72E2-DD1C495D94E7}"/>
          </ac:cxnSpMkLst>
        </pc:cxnChg>
        <pc:cxnChg chg="mod">
          <ac:chgData name="Mikami, Maho" userId="50612f1b-df2d-47bb-8fdd-7ddedc83fc7e" providerId="ADAL" clId="{5CBE12F2-F3C8-4DCE-AD77-5EBD7EED8DBF}" dt="2024-03-24T07:03:09.569" v="4694"/>
          <ac:cxnSpMkLst>
            <pc:docMk/>
            <pc:sldMk cId="4186158384" sldId="2147378644"/>
            <ac:cxnSpMk id="142" creationId="{FE2226C5-05E8-DD05-785A-D52DB7E62F62}"/>
          </ac:cxnSpMkLst>
        </pc:cxnChg>
        <pc:cxnChg chg="mod">
          <ac:chgData name="Mikami, Maho" userId="50612f1b-df2d-47bb-8fdd-7ddedc83fc7e" providerId="ADAL" clId="{5CBE12F2-F3C8-4DCE-AD77-5EBD7EED8DBF}" dt="2024-03-24T07:03:09.569" v="4694"/>
          <ac:cxnSpMkLst>
            <pc:docMk/>
            <pc:sldMk cId="4186158384" sldId="2147378644"/>
            <ac:cxnSpMk id="143" creationId="{B3F613E3-9B52-8BD2-080F-2E6A52DA3CF0}"/>
          </ac:cxnSpMkLst>
        </pc:cxnChg>
        <pc:cxnChg chg="mod">
          <ac:chgData name="Mikami, Maho" userId="50612f1b-df2d-47bb-8fdd-7ddedc83fc7e" providerId="ADAL" clId="{5CBE12F2-F3C8-4DCE-AD77-5EBD7EED8DBF}" dt="2024-03-24T07:03:09.569" v="4694"/>
          <ac:cxnSpMkLst>
            <pc:docMk/>
            <pc:sldMk cId="4186158384" sldId="2147378644"/>
            <ac:cxnSpMk id="144" creationId="{FA74C2B0-4294-7F23-24F4-572825D386D5}"/>
          </ac:cxnSpMkLst>
        </pc:cxnChg>
        <pc:cxnChg chg="mod">
          <ac:chgData name="Mikami, Maho" userId="50612f1b-df2d-47bb-8fdd-7ddedc83fc7e" providerId="ADAL" clId="{5CBE12F2-F3C8-4DCE-AD77-5EBD7EED8DBF}" dt="2024-03-24T07:03:09.569" v="4694"/>
          <ac:cxnSpMkLst>
            <pc:docMk/>
            <pc:sldMk cId="4186158384" sldId="2147378644"/>
            <ac:cxnSpMk id="145" creationId="{DA53EB03-E866-6F38-E9E4-B3C3919FCE03}"/>
          </ac:cxnSpMkLst>
        </pc:cxnChg>
        <pc:cxnChg chg="mod">
          <ac:chgData name="Mikami, Maho" userId="50612f1b-df2d-47bb-8fdd-7ddedc83fc7e" providerId="ADAL" clId="{5CBE12F2-F3C8-4DCE-AD77-5EBD7EED8DBF}" dt="2024-03-24T07:03:09.569" v="4694"/>
          <ac:cxnSpMkLst>
            <pc:docMk/>
            <pc:sldMk cId="4186158384" sldId="2147378644"/>
            <ac:cxnSpMk id="147" creationId="{05A1C710-A17E-58B7-E6B1-199253160D35}"/>
          </ac:cxnSpMkLst>
        </pc:cxnChg>
        <pc:cxnChg chg="mod">
          <ac:chgData name="Mikami, Maho" userId="50612f1b-df2d-47bb-8fdd-7ddedc83fc7e" providerId="ADAL" clId="{5CBE12F2-F3C8-4DCE-AD77-5EBD7EED8DBF}" dt="2024-03-24T07:03:09.569" v="4694"/>
          <ac:cxnSpMkLst>
            <pc:docMk/>
            <pc:sldMk cId="4186158384" sldId="2147378644"/>
            <ac:cxnSpMk id="148" creationId="{30A79981-44DD-387B-6BE5-88B04775E6A3}"/>
          </ac:cxnSpMkLst>
        </pc:cxnChg>
        <pc:cxnChg chg="mod">
          <ac:chgData name="Mikami, Maho" userId="50612f1b-df2d-47bb-8fdd-7ddedc83fc7e" providerId="ADAL" clId="{5CBE12F2-F3C8-4DCE-AD77-5EBD7EED8DBF}" dt="2024-03-24T07:03:09.569" v="4694"/>
          <ac:cxnSpMkLst>
            <pc:docMk/>
            <pc:sldMk cId="4186158384" sldId="2147378644"/>
            <ac:cxnSpMk id="151" creationId="{217152CE-F357-E97E-412C-4A622BA3A9A7}"/>
          </ac:cxnSpMkLst>
        </pc:cxnChg>
        <pc:cxnChg chg="mod">
          <ac:chgData name="Mikami, Maho" userId="50612f1b-df2d-47bb-8fdd-7ddedc83fc7e" providerId="ADAL" clId="{5CBE12F2-F3C8-4DCE-AD77-5EBD7EED8DBF}" dt="2024-03-24T07:03:09.569" v="4694"/>
          <ac:cxnSpMkLst>
            <pc:docMk/>
            <pc:sldMk cId="4186158384" sldId="2147378644"/>
            <ac:cxnSpMk id="152" creationId="{E25130E5-7B3A-ACDF-0C41-DE08CCFFD2AF}"/>
          </ac:cxnSpMkLst>
        </pc:cxnChg>
        <pc:cxnChg chg="mod">
          <ac:chgData name="Mikami, Maho" userId="50612f1b-df2d-47bb-8fdd-7ddedc83fc7e" providerId="ADAL" clId="{5CBE12F2-F3C8-4DCE-AD77-5EBD7EED8DBF}" dt="2024-03-24T07:03:09.569" v="4694"/>
          <ac:cxnSpMkLst>
            <pc:docMk/>
            <pc:sldMk cId="4186158384" sldId="2147378644"/>
            <ac:cxnSpMk id="158" creationId="{CAEB06BE-80FD-9F6B-4930-0EB6F2135BB7}"/>
          </ac:cxnSpMkLst>
        </pc:cxnChg>
        <pc:cxnChg chg="mod">
          <ac:chgData name="Mikami, Maho" userId="50612f1b-df2d-47bb-8fdd-7ddedc83fc7e" providerId="ADAL" clId="{5CBE12F2-F3C8-4DCE-AD77-5EBD7EED8DBF}" dt="2024-03-24T07:03:09.569" v="4694"/>
          <ac:cxnSpMkLst>
            <pc:docMk/>
            <pc:sldMk cId="4186158384" sldId="2147378644"/>
            <ac:cxnSpMk id="159" creationId="{50CFC198-50C6-4929-FE7D-21DCBBAF826D}"/>
          </ac:cxnSpMkLst>
        </pc:cxnChg>
        <pc:cxnChg chg="mod">
          <ac:chgData name="Mikami, Maho" userId="50612f1b-df2d-47bb-8fdd-7ddedc83fc7e" providerId="ADAL" clId="{5CBE12F2-F3C8-4DCE-AD77-5EBD7EED8DBF}" dt="2024-03-24T07:03:09.569" v="4694"/>
          <ac:cxnSpMkLst>
            <pc:docMk/>
            <pc:sldMk cId="4186158384" sldId="2147378644"/>
            <ac:cxnSpMk id="160" creationId="{3E07286B-5318-EBBB-0329-CD7823F69E7B}"/>
          </ac:cxnSpMkLst>
        </pc:cxnChg>
        <pc:cxnChg chg="mod">
          <ac:chgData name="Mikami, Maho" userId="50612f1b-df2d-47bb-8fdd-7ddedc83fc7e" providerId="ADAL" clId="{5CBE12F2-F3C8-4DCE-AD77-5EBD7EED8DBF}" dt="2024-03-24T07:03:09.569" v="4694"/>
          <ac:cxnSpMkLst>
            <pc:docMk/>
            <pc:sldMk cId="4186158384" sldId="2147378644"/>
            <ac:cxnSpMk id="161" creationId="{DD4BCE11-D490-FE81-519D-D5DE8F6E7AD5}"/>
          </ac:cxnSpMkLst>
        </pc:cxnChg>
        <pc:cxnChg chg="mod">
          <ac:chgData name="Mikami, Maho" userId="50612f1b-df2d-47bb-8fdd-7ddedc83fc7e" providerId="ADAL" clId="{5CBE12F2-F3C8-4DCE-AD77-5EBD7EED8DBF}" dt="2024-03-24T07:03:09.569" v="4694"/>
          <ac:cxnSpMkLst>
            <pc:docMk/>
            <pc:sldMk cId="4186158384" sldId="2147378644"/>
            <ac:cxnSpMk id="162" creationId="{92BDC4FD-9248-C777-843E-CD3CC3AD4549}"/>
          </ac:cxnSpMkLst>
        </pc:cxnChg>
        <pc:cxnChg chg="mod">
          <ac:chgData name="Mikami, Maho" userId="50612f1b-df2d-47bb-8fdd-7ddedc83fc7e" providerId="ADAL" clId="{5CBE12F2-F3C8-4DCE-AD77-5EBD7EED8DBF}" dt="2024-03-24T07:03:09.569" v="4694"/>
          <ac:cxnSpMkLst>
            <pc:docMk/>
            <pc:sldMk cId="4186158384" sldId="2147378644"/>
            <ac:cxnSpMk id="165" creationId="{AE7C1A0E-B193-C584-876E-12460FFA001B}"/>
          </ac:cxnSpMkLst>
        </pc:cxnChg>
        <pc:cxnChg chg="mod">
          <ac:chgData name="Mikami, Maho" userId="50612f1b-df2d-47bb-8fdd-7ddedc83fc7e" providerId="ADAL" clId="{5CBE12F2-F3C8-4DCE-AD77-5EBD7EED8DBF}" dt="2024-03-24T07:03:09.569" v="4694"/>
          <ac:cxnSpMkLst>
            <pc:docMk/>
            <pc:sldMk cId="4186158384" sldId="2147378644"/>
            <ac:cxnSpMk id="173" creationId="{B7ECF557-2F3B-2E52-0EFC-E4C7658827B2}"/>
          </ac:cxnSpMkLst>
        </pc:cxnChg>
      </pc:sldChg>
      <pc:sldChg chg="addSp delSp modSp mod">
        <pc:chgData name="Mikami, Maho" userId="50612f1b-df2d-47bb-8fdd-7ddedc83fc7e" providerId="ADAL" clId="{5CBE12F2-F3C8-4DCE-AD77-5EBD7EED8DBF}" dt="2024-03-24T07:07:27.928" v="4970" actId="20577"/>
        <pc:sldMkLst>
          <pc:docMk/>
          <pc:sldMk cId="2061620207" sldId="2147378645"/>
        </pc:sldMkLst>
        <pc:spChg chg="mod">
          <ac:chgData name="Mikami, Maho" userId="50612f1b-df2d-47bb-8fdd-7ddedc83fc7e" providerId="ADAL" clId="{5CBE12F2-F3C8-4DCE-AD77-5EBD7EED8DBF}" dt="2024-03-24T03:54:49.281" v="815" actId="20577"/>
          <ac:spMkLst>
            <pc:docMk/>
            <pc:sldMk cId="2061620207" sldId="2147378645"/>
            <ac:spMk id="2" creationId="{1C1AA4DE-85E5-437E-8ACE-411E6DF3710F}"/>
          </ac:spMkLst>
        </pc:spChg>
        <pc:spChg chg="mod">
          <ac:chgData name="Mikami, Maho" userId="50612f1b-df2d-47bb-8fdd-7ddedc83fc7e" providerId="ADAL" clId="{5CBE12F2-F3C8-4DCE-AD77-5EBD7EED8DBF}" dt="2024-03-24T03:54:32.079" v="737"/>
          <ac:spMkLst>
            <pc:docMk/>
            <pc:sldMk cId="2061620207" sldId="2147378645"/>
            <ac:spMk id="3" creationId="{A4EB7737-022C-9B62-1DB5-A6CCBA35ABE6}"/>
          </ac:spMkLst>
        </pc:spChg>
        <pc:spChg chg="mod">
          <ac:chgData name="Mikami, Maho" userId="50612f1b-df2d-47bb-8fdd-7ddedc83fc7e" providerId="ADAL" clId="{5CBE12F2-F3C8-4DCE-AD77-5EBD7EED8DBF}" dt="2024-03-24T07:04:28.841" v="4750" actId="948"/>
          <ac:spMkLst>
            <pc:docMk/>
            <pc:sldMk cId="2061620207" sldId="2147378645"/>
            <ac:spMk id="4" creationId="{E9E7DA87-C4F6-99F2-3840-1A895A4014C5}"/>
          </ac:spMkLst>
        </pc:spChg>
        <pc:spChg chg="del mod">
          <ac:chgData name="Mikami, Maho" userId="50612f1b-df2d-47bb-8fdd-7ddedc83fc7e" providerId="ADAL" clId="{5CBE12F2-F3C8-4DCE-AD77-5EBD7EED8DBF}" dt="2024-03-24T03:56:04.046" v="959" actId="478"/>
          <ac:spMkLst>
            <pc:docMk/>
            <pc:sldMk cId="2061620207" sldId="2147378645"/>
            <ac:spMk id="7" creationId="{8BB312B7-7ECB-4407-2E77-9D084C0D0C8D}"/>
          </ac:spMkLst>
        </pc:spChg>
        <pc:spChg chg="mod">
          <ac:chgData name="Mikami, Maho" userId="50612f1b-df2d-47bb-8fdd-7ddedc83fc7e" providerId="ADAL" clId="{5CBE12F2-F3C8-4DCE-AD77-5EBD7EED8DBF}" dt="2024-03-24T03:54:08.734" v="650" actId="553"/>
          <ac:spMkLst>
            <pc:docMk/>
            <pc:sldMk cId="2061620207" sldId="2147378645"/>
            <ac:spMk id="9" creationId="{9150E280-E928-52E2-4B63-0B75D186581B}"/>
          </ac:spMkLst>
        </pc:spChg>
        <pc:spChg chg="mod">
          <ac:chgData name="Mikami, Maho" userId="50612f1b-df2d-47bb-8fdd-7ddedc83fc7e" providerId="ADAL" clId="{5CBE12F2-F3C8-4DCE-AD77-5EBD7EED8DBF}" dt="2024-03-24T03:54:08.734" v="650" actId="553"/>
          <ac:spMkLst>
            <pc:docMk/>
            <pc:sldMk cId="2061620207" sldId="2147378645"/>
            <ac:spMk id="11" creationId="{38BD8558-5375-2020-7867-EE5542490BA7}"/>
          </ac:spMkLst>
        </pc:spChg>
        <pc:spChg chg="add mod">
          <ac:chgData name="Mikami, Maho" userId="50612f1b-df2d-47bb-8fdd-7ddedc83fc7e" providerId="ADAL" clId="{5CBE12F2-F3C8-4DCE-AD77-5EBD7EED8DBF}" dt="2024-03-24T03:54:20.019" v="690" actId="20577"/>
          <ac:spMkLst>
            <pc:docMk/>
            <pc:sldMk cId="2061620207" sldId="2147378645"/>
            <ac:spMk id="13" creationId="{A92A3A09-3BCC-92D1-ECDC-F93E23DAC4C6}"/>
          </ac:spMkLst>
        </pc:spChg>
        <pc:spChg chg="add mod">
          <ac:chgData name="Mikami, Maho" userId="50612f1b-df2d-47bb-8fdd-7ddedc83fc7e" providerId="ADAL" clId="{5CBE12F2-F3C8-4DCE-AD77-5EBD7EED8DBF}" dt="2024-03-24T03:54:25.106" v="703" actId="20577"/>
          <ac:spMkLst>
            <pc:docMk/>
            <pc:sldMk cId="2061620207" sldId="2147378645"/>
            <ac:spMk id="14" creationId="{F7F3E2D2-67C9-3151-1D14-2FB373DF5AFE}"/>
          </ac:spMkLst>
        </pc:spChg>
        <pc:spChg chg="add mod">
          <ac:chgData name="Mikami, Maho" userId="50612f1b-df2d-47bb-8fdd-7ddedc83fc7e" providerId="ADAL" clId="{5CBE12F2-F3C8-4DCE-AD77-5EBD7EED8DBF}" dt="2024-03-24T07:07:27.928" v="4970" actId="20577"/>
          <ac:spMkLst>
            <pc:docMk/>
            <pc:sldMk cId="2061620207" sldId="2147378645"/>
            <ac:spMk id="16" creationId="{9DE690ED-9E49-0925-CE48-EAF06D6B1920}"/>
          </ac:spMkLst>
        </pc:spChg>
        <pc:spChg chg="add mod">
          <ac:chgData name="Mikami, Maho" userId="50612f1b-df2d-47bb-8fdd-7ddedc83fc7e" providerId="ADAL" clId="{5CBE12F2-F3C8-4DCE-AD77-5EBD7EED8DBF}" dt="2024-03-24T03:56:07.882" v="960" actId="20577"/>
          <ac:spMkLst>
            <pc:docMk/>
            <pc:sldMk cId="2061620207" sldId="2147378645"/>
            <ac:spMk id="17" creationId="{61AC53C0-2671-6B8D-B098-1B06ADFC149A}"/>
          </ac:spMkLst>
        </pc:spChg>
        <pc:spChg chg="add del mod">
          <ac:chgData name="Mikami, Maho" userId="50612f1b-df2d-47bb-8fdd-7ddedc83fc7e" providerId="ADAL" clId="{5CBE12F2-F3C8-4DCE-AD77-5EBD7EED8DBF}" dt="2024-03-24T07:04:03.375" v="4702" actId="478"/>
          <ac:spMkLst>
            <pc:docMk/>
            <pc:sldMk cId="2061620207" sldId="2147378645"/>
            <ac:spMk id="18" creationId="{2066A584-E0F6-5844-1677-31E9CE7AA514}"/>
          </ac:spMkLst>
        </pc:spChg>
        <pc:grpChg chg="add mod">
          <ac:chgData name="Mikami, Maho" userId="50612f1b-df2d-47bb-8fdd-7ddedc83fc7e" providerId="ADAL" clId="{5CBE12F2-F3C8-4DCE-AD77-5EBD7EED8DBF}" dt="2024-03-24T03:54:08.734" v="650" actId="553"/>
          <ac:grpSpMkLst>
            <pc:docMk/>
            <pc:sldMk cId="2061620207" sldId="2147378645"/>
            <ac:grpSpMk id="5" creationId="{85705A4D-8D39-1EC8-FD76-0A4E1AC80EDF}"/>
          </ac:grpSpMkLst>
        </pc:grpChg>
        <pc:grpChg chg="mod">
          <ac:chgData name="Mikami, Maho" userId="50612f1b-df2d-47bb-8fdd-7ddedc83fc7e" providerId="ADAL" clId="{5CBE12F2-F3C8-4DCE-AD77-5EBD7EED8DBF}" dt="2024-03-24T03:54:08.734" v="650" actId="553"/>
          <ac:grpSpMkLst>
            <pc:docMk/>
            <pc:sldMk cId="2061620207" sldId="2147378645"/>
            <ac:grpSpMk id="6" creationId="{A7028E05-DFDA-ED43-8BF2-6A4F437D7CD2}"/>
          </ac:grpSpMkLst>
        </pc:grpChg>
        <pc:grpChg chg="mod">
          <ac:chgData name="Mikami, Maho" userId="50612f1b-df2d-47bb-8fdd-7ddedc83fc7e" providerId="ADAL" clId="{5CBE12F2-F3C8-4DCE-AD77-5EBD7EED8DBF}" dt="2024-03-24T03:54:08.734" v="650" actId="553"/>
          <ac:grpSpMkLst>
            <pc:docMk/>
            <pc:sldMk cId="2061620207" sldId="2147378645"/>
            <ac:grpSpMk id="8" creationId="{92D62AEA-4990-51FE-5773-177F4B1D0B34}"/>
          </ac:grpSpMkLst>
        </pc:grpChg>
        <pc:graphicFrameChg chg="add mod ord modVis replST">
          <ac:chgData name="Mikami, Maho" userId="50612f1b-df2d-47bb-8fdd-7ddedc83fc7e" providerId="ADAL" clId="{5CBE12F2-F3C8-4DCE-AD77-5EBD7EED8DBF}" dt="2024-03-24T07:04:28.848" v="4754"/>
          <ac:graphicFrameMkLst>
            <pc:docMk/>
            <pc:sldMk cId="2061620207" sldId="2147378645"/>
            <ac:graphicFrameMk id="15" creationId="{5AC2F319-4482-EB49-9D9F-36AA76046970}"/>
          </ac:graphicFrameMkLst>
        </pc:graphicFrameChg>
        <pc:cxnChg chg="mod">
          <ac:chgData name="Mikami, Maho" userId="50612f1b-df2d-47bb-8fdd-7ddedc83fc7e" providerId="ADAL" clId="{5CBE12F2-F3C8-4DCE-AD77-5EBD7EED8DBF}" dt="2024-03-24T03:54:08.734" v="650" actId="553"/>
          <ac:cxnSpMkLst>
            <pc:docMk/>
            <pc:sldMk cId="2061620207" sldId="2147378645"/>
            <ac:cxnSpMk id="10" creationId="{F3002201-FED7-B609-0EFE-B0A723677E49}"/>
          </ac:cxnSpMkLst>
        </pc:cxnChg>
        <pc:cxnChg chg="mod">
          <ac:chgData name="Mikami, Maho" userId="50612f1b-df2d-47bb-8fdd-7ddedc83fc7e" providerId="ADAL" clId="{5CBE12F2-F3C8-4DCE-AD77-5EBD7EED8DBF}" dt="2024-03-24T03:54:08.734" v="650" actId="553"/>
          <ac:cxnSpMkLst>
            <pc:docMk/>
            <pc:sldMk cId="2061620207" sldId="2147378645"/>
            <ac:cxnSpMk id="12" creationId="{A91ACEAA-4AA1-E7B9-26AD-A7762131885B}"/>
          </ac:cxnSpMkLst>
        </pc:cxnChg>
      </pc:sldChg>
      <pc:sldChg chg="addSp delSp modSp del mod">
        <pc:chgData name="Mikami, Maho" userId="50612f1b-df2d-47bb-8fdd-7ddedc83fc7e" providerId="ADAL" clId="{5CBE12F2-F3C8-4DCE-AD77-5EBD7EED8DBF}" dt="2024-03-24T06:10:18.704" v="3137" actId="47"/>
        <pc:sldMkLst>
          <pc:docMk/>
          <pc:sldMk cId="3796097863" sldId="2147378646"/>
        </pc:sldMkLst>
        <pc:spChg chg="mod">
          <ac:chgData name="Mikami, Maho" userId="50612f1b-df2d-47bb-8fdd-7ddedc83fc7e" providerId="ADAL" clId="{5CBE12F2-F3C8-4DCE-AD77-5EBD7EED8DBF}" dt="2024-03-24T03:30:14.869" v="296" actId="14100"/>
          <ac:spMkLst>
            <pc:docMk/>
            <pc:sldMk cId="3796097863" sldId="2147378646"/>
            <ac:spMk id="3" creationId="{ECBB1B18-6E48-A741-52DD-AE2FF2CF5F79}"/>
          </ac:spMkLst>
        </pc:spChg>
        <pc:spChg chg="add mod topLvl">
          <ac:chgData name="Mikami, Maho" userId="50612f1b-df2d-47bb-8fdd-7ddedc83fc7e" providerId="ADAL" clId="{5CBE12F2-F3C8-4DCE-AD77-5EBD7EED8DBF}" dt="2024-03-24T03:50:12.734" v="575" actId="14100"/>
          <ac:spMkLst>
            <pc:docMk/>
            <pc:sldMk cId="3796097863" sldId="2147378646"/>
            <ac:spMk id="4" creationId="{594626DE-097B-2B8D-D986-53F295198D7C}"/>
          </ac:spMkLst>
        </pc:spChg>
        <pc:spChg chg="add mod topLvl">
          <ac:chgData name="Mikami, Maho" userId="50612f1b-df2d-47bb-8fdd-7ddedc83fc7e" providerId="ADAL" clId="{5CBE12F2-F3C8-4DCE-AD77-5EBD7EED8DBF}" dt="2024-03-24T03:50:05.485" v="573" actId="164"/>
          <ac:spMkLst>
            <pc:docMk/>
            <pc:sldMk cId="3796097863" sldId="2147378646"/>
            <ac:spMk id="7" creationId="{DAE7232C-13EE-7DD3-6DB8-034E58A856F2}"/>
          </ac:spMkLst>
        </pc:spChg>
        <pc:spChg chg="add mod topLvl">
          <ac:chgData name="Mikami, Maho" userId="50612f1b-df2d-47bb-8fdd-7ddedc83fc7e" providerId="ADAL" clId="{5CBE12F2-F3C8-4DCE-AD77-5EBD7EED8DBF}" dt="2024-03-24T03:50:05.485" v="573" actId="164"/>
          <ac:spMkLst>
            <pc:docMk/>
            <pc:sldMk cId="3796097863" sldId="2147378646"/>
            <ac:spMk id="8" creationId="{92A853E6-7034-5EEF-C0BC-1567877AFDDD}"/>
          </ac:spMkLst>
        </pc:spChg>
        <pc:spChg chg="add mod topLvl">
          <ac:chgData name="Mikami, Maho" userId="50612f1b-df2d-47bb-8fdd-7ddedc83fc7e" providerId="ADAL" clId="{5CBE12F2-F3C8-4DCE-AD77-5EBD7EED8DBF}" dt="2024-03-24T03:50:12.734" v="575" actId="14100"/>
          <ac:spMkLst>
            <pc:docMk/>
            <pc:sldMk cId="3796097863" sldId="2147378646"/>
            <ac:spMk id="10" creationId="{3494E9A5-5608-3A15-FD86-A5092D3F65CB}"/>
          </ac:spMkLst>
        </pc:spChg>
        <pc:spChg chg="add mod topLvl">
          <ac:chgData name="Mikami, Maho" userId="50612f1b-df2d-47bb-8fdd-7ddedc83fc7e" providerId="ADAL" clId="{5CBE12F2-F3C8-4DCE-AD77-5EBD7EED8DBF}" dt="2024-03-24T03:50:05.485" v="573" actId="164"/>
          <ac:spMkLst>
            <pc:docMk/>
            <pc:sldMk cId="3796097863" sldId="2147378646"/>
            <ac:spMk id="11" creationId="{D925165B-55C1-9058-A124-735338D2DDB2}"/>
          </ac:spMkLst>
        </pc:spChg>
        <pc:spChg chg="add mod topLvl">
          <ac:chgData name="Mikami, Maho" userId="50612f1b-df2d-47bb-8fdd-7ddedc83fc7e" providerId="ADAL" clId="{5CBE12F2-F3C8-4DCE-AD77-5EBD7EED8DBF}" dt="2024-03-24T03:50:05.485" v="573" actId="164"/>
          <ac:spMkLst>
            <pc:docMk/>
            <pc:sldMk cId="3796097863" sldId="2147378646"/>
            <ac:spMk id="12" creationId="{09947FA2-7373-F0B3-7BF6-0420CC8F699B}"/>
          </ac:spMkLst>
        </pc:spChg>
        <pc:spChg chg="add mod topLvl">
          <ac:chgData name="Mikami, Maho" userId="50612f1b-df2d-47bb-8fdd-7ddedc83fc7e" providerId="ADAL" clId="{5CBE12F2-F3C8-4DCE-AD77-5EBD7EED8DBF}" dt="2024-03-24T03:50:12.734" v="575" actId="14100"/>
          <ac:spMkLst>
            <pc:docMk/>
            <pc:sldMk cId="3796097863" sldId="2147378646"/>
            <ac:spMk id="13" creationId="{1008BA8B-C24C-50EA-CAE3-BFD5F74C6359}"/>
          </ac:spMkLst>
        </pc:spChg>
        <pc:spChg chg="add mod topLvl">
          <ac:chgData name="Mikami, Maho" userId="50612f1b-df2d-47bb-8fdd-7ddedc83fc7e" providerId="ADAL" clId="{5CBE12F2-F3C8-4DCE-AD77-5EBD7EED8DBF}" dt="2024-03-24T03:50:12.734" v="575" actId="14100"/>
          <ac:spMkLst>
            <pc:docMk/>
            <pc:sldMk cId="3796097863" sldId="2147378646"/>
            <ac:spMk id="14" creationId="{07161296-BB3A-ED46-9CBB-D75FA6066CEF}"/>
          </ac:spMkLst>
        </pc:spChg>
        <pc:spChg chg="add mod topLvl">
          <ac:chgData name="Mikami, Maho" userId="50612f1b-df2d-47bb-8fdd-7ddedc83fc7e" providerId="ADAL" clId="{5CBE12F2-F3C8-4DCE-AD77-5EBD7EED8DBF}" dt="2024-03-24T03:50:12.734" v="575" actId="14100"/>
          <ac:spMkLst>
            <pc:docMk/>
            <pc:sldMk cId="3796097863" sldId="2147378646"/>
            <ac:spMk id="15" creationId="{6D2927F4-EBA5-D461-D520-73C5151257F0}"/>
          </ac:spMkLst>
        </pc:spChg>
        <pc:spChg chg="add mod topLvl">
          <ac:chgData name="Mikami, Maho" userId="50612f1b-df2d-47bb-8fdd-7ddedc83fc7e" providerId="ADAL" clId="{5CBE12F2-F3C8-4DCE-AD77-5EBD7EED8DBF}" dt="2024-03-24T03:50:12.734" v="575" actId="14100"/>
          <ac:spMkLst>
            <pc:docMk/>
            <pc:sldMk cId="3796097863" sldId="2147378646"/>
            <ac:spMk id="16" creationId="{83AA740C-FC09-CC54-D91F-82014C46C4A2}"/>
          </ac:spMkLst>
        </pc:spChg>
        <pc:spChg chg="add mod topLvl">
          <ac:chgData name="Mikami, Maho" userId="50612f1b-df2d-47bb-8fdd-7ddedc83fc7e" providerId="ADAL" clId="{5CBE12F2-F3C8-4DCE-AD77-5EBD7EED8DBF}" dt="2024-03-24T03:50:05.485" v="573" actId="164"/>
          <ac:spMkLst>
            <pc:docMk/>
            <pc:sldMk cId="3796097863" sldId="2147378646"/>
            <ac:spMk id="20" creationId="{F87F34E9-DA59-7FBD-CF4B-F228741F556F}"/>
          </ac:spMkLst>
        </pc:spChg>
        <pc:spChg chg="add mod topLvl">
          <ac:chgData name="Mikami, Maho" userId="50612f1b-df2d-47bb-8fdd-7ddedc83fc7e" providerId="ADAL" clId="{5CBE12F2-F3C8-4DCE-AD77-5EBD7EED8DBF}" dt="2024-03-24T03:50:05.485" v="573" actId="164"/>
          <ac:spMkLst>
            <pc:docMk/>
            <pc:sldMk cId="3796097863" sldId="2147378646"/>
            <ac:spMk id="21" creationId="{2BFBA36B-7938-2FA0-4087-492AED3019B4}"/>
          </ac:spMkLst>
        </pc:spChg>
        <pc:spChg chg="add mod topLvl">
          <ac:chgData name="Mikami, Maho" userId="50612f1b-df2d-47bb-8fdd-7ddedc83fc7e" providerId="ADAL" clId="{5CBE12F2-F3C8-4DCE-AD77-5EBD7EED8DBF}" dt="2024-03-24T03:50:05.485" v="573" actId="164"/>
          <ac:spMkLst>
            <pc:docMk/>
            <pc:sldMk cId="3796097863" sldId="2147378646"/>
            <ac:spMk id="22" creationId="{641919CE-8D99-1DF7-7827-547C055A4CA9}"/>
          </ac:spMkLst>
        </pc:spChg>
        <pc:spChg chg="add mod topLvl">
          <ac:chgData name="Mikami, Maho" userId="50612f1b-df2d-47bb-8fdd-7ddedc83fc7e" providerId="ADAL" clId="{5CBE12F2-F3C8-4DCE-AD77-5EBD7EED8DBF}" dt="2024-03-24T03:50:05.485" v="573" actId="164"/>
          <ac:spMkLst>
            <pc:docMk/>
            <pc:sldMk cId="3796097863" sldId="2147378646"/>
            <ac:spMk id="23" creationId="{106FD82B-0BE2-BDD1-9984-AE1ECBB123F9}"/>
          </ac:spMkLst>
        </pc:spChg>
        <pc:spChg chg="add mod topLvl">
          <ac:chgData name="Mikami, Maho" userId="50612f1b-df2d-47bb-8fdd-7ddedc83fc7e" providerId="ADAL" clId="{5CBE12F2-F3C8-4DCE-AD77-5EBD7EED8DBF}" dt="2024-03-24T03:50:05.485" v="573" actId="164"/>
          <ac:spMkLst>
            <pc:docMk/>
            <pc:sldMk cId="3796097863" sldId="2147378646"/>
            <ac:spMk id="25" creationId="{ACE4F0CA-0694-F911-5AFE-A7947667132B}"/>
          </ac:spMkLst>
        </pc:spChg>
        <pc:spChg chg="add mod topLvl">
          <ac:chgData name="Mikami, Maho" userId="50612f1b-df2d-47bb-8fdd-7ddedc83fc7e" providerId="ADAL" clId="{5CBE12F2-F3C8-4DCE-AD77-5EBD7EED8DBF}" dt="2024-03-24T03:50:05.485" v="573" actId="164"/>
          <ac:spMkLst>
            <pc:docMk/>
            <pc:sldMk cId="3796097863" sldId="2147378646"/>
            <ac:spMk id="26" creationId="{FC7BD0C8-51DF-147F-8DDA-DCC53754185F}"/>
          </ac:spMkLst>
        </pc:spChg>
        <pc:spChg chg="add mod topLvl">
          <ac:chgData name="Mikami, Maho" userId="50612f1b-df2d-47bb-8fdd-7ddedc83fc7e" providerId="ADAL" clId="{5CBE12F2-F3C8-4DCE-AD77-5EBD7EED8DBF}" dt="2024-03-24T03:50:05.485" v="573" actId="164"/>
          <ac:spMkLst>
            <pc:docMk/>
            <pc:sldMk cId="3796097863" sldId="2147378646"/>
            <ac:spMk id="27" creationId="{C6186138-1F5F-A28A-1B21-046711B26490}"/>
          </ac:spMkLst>
        </pc:spChg>
        <pc:spChg chg="add mod topLvl">
          <ac:chgData name="Mikami, Maho" userId="50612f1b-df2d-47bb-8fdd-7ddedc83fc7e" providerId="ADAL" clId="{5CBE12F2-F3C8-4DCE-AD77-5EBD7EED8DBF}" dt="2024-03-24T03:50:05.485" v="573" actId="164"/>
          <ac:spMkLst>
            <pc:docMk/>
            <pc:sldMk cId="3796097863" sldId="2147378646"/>
            <ac:spMk id="28" creationId="{024C4B06-6F45-A810-E104-A761924E3297}"/>
          </ac:spMkLst>
        </pc:spChg>
        <pc:spChg chg="add del mod">
          <ac:chgData name="Mikami, Maho" userId="50612f1b-df2d-47bb-8fdd-7ddedc83fc7e" providerId="ADAL" clId="{5CBE12F2-F3C8-4DCE-AD77-5EBD7EED8DBF}" dt="2024-03-24T03:49:08.352" v="453" actId="478"/>
          <ac:spMkLst>
            <pc:docMk/>
            <pc:sldMk cId="3796097863" sldId="2147378646"/>
            <ac:spMk id="39" creationId="{BE276D39-DCD4-55FD-F9E5-53CD9AC9F939}"/>
          </ac:spMkLst>
        </pc:spChg>
        <pc:spChg chg="add del mod">
          <ac:chgData name="Mikami, Maho" userId="50612f1b-df2d-47bb-8fdd-7ddedc83fc7e" providerId="ADAL" clId="{5CBE12F2-F3C8-4DCE-AD77-5EBD7EED8DBF}" dt="2024-03-24T03:49:08.352" v="453" actId="478"/>
          <ac:spMkLst>
            <pc:docMk/>
            <pc:sldMk cId="3796097863" sldId="2147378646"/>
            <ac:spMk id="41" creationId="{A167B3C7-57BF-15CD-315E-9A3C66F57C4A}"/>
          </ac:spMkLst>
        </pc:spChg>
        <pc:grpChg chg="add del mod topLvl">
          <ac:chgData name="Mikami, Maho" userId="50612f1b-df2d-47bb-8fdd-7ddedc83fc7e" providerId="ADAL" clId="{5CBE12F2-F3C8-4DCE-AD77-5EBD7EED8DBF}" dt="2024-03-24T03:26:16.725" v="131" actId="165"/>
          <ac:grpSpMkLst>
            <pc:docMk/>
            <pc:sldMk cId="3796097863" sldId="2147378646"/>
            <ac:grpSpMk id="17" creationId="{22C4ACB0-F77A-11BB-BD84-D1CF0E1DD0FB}"/>
          </ac:grpSpMkLst>
        </pc:grpChg>
        <pc:grpChg chg="add del mod">
          <ac:chgData name="Mikami, Maho" userId="50612f1b-df2d-47bb-8fdd-7ddedc83fc7e" providerId="ADAL" clId="{5CBE12F2-F3C8-4DCE-AD77-5EBD7EED8DBF}" dt="2024-03-24T03:26:14.222" v="130" actId="165"/>
          <ac:grpSpMkLst>
            <pc:docMk/>
            <pc:sldMk cId="3796097863" sldId="2147378646"/>
            <ac:grpSpMk id="18" creationId="{337AC4C3-21A2-339A-56DE-A9135085B3D4}"/>
          </ac:grpSpMkLst>
        </pc:grpChg>
        <pc:grpChg chg="add del mod">
          <ac:chgData name="Mikami, Maho" userId="50612f1b-df2d-47bb-8fdd-7ddedc83fc7e" providerId="ADAL" clId="{5CBE12F2-F3C8-4DCE-AD77-5EBD7EED8DBF}" dt="2024-03-24T03:26:35.600" v="154" actId="165"/>
          <ac:grpSpMkLst>
            <pc:docMk/>
            <pc:sldMk cId="3796097863" sldId="2147378646"/>
            <ac:grpSpMk id="19" creationId="{2448B5B8-9CD6-B487-D7CF-B0019759BBBF}"/>
          </ac:grpSpMkLst>
        </pc:grpChg>
        <pc:grpChg chg="add del mod">
          <ac:chgData name="Mikami, Maho" userId="50612f1b-df2d-47bb-8fdd-7ddedc83fc7e" providerId="ADAL" clId="{5CBE12F2-F3C8-4DCE-AD77-5EBD7EED8DBF}" dt="2024-03-24T03:27:44.682" v="192" actId="165"/>
          <ac:grpSpMkLst>
            <pc:docMk/>
            <pc:sldMk cId="3796097863" sldId="2147378646"/>
            <ac:grpSpMk id="24" creationId="{ECC7C014-4248-8009-D320-A8CD6628336E}"/>
          </ac:grpSpMkLst>
        </pc:grpChg>
        <pc:grpChg chg="add del mod">
          <ac:chgData name="Mikami, Maho" userId="50612f1b-df2d-47bb-8fdd-7ddedc83fc7e" providerId="ADAL" clId="{5CBE12F2-F3C8-4DCE-AD77-5EBD7EED8DBF}" dt="2024-03-24T03:27:44.682" v="192" actId="165"/>
          <ac:grpSpMkLst>
            <pc:docMk/>
            <pc:sldMk cId="3796097863" sldId="2147378646"/>
            <ac:grpSpMk id="29" creationId="{78BF23A2-29B0-B625-CF9F-D81DEA8C09EB}"/>
          </ac:grpSpMkLst>
        </pc:grpChg>
        <pc:grpChg chg="add del mod">
          <ac:chgData name="Mikami, Maho" userId="50612f1b-df2d-47bb-8fdd-7ddedc83fc7e" providerId="ADAL" clId="{5CBE12F2-F3C8-4DCE-AD77-5EBD7EED8DBF}" dt="2024-03-24T03:27:44.682" v="192" actId="165"/>
          <ac:grpSpMkLst>
            <pc:docMk/>
            <pc:sldMk cId="3796097863" sldId="2147378646"/>
            <ac:grpSpMk id="30" creationId="{18138821-0317-B037-A88D-3A212E127133}"/>
          </ac:grpSpMkLst>
        </pc:grpChg>
        <pc:grpChg chg="add del mod">
          <ac:chgData name="Mikami, Maho" userId="50612f1b-df2d-47bb-8fdd-7ddedc83fc7e" providerId="ADAL" clId="{5CBE12F2-F3C8-4DCE-AD77-5EBD7EED8DBF}" dt="2024-03-24T03:28:48.489" v="258" actId="165"/>
          <ac:grpSpMkLst>
            <pc:docMk/>
            <pc:sldMk cId="3796097863" sldId="2147378646"/>
            <ac:grpSpMk id="31" creationId="{564F93FD-4B00-E701-D395-584FE7188AEF}"/>
          </ac:grpSpMkLst>
        </pc:grpChg>
        <pc:grpChg chg="add mod topLvl">
          <ac:chgData name="Mikami, Maho" userId="50612f1b-df2d-47bb-8fdd-7ddedc83fc7e" providerId="ADAL" clId="{5CBE12F2-F3C8-4DCE-AD77-5EBD7EED8DBF}" dt="2024-03-24T03:49:52.346" v="560" actId="165"/>
          <ac:grpSpMkLst>
            <pc:docMk/>
            <pc:sldMk cId="3796097863" sldId="2147378646"/>
            <ac:grpSpMk id="36" creationId="{1C5AC786-5D1A-A26D-AA38-2486BE7BB0CC}"/>
          </ac:grpSpMkLst>
        </pc:grpChg>
        <pc:grpChg chg="add mod">
          <ac:chgData name="Mikami, Maho" userId="50612f1b-df2d-47bb-8fdd-7ddedc83fc7e" providerId="ADAL" clId="{5CBE12F2-F3C8-4DCE-AD77-5EBD7EED8DBF}" dt="2024-03-24T03:43:08.416" v="372" actId="164"/>
          <ac:grpSpMkLst>
            <pc:docMk/>
            <pc:sldMk cId="3796097863" sldId="2147378646"/>
            <ac:grpSpMk id="37" creationId="{7DB234BF-5C2E-33D2-831E-F86B1B9CCC60}"/>
          </ac:grpSpMkLst>
        </pc:grpChg>
        <pc:grpChg chg="add del mod">
          <ac:chgData name="Mikami, Maho" userId="50612f1b-df2d-47bb-8fdd-7ddedc83fc7e" providerId="ADAL" clId="{5CBE12F2-F3C8-4DCE-AD77-5EBD7EED8DBF}" dt="2024-03-24T03:44:44.854" v="382" actId="165"/>
          <ac:grpSpMkLst>
            <pc:docMk/>
            <pc:sldMk cId="3796097863" sldId="2147378646"/>
            <ac:grpSpMk id="38" creationId="{81E8D335-C51F-6192-0B6E-98BF5F90F334}"/>
          </ac:grpSpMkLst>
        </pc:grpChg>
        <pc:grpChg chg="add del mod">
          <ac:chgData name="Mikami, Maho" userId="50612f1b-df2d-47bb-8fdd-7ddedc83fc7e" providerId="ADAL" clId="{5CBE12F2-F3C8-4DCE-AD77-5EBD7EED8DBF}" dt="2024-03-24T03:49:52.346" v="560" actId="165"/>
          <ac:grpSpMkLst>
            <pc:docMk/>
            <pc:sldMk cId="3796097863" sldId="2147378646"/>
            <ac:grpSpMk id="40" creationId="{0A72E091-6ABC-F415-863F-85350F31A97E}"/>
          </ac:grpSpMkLst>
        </pc:grpChg>
        <pc:grpChg chg="add mod">
          <ac:chgData name="Mikami, Maho" userId="50612f1b-df2d-47bb-8fdd-7ddedc83fc7e" providerId="ADAL" clId="{5CBE12F2-F3C8-4DCE-AD77-5EBD7EED8DBF}" dt="2024-03-24T03:50:07.026" v="574" actId="14100"/>
          <ac:grpSpMkLst>
            <pc:docMk/>
            <pc:sldMk cId="3796097863" sldId="2147378646"/>
            <ac:grpSpMk id="42" creationId="{648F8DF0-2D0F-422A-11C7-C19983C8861A}"/>
          </ac:grpSpMkLst>
        </pc:grpChg>
        <pc:cxnChg chg="add mod">
          <ac:chgData name="Mikami, Maho" userId="50612f1b-df2d-47bb-8fdd-7ddedc83fc7e" providerId="ADAL" clId="{5CBE12F2-F3C8-4DCE-AD77-5EBD7EED8DBF}" dt="2024-03-24T03:49:52.346" v="560" actId="165"/>
          <ac:cxnSpMkLst>
            <pc:docMk/>
            <pc:sldMk cId="3796097863" sldId="2147378646"/>
            <ac:cxnSpMk id="32" creationId="{DAC800B1-1C02-D2EF-4C67-A830FEAF831F}"/>
          </ac:cxnSpMkLst>
        </pc:cxnChg>
        <pc:cxnChg chg="add mod">
          <ac:chgData name="Mikami, Maho" userId="50612f1b-df2d-47bb-8fdd-7ddedc83fc7e" providerId="ADAL" clId="{5CBE12F2-F3C8-4DCE-AD77-5EBD7EED8DBF}" dt="2024-03-24T03:49:52.346" v="560" actId="165"/>
          <ac:cxnSpMkLst>
            <pc:docMk/>
            <pc:sldMk cId="3796097863" sldId="2147378646"/>
            <ac:cxnSpMk id="33" creationId="{2140C6BC-6D55-2DF8-4D25-AF66678F5567}"/>
          </ac:cxnSpMkLst>
        </pc:cxnChg>
        <pc:cxnChg chg="add mod">
          <ac:chgData name="Mikami, Maho" userId="50612f1b-df2d-47bb-8fdd-7ddedc83fc7e" providerId="ADAL" clId="{5CBE12F2-F3C8-4DCE-AD77-5EBD7EED8DBF}" dt="2024-03-24T03:49:52.346" v="560" actId="165"/>
          <ac:cxnSpMkLst>
            <pc:docMk/>
            <pc:sldMk cId="3796097863" sldId="2147378646"/>
            <ac:cxnSpMk id="34" creationId="{D5079E88-C5ED-3A1D-B37D-59731E128665}"/>
          </ac:cxnSpMkLst>
        </pc:cxnChg>
        <pc:cxnChg chg="add mod">
          <ac:chgData name="Mikami, Maho" userId="50612f1b-df2d-47bb-8fdd-7ddedc83fc7e" providerId="ADAL" clId="{5CBE12F2-F3C8-4DCE-AD77-5EBD7EED8DBF}" dt="2024-03-24T03:49:52.346" v="560" actId="165"/>
          <ac:cxnSpMkLst>
            <pc:docMk/>
            <pc:sldMk cId="3796097863" sldId="2147378646"/>
            <ac:cxnSpMk id="35" creationId="{731BB6B3-E039-7DC1-5DCC-70F2B5646099}"/>
          </ac:cxnSpMkLst>
        </pc:cxnChg>
      </pc:sldChg>
      <pc:sldChg chg="add del">
        <pc:chgData name="Mikami, Maho" userId="50612f1b-df2d-47bb-8fdd-7ddedc83fc7e" providerId="ADAL" clId="{5CBE12F2-F3C8-4DCE-AD77-5EBD7EED8DBF}" dt="2024-03-24T04:43:01.333" v="2231" actId="2696"/>
        <pc:sldMkLst>
          <pc:docMk/>
          <pc:sldMk cId="391542801" sldId="2147378647"/>
        </pc:sldMkLst>
      </pc:sldChg>
      <pc:sldChg chg="del">
        <pc:chgData name="Mikami, Maho" userId="50612f1b-df2d-47bb-8fdd-7ddedc83fc7e" providerId="ADAL" clId="{5CBE12F2-F3C8-4DCE-AD77-5EBD7EED8DBF}" dt="2024-03-24T04:42:49.755" v="2229" actId="2696"/>
        <pc:sldMkLst>
          <pc:docMk/>
          <pc:sldMk cId="873808501" sldId="2147378647"/>
        </pc:sldMkLst>
      </pc:sldChg>
      <pc:sldChg chg="addSp delSp modSp add mod">
        <pc:chgData name="Mikami, Maho" userId="50612f1b-df2d-47bb-8fdd-7ddedc83fc7e" providerId="ADAL" clId="{5CBE12F2-F3C8-4DCE-AD77-5EBD7EED8DBF}" dt="2024-03-24T07:31:38.608" v="6783"/>
        <pc:sldMkLst>
          <pc:docMk/>
          <pc:sldMk cId="2529991948" sldId="2147378647"/>
        </pc:sldMkLst>
        <pc:spChg chg="add del mod">
          <ac:chgData name="Mikami, Maho" userId="50612f1b-df2d-47bb-8fdd-7ddedc83fc7e" providerId="ADAL" clId="{5CBE12F2-F3C8-4DCE-AD77-5EBD7EED8DBF}" dt="2024-03-24T06:31:23.190" v="4469" actId="478"/>
          <ac:spMkLst>
            <pc:docMk/>
            <pc:sldMk cId="2529991948" sldId="2147378647"/>
            <ac:spMk id="2" creationId="{7FE1A601-E3B8-3EE3-A219-54B9F3F328EA}"/>
          </ac:spMkLst>
        </pc:spChg>
        <pc:spChg chg="add mod">
          <ac:chgData name="Mikami, Maho" userId="50612f1b-df2d-47bb-8fdd-7ddedc83fc7e" providerId="ADAL" clId="{5CBE12F2-F3C8-4DCE-AD77-5EBD7EED8DBF}" dt="2024-03-24T07:31:38.608" v="6783"/>
          <ac:spMkLst>
            <pc:docMk/>
            <pc:sldMk cId="2529991948" sldId="2147378647"/>
            <ac:spMk id="4" creationId="{0098F668-8CD3-7DC3-437C-C5271E7613B5}"/>
          </ac:spMkLst>
        </pc:spChg>
        <pc:spChg chg="mod">
          <ac:chgData name="Mikami, Maho" userId="50612f1b-df2d-47bb-8fdd-7ddedc83fc7e" providerId="ADAL" clId="{5CBE12F2-F3C8-4DCE-AD77-5EBD7EED8DBF}" dt="2024-03-24T06:31:25.959" v="4484" actId="20577"/>
          <ac:spMkLst>
            <pc:docMk/>
            <pc:sldMk cId="2529991948" sldId="2147378647"/>
            <ac:spMk id="7" creationId="{23C63C62-DC2B-8867-EB20-198C399BC75D}"/>
          </ac:spMkLst>
        </pc:spChg>
        <pc:spChg chg="mod">
          <ac:chgData name="Mikami, Maho" userId="50612f1b-df2d-47bb-8fdd-7ddedc83fc7e" providerId="ADAL" clId="{5CBE12F2-F3C8-4DCE-AD77-5EBD7EED8DBF}" dt="2024-03-24T05:01:53.630" v="3054" actId="948"/>
          <ac:spMkLst>
            <pc:docMk/>
            <pc:sldMk cId="2529991948" sldId="2147378647"/>
            <ac:spMk id="9" creationId="{D3BB9B10-88A8-6E41-AA2B-3D445C868D70}"/>
          </ac:spMkLst>
        </pc:spChg>
        <pc:graphicFrameChg chg="mod">
          <ac:chgData name="Mikami, Maho" userId="50612f1b-df2d-47bb-8fdd-7ddedc83fc7e" providerId="ADAL" clId="{5CBE12F2-F3C8-4DCE-AD77-5EBD7EED8DBF}" dt="2024-03-24T05:01:53.637" v="3058"/>
          <ac:graphicFrameMkLst>
            <pc:docMk/>
            <pc:sldMk cId="2529991948" sldId="2147378647"/>
            <ac:graphicFrameMk id="5" creationId="{670953B7-7EC3-DD10-DA55-C4D22C9B339E}"/>
          </ac:graphicFrameMkLst>
        </pc:graphicFrameChg>
        <pc:graphicFrameChg chg="mod modGraphic">
          <ac:chgData name="Mikami, Maho" userId="50612f1b-df2d-47bb-8fdd-7ddedc83fc7e" providerId="ADAL" clId="{5CBE12F2-F3C8-4DCE-AD77-5EBD7EED8DBF}" dt="2024-03-24T06:31:35.672" v="4493" actId="20577"/>
          <ac:graphicFrameMkLst>
            <pc:docMk/>
            <pc:sldMk cId="2529991948" sldId="2147378647"/>
            <ac:graphicFrameMk id="6" creationId="{5E1157CD-36A0-0BE5-BA31-149195732EBE}"/>
          </ac:graphicFrameMkLst>
        </pc:graphicFrameChg>
      </pc:sldChg>
      <pc:sldChg chg="addSp delSp modSp mod">
        <pc:chgData name="Mikami, Maho" userId="50612f1b-df2d-47bb-8fdd-7ddedc83fc7e" providerId="ADAL" clId="{5CBE12F2-F3C8-4DCE-AD77-5EBD7EED8DBF}" dt="2024-03-24T07:31:36.192" v="6782"/>
        <pc:sldMkLst>
          <pc:docMk/>
          <pc:sldMk cId="2998465411" sldId="2147378648"/>
        </pc:sldMkLst>
        <pc:spChg chg="mod ord">
          <ac:chgData name="Mikami, Maho" userId="50612f1b-df2d-47bb-8fdd-7ddedc83fc7e" providerId="ADAL" clId="{5CBE12F2-F3C8-4DCE-AD77-5EBD7EED8DBF}" dt="2024-03-24T07:27:30.683" v="6560"/>
          <ac:spMkLst>
            <pc:docMk/>
            <pc:sldMk cId="2998465411" sldId="2147378648"/>
            <ac:spMk id="2" creationId="{0E5D0AD9-2BA7-E85C-4211-2AC064C1CB7E}"/>
          </ac:spMkLst>
        </pc:spChg>
        <pc:spChg chg="mod ord">
          <ac:chgData name="Mikami, Maho" userId="50612f1b-df2d-47bb-8fdd-7ddedc83fc7e" providerId="ADAL" clId="{5CBE12F2-F3C8-4DCE-AD77-5EBD7EED8DBF}" dt="2024-03-24T07:27:30.683" v="6562"/>
          <ac:spMkLst>
            <pc:docMk/>
            <pc:sldMk cId="2998465411" sldId="2147378648"/>
            <ac:spMk id="3" creationId="{417A18CA-0059-03EF-FE57-D2DBA870D210}"/>
          </ac:spMkLst>
        </pc:spChg>
        <pc:spChg chg="mod ord">
          <ac:chgData name="Mikami, Maho" userId="50612f1b-df2d-47bb-8fdd-7ddedc83fc7e" providerId="ADAL" clId="{5CBE12F2-F3C8-4DCE-AD77-5EBD7EED8DBF}" dt="2024-03-24T07:27:30.683" v="6564"/>
          <ac:spMkLst>
            <pc:docMk/>
            <pc:sldMk cId="2998465411" sldId="2147378648"/>
            <ac:spMk id="4" creationId="{4F1B8C31-A2AA-E8B5-6842-B8CA68666E37}"/>
          </ac:spMkLst>
        </pc:spChg>
        <pc:spChg chg="add del mod ord">
          <ac:chgData name="Mikami, Maho" userId="50612f1b-df2d-47bb-8fdd-7ddedc83fc7e" providerId="ADAL" clId="{5CBE12F2-F3C8-4DCE-AD77-5EBD7EED8DBF}" dt="2024-03-24T07:28:15.411" v="6663"/>
          <ac:spMkLst>
            <pc:docMk/>
            <pc:sldMk cId="2998465411" sldId="2147378648"/>
            <ac:spMk id="5" creationId="{2D5EA78A-6461-7E3B-1B64-172FF89181D2}"/>
          </ac:spMkLst>
        </pc:spChg>
        <pc:spChg chg="add del mod modVis">
          <ac:chgData name="Mikami, Maho" userId="50612f1b-df2d-47bb-8fdd-7ddedc83fc7e" providerId="ADAL" clId="{5CBE12F2-F3C8-4DCE-AD77-5EBD7EED8DBF}" dt="2024-03-24T05:01:43.553" v="3035"/>
          <ac:spMkLst>
            <pc:docMk/>
            <pc:sldMk cId="2998465411" sldId="2147378648"/>
            <ac:spMk id="7" creationId="{6ED3A2B7-22D1-A457-8BBD-F7DFFC3E0C60}"/>
          </ac:spMkLst>
        </pc:spChg>
        <pc:spChg chg="add mod">
          <ac:chgData name="Mikami, Maho" userId="50612f1b-df2d-47bb-8fdd-7ddedc83fc7e" providerId="ADAL" clId="{5CBE12F2-F3C8-4DCE-AD77-5EBD7EED8DBF}" dt="2024-03-24T07:31:36.192" v="6782"/>
          <ac:spMkLst>
            <pc:docMk/>
            <pc:sldMk cId="2998465411" sldId="2147378648"/>
            <ac:spMk id="9" creationId="{48931139-867A-5AB4-5CC9-E0E4CE42C655}"/>
          </ac:spMkLst>
        </pc:spChg>
        <pc:graphicFrameChg chg="add mod ord modVis replST">
          <ac:chgData name="Mikami, Maho" userId="50612f1b-df2d-47bb-8fdd-7ddedc83fc7e" providerId="ADAL" clId="{5CBE12F2-F3C8-4DCE-AD77-5EBD7EED8DBF}" dt="2024-03-24T07:27:30.690" v="6572"/>
          <ac:graphicFrameMkLst>
            <pc:docMk/>
            <pc:sldMk cId="2998465411" sldId="2147378648"/>
            <ac:graphicFrameMk id="6" creationId="{474E5002-D1F2-D774-C181-0B3C4AA38F51}"/>
          </ac:graphicFrameMkLst>
        </pc:graphicFrameChg>
        <pc:graphicFrameChg chg="add mod ord modGraphic">
          <ac:chgData name="Mikami, Maho" userId="50612f1b-df2d-47bb-8fdd-7ddedc83fc7e" providerId="ADAL" clId="{5CBE12F2-F3C8-4DCE-AD77-5EBD7EED8DBF}" dt="2024-03-24T07:27:41.944" v="6575" actId="1076"/>
          <ac:graphicFrameMkLst>
            <pc:docMk/>
            <pc:sldMk cId="2998465411" sldId="2147378648"/>
            <ac:graphicFrameMk id="8" creationId="{6BB7A498-4C84-2FEA-ED42-9455CEFC31A6}"/>
          </ac:graphicFrameMkLst>
        </pc:graphicFrameChg>
      </pc:sldChg>
      <pc:sldChg chg="addSp delSp modSp add mod">
        <pc:chgData name="Mikami, Maho" userId="50612f1b-df2d-47bb-8fdd-7ddedc83fc7e" providerId="ADAL" clId="{5CBE12F2-F3C8-4DCE-AD77-5EBD7EED8DBF}" dt="2024-03-24T03:52:02.517" v="611" actId="1076"/>
        <pc:sldMkLst>
          <pc:docMk/>
          <pc:sldMk cId="1802116569" sldId="2147378649"/>
        </pc:sldMkLst>
        <pc:spChg chg="del">
          <ac:chgData name="Mikami, Maho" userId="50612f1b-df2d-47bb-8fdd-7ddedc83fc7e" providerId="ADAL" clId="{5CBE12F2-F3C8-4DCE-AD77-5EBD7EED8DBF}" dt="2024-03-24T03:51:37.872" v="577" actId="478"/>
          <ac:spMkLst>
            <pc:docMk/>
            <pc:sldMk cId="1802116569" sldId="2147378649"/>
            <ac:spMk id="4" creationId="{B6181D12-DAFE-5B58-FEEF-CB004CE953C1}"/>
          </ac:spMkLst>
        </pc:spChg>
        <pc:spChg chg="del">
          <ac:chgData name="Mikami, Maho" userId="50612f1b-df2d-47bb-8fdd-7ddedc83fc7e" providerId="ADAL" clId="{5CBE12F2-F3C8-4DCE-AD77-5EBD7EED8DBF}" dt="2024-03-24T03:51:37.872" v="577" actId="478"/>
          <ac:spMkLst>
            <pc:docMk/>
            <pc:sldMk cId="1802116569" sldId="2147378649"/>
            <ac:spMk id="10" creationId="{181DCA97-405D-A75B-0405-D478EDEEDE16}"/>
          </ac:spMkLst>
        </pc:spChg>
        <pc:spChg chg="del">
          <ac:chgData name="Mikami, Maho" userId="50612f1b-df2d-47bb-8fdd-7ddedc83fc7e" providerId="ADAL" clId="{5CBE12F2-F3C8-4DCE-AD77-5EBD7EED8DBF}" dt="2024-03-24T03:51:37.872" v="577" actId="478"/>
          <ac:spMkLst>
            <pc:docMk/>
            <pc:sldMk cId="1802116569" sldId="2147378649"/>
            <ac:spMk id="13" creationId="{49A77711-C009-B9BB-1E2E-4617628A5383}"/>
          </ac:spMkLst>
        </pc:spChg>
        <pc:spChg chg="del">
          <ac:chgData name="Mikami, Maho" userId="50612f1b-df2d-47bb-8fdd-7ddedc83fc7e" providerId="ADAL" clId="{5CBE12F2-F3C8-4DCE-AD77-5EBD7EED8DBF}" dt="2024-03-24T03:51:37.872" v="577" actId="478"/>
          <ac:spMkLst>
            <pc:docMk/>
            <pc:sldMk cId="1802116569" sldId="2147378649"/>
            <ac:spMk id="14" creationId="{C3ADA840-D381-6B21-104F-28EBC84A35C0}"/>
          </ac:spMkLst>
        </pc:spChg>
        <pc:spChg chg="del">
          <ac:chgData name="Mikami, Maho" userId="50612f1b-df2d-47bb-8fdd-7ddedc83fc7e" providerId="ADAL" clId="{5CBE12F2-F3C8-4DCE-AD77-5EBD7EED8DBF}" dt="2024-03-24T03:51:37.872" v="577" actId="478"/>
          <ac:spMkLst>
            <pc:docMk/>
            <pc:sldMk cId="1802116569" sldId="2147378649"/>
            <ac:spMk id="15" creationId="{57251C2B-0110-516E-ADAE-AC618F372425}"/>
          </ac:spMkLst>
        </pc:spChg>
        <pc:spChg chg="del">
          <ac:chgData name="Mikami, Maho" userId="50612f1b-df2d-47bb-8fdd-7ddedc83fc7e" providerId="ADAL" clId="{5CBE12F2-F3C8-4DCE-AD77-5EBD7EED8DBF}" dt="2024-03-24T03:51:37.872" v="577" actId="478"/>
          <ac:spMkLst>
            <pc:docMk/>
            <pc:sldMk cId="1802116569" sldId="2147378649"/>
            <ac:spMk id="16" creationId="{ACA21518-52F8-BB5A-8F09-790DC6B44A1E}"/>
          </ac:spMkLst>
        </pc:spChg>
        <pc:grpChg chg="del">
          <ac:chgData name="Mikami, Maho" userId="50612f1b-df2d-47bb-8fdd-7ddedc83fc7e" providerId="ADAL" clId="{5CBE12F2-F3C8-4DCE-AD77-5EBD7EED8DBF}" dt="2024-03-24T03:51:37.872" v="577" actId="478"/>
          <ac:grpSpMkLst>
            <pc:docMk/>
            <pc:sldMk cId="1802116569" sldId="2147378649"/>
            <ac:grpSpMk id="36" creationId="{C29742BA-D375-4384-2D73-208BA9710E46}"/>
          </ac:grpSpMkLst>
        </pc:grpChg>
        <pc:grpChg chg="del">
          <ac:chgData name="Mikami, Maho" userId="50612f1b-df2d-47bb-8fdd-7ddedc83fc7e" providerId="ADAL" clId="{5CBE12F2-F3C8-4DCE-AD77-5EBD7EED8DBF}" dt="2024-03-24T03:51:37.872" v="577" actId="478"/>
          <ac:grpSpMkLst>
            <pc:docMk/>
            <pc:sldMk cId="1802116569" sldId="2147378649"/>
            <ac:grpSpMk id="42" creationId="{90BE4EF8-3949-9CDD-CF51-068918BB92DB}"/>
          </ac:grpSpMkLst>
        </pc:grpChg>
        <pc:graphicFrameChg chg="add mod modGraphic">
          <ac:chgData name="Mikami, Maho" userId="50612f1b-df2d-47bb-8fdd-7ddedc83fc7e" providerId="ADAL" clId="{5CBE12F2-F3C8-4DCE-AD77-5EBD7EED8DBF}" dt="2024-03-24T03:52:02.517" v="611" actId="1076"/>
          <ac:graphicFrameMkLst>
            <pc:docMk/>
            <pc:sldMk cId="1802116569" sldId="2147378649"/>
            <ac:graphicFrameMk id="17" creationId="{320F1E90-FE55-6196-E9E1-3C82C3CE23D1}"/>
          </ac:graphicFrameMkLst>
        </pc:graphicFrameChg>
      </pc:sldChg>
      <pc:sldChg chg="addSp delSp modSp del mod">
        <pc:chgData name="Mikami, Maho" userId="50612f1b-df2d-47bb-8fdd-7ddedc83fc7e" providerId="ADAL" clId="{5CBE12F2-F3C8-4DCE-AD77-5EBD7EED8DBF}" dt="2024-03-24T07:14:16.322" v="5582" actId="2696"/>
        <pc:sldMkLst>
          <pc:docMk/>
          <pc:sldMk cId="128044781" sldId="2147378650"/>
        </pc:sldMkLst>
        <pc:spChg chg="mod">
          <ac:chgData name="Mikami, Maho" userId="50612f1b-df2d-47bb-8fdd-7ddedc83fc7e" providerId="ADAL" clId="{5CBE12F2-F3C8-4DCE-AD77-5EBD7EED8DBF}" dt="2024-03-24T06:21:58.636" v="4059" actId="948"/>
          <ac:spMkLst>
            <pc:docMk/>
            <pc:sldMk cId="128044781" sldId="2147378650"/>
            <ac:spMk id="4" creationId="{EE939D36-9C1A-E1D5-9C69-61295C1D2A20}"/>
          </ac:spMkLst>
        </pc:spChg>
        <pc:spChg chg="mod">
          <ac:chgData name="Mikami, Maho" userId="50612f1b-df2d-47bb-8fdd-7ddedc83fc7e" providerId="ADAL" clId="{5CBE12F2-F3C8-4DCE-AD77-5EBD7EED8DBF}" dt="2024-03-24T07:13:45.686" v="5562" actId="164"/>
          <ac:spMkLst>
            <pc:docMk/>
            <pc:sldMk cId="128044781" sldId="2147378650"/>
            <ac:spMk id="5" creationId="{64D9EFCF-5556-C67C-43C3-1B21791BAA3B}"/>
          </ac:spMkLst>
        </pc:spChg>
        <pc:spChg chg="del">
          <ac:chgData name="Mikami, Maho" userId="50612f1b-df2d-47bb-8fdd-7ddedc83fc7e" providerId="ADAL" clId="{5CBE12F2-F3C8-4DCE-AD77-5EBD7EED8DBF}" dt="2024-03-24T06:20:35.667" v="3943" actId="478"/>
          <ac:spMkLst>
            <pc:docMk/>
            <pc:sldMk cId="128044781" sldId="2147378650"/>
            <ac:spMk id="7" creationId="{5F2F6995-ED34-BC12-C7D1-423BB0605684}"/>
          </ac:spMkLst>
        </pc:spChg>
        <pc:spChg chg="del">
          <ac:chgData name="Mikami, Maho" userId="50612f1b-df2d-47bb-8fdd-7ddedc83fc7e" providerId="ADAL" clId="{5CBE12F2-F3C8-4DCE-AD77-5EBD7EED8DBF}" dt="2024-03-24T06:20:35.667" v="3943" actId="478"/>
          <ac:spMkLst>
            <pc:docMk/>
            <pc:sldMk cId="128044781" sldId="2147378650"/>
            <ac:spMk id="8" creationId="{68F72CB9-8E09-254A-6143-095430315A93}"/>
          </ac:spMkLst>
        </pc:spChg>
        <pc:spChg chg="del">
          <ac:chgData name="Mikami, Maho" userId="50612f1b-df2d-47bb-8fdd-7ddedc83fc7e" providerId="ADAL" clId="{5CBE12F2-F3C8-4DCE-AD77-5EBD7EED8DBF}" dt="2024-03-24T06:20:35.667" v="3943" actId="478"/>
          <ac:spMkLst>
            <pc:docMk/>
            <pc:sldMk cId="128044781" sldId="2147378650"/>
            <ac:spMk id="9" creationId="{DCF1BF44-1C79-A7D2-D4EC-DF06E66AEB8B}"/>
          </ac:spMkLst>
        </pc:spChg>
        <pc:spChg chg="del">
          <ac:chgData name="Mikami, Maho" userId="50612f1b-df2d-47bb-8fdd-7ddedc83fc7e" providerId="ADAL" clId="{5CBE12F2-F3C8-4DCE-AD77-5EBD7EED8DBF}" dt="2024-03-24T06:20:35.667" v="3943" actId="478"/>
          <ac:spMkLst>
            <pc:docMk/>
            <pc:sldMk cId="128044781" sldId="2147378650"/>
            <ac:spMk id="10" creationId="{371A09B2-09AE-FD92-D602-1123981A28C2}"/>
          </ac:spMkLst>
        </pc:spChg>
        <pc:spChg chg="del">
          <ac:chgData name="Mikami, Maho" userId="50612f1b-df2d-47bb-8fdd-7ddedc83fc7e" providerId="ADAL" clId="{5CBE12F2-F3C8-4DCE-AD77-5EBD7EED8DBF}" dt="2024-03-24T06:20:35.667" v="3943" actId="478"/>
          <ac:spMkLst>
            <pc:docMk/>
            <pc:sldMk cId="128044781" sldId="2147378650"/>
            <ac:spMk id="11" creationId="{139F3379-CD7B-574E-98ED-EE839BC6FA6F}"/>
          </ac:spMkLst>
        </pc:spChg>
        <pc:spChg chg="add mod">
          <ac:chgData name="Mikami, Maho" userId="50612f1b-df2d-47bb-8fdd-7ddedc83fc7e" providerId="ADAL" clId="{5CBE12F2-F3C8-4DCE-AD77-5EBD7EED8DBF}" dt="2024-03-24T07:13:45.686" v="5562" actId="164"/>
          <ac:spMkLst>
            <pc:docMk/>
            <pc:sldMk cId="128044781" sldId="2147378650"/>
            <ac:spMk id="12" creationId="{6AB0C70C-9EED-5729-BBBE-98FB5BFED38E}"/>
          </ac:spMkLst>
        </pc:spChg>
        <pc:spChg chg="del">
          <ac:chgData name="Mikami, Maho" userId="50612f1b-df2d-47bb-8fdd-7ddedc83fc7e" providerId="ADAL" clId="{5CBE12F2-F3C8-4DCE-AD77-5EBD7EED8DBF}" dt="2024-03-24T06:20:35.667" v="3943" actId="478"/>
          <ac:spMkLst>
            <pc:docMk/>
            <pc:sldMk cId="128044781" sldId="2147378650"/>
            <ac:spMk id="17" creationId="{0C3DF9A1-8E2F-3C85-0802-186D8B052020}"/>
          </ac:spMkLst>
        </pc:spChg>
        <pc:spChg chg="del">
          <ac:chgData name="Mikami, Maho" userId="50612f1b-df2d-47bb-8fdd-7ddedc83fc7e" providerId="ADAL" clId="{5CBE12F2-F3C8-4DCE-AD77-5EBD7EED8DBF}" dt="2024-03-24T06:20:35.667" v="3943" actId="478"/>
          <ac:spMkLst>
            <pc:docMk/>
            <pc:sldMk cId="128044781" sldId="2147378650"/>
            <ac:spMk id="18" creationId="{DB143C2D-15F5-1A5C-50BC-2891DE912276}"/>
          </ac:spMkLst>
        </pc:spChg>
        <pc:spChg chg="del">
          <ac:chgData name="Mikami, Maho" userId="50612f1b-df2d-47bb-8fdd-7ddedc83fc7e" providerId="ADAL" clId="{5CBE12F2-F3C8-4DCE-AD77-5EBD7EED8DBF}" dt="2024-03-24T06:20:35.667" v="3943" actId="478"/>
          <ac:spMkLst>
            <pc:docMk/>
            <pc:sldMk cId="128044781" sldId="2147378650"/>
            <ac:spMk id="19" creationId="{D00447BF-13FE-CEB3-D3F0-DB50E0D922A3}"/>
          </ac:spMkLst>
        </pc:spChg>
        <pc:spChg chg="del">
          <ac:chgData name="Mikami, Maho" userId="50612f1b-df2d-47bb-8fdd-7ddedc83fc7e" providerId="ADAL" clId="{5CBE12F2-F3C8-4DCE-AD77-5EBD7EED8DBF}" dt="2024-03-24T06:20:35.667" v="3943" actId="478"/>
          <ac:spMkLst>
            <pc:docMk/>
            <pc:sldMk cId="128044781" sldId="2147378650"/>
            <ac:spMk id="20" creationId="{066D0BB7-1B6F-5F3F-506D-F8A459454E34}"/>
          </ac:spMkLst>
        </pc:spChg>
        <pc:spChg chg="del">
          <ac:chgData name="Mikami, Maho" userId="50612f1b-df2d-47bb-8fdd-7ddedc83fc7e" providerId="ADAL" clId="{5CBE12F2-F3C8-4DCE-AD77-5EBD7EED8DBF}" dt="2024-03-24T06:20:35.667" v="3943" actId="478"/>
          <ac:spMkLst>
            <pc:docMk/>
            <pc:sldMk cId="128044781" sldId="2147378650"/>
            <ac:spMk id="21" creationId="{7663E85C-3D68-7CBD-BB6B-9C9C62DFA17A}"/>
          </ac:spMkLst>
        </pc:spChg>
        <pc:spChg chg="del">
          <ac:chgData name="Mikami, Maho" userId="50612f1b-df2d-47bb-8fdd-7ddedc83fc7e" providerId="ADAL" clId="{5CBE12F2-F3C8-4DCE-AD77-5EBD7EED8DBF}" dt="2024-03-24T06:20:35.667" v="3943" actId="478"/>
          <ac:spMkLst>
            <pc:docMk/>
            <pc:sldMk cId="128044781" sldId="2147378650"/>
            <ac:spMk id="22" creationId="{263B637B-7094-4C9D-CB8F-5CE7473F80BF}"/>
          </ac:spMkLst>
        </pc:spChg>
        <pc:spChg chg="del">
          <ac:chgData name="Mikami, Maho" userId="50612f1b-df2d-47bb-8fdd-7ddedc83fc7e" providerId="ADAL" clId="{5CBE12F2-F3C8-4DCE-AD77-5EBD7EED8DBF}" dt="2024-03-24T06:20:35.667" v="3943" actId="478"/>
          <ac:spMkLst>
            <pc:docMk/>
            <pc:sldMk cId="128044781" sldId="2147378650"/>
            <ac:spMk id="23" creationId="{5F75D7CE-5F5C-5360-407E-8F1C92A39668}"/>
          </ac:spMkLst>
        </pc:spChg>
        <pc:spChg chg="del">
          <ac:chgData name="Mikami, Maho" userId="50612f1b-df2d-47bb-8fdd-7ddedc83fc7e" providerId="ADAL" clId="{5CBE12F2-F3C8-4DCE-AD77-5EBD7EED8DBF}" dt="2024-03-24T06:20:35.667" v="3943" actId="478"/>
          <ac:spMkLst>
            <pc:docMk/>
            <pc:sldMk cId="128044781" sldId="2147378650"/>
            <ac:spMk id="24" creationId="{1BD360EA-7E67-0F0F-FEF5-1105A4FC4957}"/>
          </ac:spMkLst>
        </pc:spChg>
        <pc:spChg chg="del">
          <ac:chgData name="Mikami, Maho" userId="50612f1b-df2d-47bb-8fdd-7ddedc83fc7e" providerId="ADAL" clId="{5CBE12F2-F3C8-4DCE-AD77-5EBD7EED8DBF}" dt="2024-03-24T06:20:35.667" v="3943" actId="478"/>
          <ac:spMkLst>
            <pc:docMk/>
            <pc:sldMk cId="128044781" sldId="2147378650"/>
            <ac:spMk id="25" creationId="{C025AC64-B653-8DF7-5567-2CCD7F5A4842}"/>
          </ac:spMkLst>
        </pc:spChg>
        <pc:spChg chg="del">
          <ac:chgData name="Mikami, Maho" userId="50612f1b-df2d-47bb-8fdd-7ddedc83fc7e" providerId="ADAL" clId="{5CBE12F2-F3C8-4DCE-AD77-5EBD7EED8DBF}" dt="2024-03-24T06:20:35.667" v="3943" actId="478"/>
          <ac:spMkLst>
            <pc:docMk/>
            <pc:sldMk cId="128044781" sldId="2147378650"/>
            <ac:spMk id="26" creationId="{F3DE1FF1-EAA5-1BF3-604D-270ED24F1227}"/>
          </ac:spMkLst>
        </pc:spChg>
        <pc:spChg chg="del">
          <ac:chgData name="Mikami, Maho" userId="50612f1b-df2d-47bb-8fdd-7ddedc83fc7e" providerId="ADAL" clId="{5CBE12F2-F3C8-4DCE-AD77-5EBD7EED8DBF}" dt="2024-03-24T06:20:35.667" v="3943" actId="478"/>
          <ac:spMkLst>
            <pc:docMk/>
            <pc:sldMk cId="128044781" sldId="2147378650"/>
            <ac:spMk id="27" creationId="{DEF20B9B-DCAB-9BD9-9E37-8531337B3E1D}"/>
          </ac:spMkLst>
        </pc:spChg>
        <pc:spChg chg="del">
          <ac:chgData name="Mikami, Maho" userId="50612f1b-df2d-47bb-8fdd-7ddedc83fc7e" providerId="ADAL" clId="{5CBE12F2-F3C8-4DCE-AD77-5EBD7EED8DBF}" dt="2024-03-24T06:20:35.667" v="3943" actId="478"/>
          <ac:spMkLst>
            <pc:docMk/>
            <pc:sldMk cId="128044781" sldId="2147378650"/>
            <ac:spMk id="28" creationId="{C5AB2DEF-58E9-FFDA-B948-85B871F01584}"/>
          </ac:spMkLst>
        </pc:spChg>
        <pc:spChg chg="del">
          <ac:chgData name="Mikami, Maho" userId="50612f1b-df2d-47bb-8fdd-7ddedc83fc7e" providerId="ADAL" clId="{5CBE12F2-F3C8-4DCE-AD77-5EBD7EED8DBF}" dt="2024-03-24T06:20:35.667" v="3943" actId="478"/>
          <ac:spMkLst>
            <pc:docMk/>
            <pc:sldMk cId="128044781" sldId="2147378650"/>
            <ac:spMk id="29" creationId="{93695E8A-6507-1A61-5830-059FFE28E338}"/>
          </ac:spMkLst>
        </pc:spChg>
        <pc:spChg chg="del">
          <ac:chgData name="Mikami, Maho" userId="50612f1b-df2d-47bb-8fdd-7ddedc83fc7e" providerId="ADAL" clId="{5CBE12F2-F3C8-4DCE-AD77-5EBD7EED8DBF}" dt="2024-03-24T06:20:35.667" v="3943" actId="478"/>
          <ac:spMkLst>
            <pc:docMk/>
            <pc:sldMk cId="128044781" sldId="2147378650"/>
            <ac:spMk id="30" creationId="{5CA9EF39-A382-637E-E690-F6E6C3E38550}"/>
          </ac:spMkLst>
        </pc:spChg>
        <pc:spChg chg="del">
          <ac:chgData name="Mikami, Maho" userId="50612f1b-df2d-47bb-8fdd-7ddedc83fc7e" providerId="ADAL" clId="{5CBE12F2-F3C8-4DCE-AD77-5EBD7EED8DBF}" dt="2024-03-24T06:20:35.667" v="3943" actId="478"/>
          <ac:spMkLst>
            <pc:docMk/>
            <pc:sldMk cId="128044781" sldId="2147378650"/>
            <ac:spMk id="31" creationId="{EC318247-48E6-6824-ECE3-A467E2DCC7A6}"/>
          </ac:spMkLst>
        </pc:spChg>
        <pc:spChg chg="mod">
          <ac:chgData name="Mikami, Maho" userId="50612f1b-df2d-47bb-8fdd-7ddedc83fc7e" providerId="ADAL" clId="{5CBE12F2-F3C8-4DCE-AD77-5EBD7EED8DBF}" dt="2024-03-24T06:20:39.173" v="3957" actId="1036"/>
          <ac:spMkLst>
            <pc:docMk/>
            <pc:sldMk cId="128044781" sldId="2147378650"/>
            <ac:spMk id="32" creationId="{FF0B8435-D959-54D8-1DF9-23C00B906D30}"/>
          </ac:spMkLst>
        </pc:spChg>
        <pc:spChg chg="del">
          <ac:chgData name="Mikami, Maho" userId="50612f1b-df2d-47bb-8fdd-7ddedc83fc7e" providerId="ADAL" clId="{5CBE12F2-F3C8-4DCE-AD77-5EBD7EED8DBF}" dt="2024-03-24T06:20:35.667" v="3943" actId="478"/>
          <ac:spMkLst>
            <pc:docMk/>
            <pc:sldMk cId="128044781" sldId="2147378650"/>
            <ac:spMk id="35" creationId="{C49DEDD9-3A61-A50F-999D-0B06234EBD4E}"/>
          </ac:spMkLst>
        </pc:spChg>
        <pc:grpChg chg="add mod">
          <ac:chgData name="Mikami, Maho" userId="50612f1b-df2d-47bb-8fdd-7ddedc83fc7e" providerId="ADAL" clId="{5CBE12F2-F3C8-4DCE-AD77-5EBD7EED8DBF}" dt="2024-03-24T07:13:49.317" v="5563" actId="14100"/>
          <ac:grpSpMkLst>
            <pc:docMk/>
            <pc:sldMk cId="128044781" sldId="2147378650"/>
            <ac:grpSpMk id="15" creationId="{4E0108A7-8262-26DB-F062-34B147F6D02B}"/>
          </ac:grpSpMkLst>
        </pc:grpChg>
        <pc:grpChg chg="del mod">
          <ac:chgData name="Mikami, Maho" userId="50612f1b-df2d-47bb-8fdd-7ddedc83fc7e" providerId="ADAL" clId="{5CBE12F2-F3C8-4DCE-AD77-5EBD7EED8DBF}" dt="2024-03-24T06:22:01.494" v="4064" actId="478"/>
          <ac:grpSpMkLst>
            <pc:docMk/>
            <pc:sldMk cId="128044781" sldId="2147378650"/>
            <ac:grpSpMk id="34" creationId="{0FA49C46-EA98-8D09-B5F8-C36CD9242961}"/>
          </ac:grpSpMkLst>
        </pc:grpChg>
        <pc:graphicFrameChg chg="mod">
          <ac:chgData name="Mikami, Maho" userId="50612f1b-df2d-47bb-8fdd-7ddedc83fc7e" providerId="ADAL" clId="{5CBE12F2-F3C8-4DCE-AD77-5EBD7EED8DBF}" dt="2024-03-24T06:21:58.652" v="4063"/>
          <ac:graphicFrameMkLst>
            <pc:docMk/>
            <pc:sldMk cId="128044781" sldId="2147378650"/>
            <ac:graphicFrameMk id="6" creationId="{5D252BC9-62AE-D737-64B4-909F97A853A3}"/>
          </ac:graphicFrameMkLst>
        </pc:graphicFrameChg>
        <pc:graphicFrameChg chg="add mod modGraphic">
          <ac:chgData name="Mikami, Maho" userId="50612f1b-df2d-47bb-8fdd-7ddedc83fc7e" providerId="ADAL" clId="{5CBE12F2-F3C8-4DCE-AD77-5EBD7EED8DBF}" dt="2024-03-24T07:14:12.361" v="5581" actId="20577"/>
          <ac:graphicFrameMkLst>
            <pc:docMk/>
            <pc:sldMk cId="128044781" sldId="2147378650"/>
            <ac:graphicFrameMk id="13" creationId="{CBE4383E-1271-57D5-0A0D-574668FBD286}"/>
          </ac:graphicFrameMkLst>
        </pc:graphicFrameChg>
        <pc:picChg chg="add del mod">
          <ac:chgData name="Mikami, Maho" userId="50612f1b-df2d-47bb-8fdd-7ddedc83fc7e" providerId="ADAL" clId="{5CBE12F2-F3C8-4DCE-AD77-5EBD7EED8DBF}" dt="2024-03-24T06:21:14.060" v="4033" actId="478"/>
          <ac:picMkLst>
            <pc:docMk/>
            <pc:sldMk cId="128044781" sldId="2147378650"/>
            <ac:picMk id="14" creationId="{C812CEF2-D6B4-57EC-B4E1-2867ECCE0D48}"/>
          </ac:picMkLst>
        </pc:picChg>
        <pc:cxnChg chg="mod">
          <ac:chgData name="Mikami, Maho" userId="50612f1b-df2d-47bb-8fdd-7ddedc83fc7e" providerId="ADAL" clId="{5CBE12F2-F3C8-4DCE-AD77-5EBD7EED8DBF}" dt="2024-03-24T06:20:39.173" v="3957" actId="1036"/>
          <ac:cxnSpMkLst>
            <pc:docMk/>
            <pc:sldMk cId="128044781" sldId="2147378650"/>
            <ac:cxnSpMk id="33" creationId="{D4D1B8DD-3F53-BB74-D7A7-EABC342A9291}"/>
          </ac:cxnSpMkLst>
        </pc:cxnChg>
      </pc:sldChg>
      <pc:sldChg chg="modSp add del mod ord">
        <pc:chgData name="Mikami, Maho" userId="50612f1b-df2d-47bb-8fdd-7ddedc83fc7e" providerId="ADAL" clId="{5CBE12F2-F3C8-4DCE-AD77-5EBD7EED8DBF}" dt="2024-03-24T07:21:36.911" v="6387" actId="2696"/>
        <pc:sldMkLst>
          <pc:docMk/>
          <pc:sldMk cId="1046357536" sldId="2147378650"/>
        </pc:sldMkLst>
        <pc:grpChg chg="mod">
          <ac:chgData name="Mikami, Maho" userId="50612f1b-df2d-47bb-8fdd-7ddedc83fc7e" providerId="ADAL" clId="{5CBE12F2-F3C8-4DCE-AD77-5EBD7EED8DBF}" dt="2024-03-24T07:15:49.622" v="5741" actId="14100"/>
          <ac:grpSpMkLst>
            <pc:docMk/>
            <pc:sldMk cId="1046357536" sldId="2147378650"/>
            <ac:grpSpMk id="15" creationId="{ACE54CCF-B0EA-E0C6-A733-C3FB524D3112}"/>
          </ac:grpSpMkLst>
        </pc:grpChg>
        <pc:graphicFrameChg chg="mod modGraphic">
          <ac:chgData name="Mikami, Maho" userId="50612f1b-df2d-47bb-8fdd-7ddedc83fc7e" providerId="ADAL" clId="{5CBE12F2-F3C8-4DCE-AD77-5EBD7EED8DBF}" dt="2024-03-24T07:21:34.742" v="6386"/>
          <ac:graphicFrameMkLst>
            <pc:docMk/>
            <pc:sldMk cId="1046357536" sldId="2147378650"/>
            <ac:graphicFrameMk id="13" creationId="{0FB555E9-C471-7A66-8002-FA85871AA1AA}"/>
          </ac:graphicFrameMkLst>
        </pc:graphicFrameChg>
      </pc:sldChg>
      <pc:sldChg chg="add">
        <pc:chgData name="Mikami, Maho" userId="50612f1b-df2d-47bb-8fdd-7ddedc83fc7e" providerId="ADAL" clId="{5CBE12F2-F3C8-4DCE-AD77-5EBD7EED8DBF}" dt="2024-03-24T07:21:40.890" v="6388"/>
        <pc:sldMkLst>
          <pc:docMk/>
          <pc:sldMk cId="3657893772" sldId="2147378650"/>
        </pc:sldMkLst>
      </pc:sldChg>
      <pc:sldChg chg="modSp add mod">
        <pc:chgData name="Mikami, Maho" userId="50612f1b-df2d-47bb-8fdd-7ddedc83fc7e" providerId="ADAL" clId="{5CBE12F2-F3C8-4DCE-AD77-5EBD7EED8DBF}" dt="2024-03-24T07:18:11.168" v="5958" actId="20577"/>
        <pc:sldMkLst>
          <pc:docMk/>
          <pc:sldMk cId="1033348287" sldId="2147378651"/>
        </pc:sldMkLst>
        <pc:spChg chg="mod">
          <ac:chgData name="Mikami, Maho" userId="50612f1b-df2d-47bb-8fdd-7ddedc83fc7e" providerId="ADAL" clId="{5CBE12F2-F3C8-4DCE-AD77-5EBD7EED8DBF}" dt="2024-03-24T07:18:11.168" v="5958" actId="20577"/>
          <ac:spMkLst>
            <pc:docMk/>
            <pc:sldMk cId="1033348287" sldId="2147378651"/>
            <ac:spMk id="7" creationId="{D1BD3CAF-05B0-0DF8-36DF-7405B22C482A}"/>
          </ac:spMkLst>
        </pc:spChg>
        <pc:spChg chg="mod">
          <ac:chgData name="Mikami, Maho" userId="50612f1b-df2d-47bb-8fdd-7ddedc83fc7e" providerId="ADAL" clId="{5CBE12F2-F3C8-4DCE-AD77-5EBD7EED8DBF}" dt="2024-03-24T04:55:04.513" v="2683" actId="948"/>
          <ac:spMkLst>
            <pc:docMk/>
            <pc:sldMk cId="1033348287" sldId="2147378651"/>
            <ac:spMk id="9" creationId="{F7DA7227-3724-60C8-1F06-5A8A2F4AF1F8}"/>
          </ac:spMkLst>
        </pc:spChg>
        <pc:graphicFrameChg chg="mod">
          <ac:chgData name="Mikami, Maho" userId="50612f1b-df2d-47bb-8fdd-7ddedc83fc7e" providerId="ADAL" clId="{5CBE12F2-F3C8-4DCE-AD77-5EBD7EED8DBF}" dt="2024-03-24T04:55:04.529" v="2687"/>
          <ac:graphicFrameMkLst>
            <pc:docMk/>
            <pc:sldMk cId="1033348287" sldId="2147378651"/>
            <ac:graphicFrameMk id="5" creationId="{84E354F3-1957-AAC3-B43F-BEDAC47C5BC8}"/>
          </ac:graphicFrameMkLst>
        </pc:graphicFrameChg>
      </pc:sldChg>
      <pc:sldChg chg="add del">
        <pc:chgData name="Mikami, Maho" userId="50612f1b-df2d-47bb-8fdd-7ddedc83fc7e" providerId="ADAL" clId="{5CBE12F2-F3C8-4DCE-AD77-5EBD7EED8DBF}" dt="2024-03-24T06:22:55.895" v="4082"/>
        <pc:sldMkLst>
          <pc:docMk/>
          <pc:sldMk cId="609977972" sldId="2147378652"/>
        </pc:sldMkLst>
      </pc:sldChg>
      <pc:sldChg chg="add del">
        <pc:chgData name="Mikami, Maho" userId="50612f1b-df2d-47bb-8fdd-7ddedc83fc7e" providerId="ADAL" clId="{5CBE12F2-F3C8-4DCE-AD77-5EBD7EED8DBF}" dt="2024-03-24T06:16:40.279" v="3262"/>
        <pc:sldMkLst>
          <pc:docMk/>
          <pc:sldMk cId="841302467" sldId="2147378652"/>
        </pc:sldMkLst>
      </pc:sldChg>
      <pc:sldChg chg="modSp add mod">
        <pc:chgData name="Mikami, Maho" userId="50612f1b-df2d-47bb-8fdd-7ddedc83fc7e" providerId="ADAL" clId="{5CBE12F2-F3C8-4DCE-AD77-5EBD7EED8DBF}" dt="2024-03-24T06:23:03.893" v="4131" actId="1036"/>
        <pc:sldMkLst>
          <pc:docMk/>
          <pc:sldMk cId="2854292604" sldId="2147378652"/>
        </pc:sldMkLst>
        <pc:spChg chg="mod">
          <ac:chgData name="Mikami, Maho" userId="50612f1b-df2d-47bb-8fdd-7ddedc83fc7e" providerId="ADAL" clId="{5CBE12F2-F3C8-4DCE-AD77-5EBD7EED8DBF}" dt="2024-03-24T06:23:03.893" v="4131" actId="1036"/>
          <ac:spMkLst>
            <pc:docMk/>
            <pc:sldMk cId="2854292604" sldId="2147378652"/>
            <ac:spMk id="9" creationId="{6DCCCEAA-508F-3EF7-C914-6C10291DD5BF}"/>
          </ac:spMkLst>
        </pc:spChg>
      </pc:sldChg>
      <pc:sldChg chg="modSp add mod">
        <pc:chgData name="Mikami, Maho" userId="50612f1b-df2d-47bb-8fdd-7ddedc83fc7e" providerId="ADAL" clId="{5CBE12F2-F3C8-4DCE-AD77-5EBD7EED8DBF}" dt="2024-03-24T06:23:19.776" v="4160" actId="1037"/>
        <pc:sldMkLst>
          <pc:docMk/>
          <pc:sldMk cId="1245055399" sldId="2147378653"/>
        </pc:sldMkLst>
        <pc:spChg chg="mod">
          <ac:chgData name="Mikami, Maho" userId="50612f1b-df2d-47bb-8fdd-7ddedc83fc7e" providerId="ADAL" clId="{5CBE12F2-F3C8-4DCE-AD77-5EBD7EED8DBF}" dt="2024-03-24T06:23:19.776" v="4160" actId="1037"/>
          <ac:spMkLst>
            <pc:docMk/>
            <pc:sldMk cId="1245055399" sldId="2147378653"/>
            <ac:spMk id="9" creationId="{B79A90FB-8F87-BD8C-CDDB-781282C516A5}"/>
          </ac:spMkLst>
        </pc:spChg>
      </pc:sldChg>
      <pc:sldChg chg="modSp add mod ord">
        <pc:chgData name="Mikami, Maho" userId="50612f1b-df2d-47bb-8fdd-7ddedc83fc7e" providerId="ADAL" clId="{5CBE12F2-F3C8-4DCE-AD77-5EBD7EED8DBF}" dt="2024-03-24T06:23:40.235" v="4220" actId="1035"/>
        <pc:sldMkLst>
          <pc:docMk/>
          <pc:sldMk cId="1786860980" sldId="2147378654"/>
        </pc:sldMkLst>
        <pc:spChg chg="mod">
          <ac:chgData name="Mikami, Maho" userId="50612f1b-df2d-47bb-8fdd-7ddedc83fc7e" providerId="ADAL" clId="{5CBE12F2-F3C8-4DCE-AD77-5EBD7EED8DBF}" dt="2024-03-24T06:23:40.235" v="4220" actId="1035"/>
          <ac:spMkLst>
            <pc:docMk/>
            <pc:sldMk cId="1786860980" sldId="2147378654"/>
            <ac:spMk id="9" creationId="{78D88DDB-A6F4-93E9-67F8-646493CF2FF7}"/>
          </ac:spMkLst>
        </pc:spChg>
      </pc:sldChg>
      <pc:sldChg chg="modSp add mod">
        <pc:chgData name="Mikami, Maho" userId="50612f1b-df2d-47bb-8fdd-7ddedc83fc7e" providerId="ADAL" clId="{5CBE12F2-F3C8-4DCE-AD77-5EBD7EED8DBF}" dt="2024-03-24T06:24:07.229" v="4277" actId="1035"/>
        <pc:sldMkLst>
          <pc:docMk/>
          <pc:sldMk cId="170465048" sldId="2147378655"/>
        </pc:sldMkLst>
        <pc:spChg chg="mod">
          <ac:chgData name="Mikami, Maho" userId="50612f1b-df2d-47bb-8fdd-7ddedc83fc7e" providerId="ADAL" clId="{5CBE12F2-F3C8-4DCE-AD77-5EBD7EED8DBF}" dt="2024-03-24T06:24:07.229" v="4277" actId="1035"/>
          <ac:spMkLst>
            <pc:docMk/>
            <pc:sldMk cId="170465048" sldId="2147378655"/>
            <ac:spMk id="9" creationId="{A8AC4875-B2F5-919B-86E8-16A48D488648}"/>
          </ac:spMkLst>
        </pc:spChg>
      </pc:sldChg>
      <pc:sldChg chg="add del">
        <pc:chgData name="Mikami, Maho" userId="50612f1b-df2d-47bb-8fdd-7ddedc83fc7e" providerId="ADAL" clId="{5CBE12F2-F3C8-4DCE-AD77-5EBD7EED8DBF}" dt="2024-03-24T06:23:50.513" v="4223" actId="2696"/>
        <pc:sldMkLst>
          <pc:docMk/>
          <pc:sldMk cId="1413898489" sldId="2147378655"/>
        </pc:sldMkLst>
      </pc:sldChg>
      <pc:sldChg chg="addSp delSp modSp add mod">
        <pc:chgData name="Mikami, Maho" userId="50612f1b-df2d-47bb-8fdd-7ddedc83fc7e" providerId="ADAL" clId="{5CBE12F2-F3C8-4DCE-AD77-5EBD7EED8DBF}" dt="2024-03-24T07:31:06.412" v="6708"/>
        <pc:sldMkLst>
          <pc:docMk/>
          <pc:sldMk cId="3951634490" sldId="2147378656"/>
        </pc:sldMkLst>
        <pc:spChg chg="mod ord">
          <ac:chgData name="Mikami, Maho" userId="50612f1b-df2d-47bb-8fdd-7ddedc83fc7e" providerId="ADAL" clId="{5CBE12F2-F3C8-4DCE-AD77-5EBD7EED8DBF}" dt="2024-03-24T07:09:47.845" v="5217"/>
          <ac:spMkLst>
            <pc:docMk/>
            <pc:sldMk cId="3951634490" sldId="2147378656"/>
            <ac:spMk id="2" creationId="{BAE1103A-8328-C41B-0D87-E9344198FC35}"/>
          </ac:spMkLst>
        </pc:spChg>
        <pc:spChg chg="mod ord">
          <ac:chgData name="Mikami, Maho" userId="50612f1b-df2d-47bb-8fdd-7ddedc83fc7e" providerId="ADAL" clId="{5CBE12F2-F3C8-4DCE-AD77-5EBD7EED8DBF}" dt="2024-03-24T07:09:47.845" v="5219"/>
          <ac:spMkLst>
            <pc:docMk/>
            <pc:sldMk cId="3951634490" sldId="2147378656"/>
            <ac:spMk id="3" creationId="{27AAFFD7-E4DE-963D-82D0-3AF3BF450E2E}"/>
          </ac:spMkLst>
        </pc:spChg>
        <pc:spChg chg="mod ord">
          <ac:chgData name="Mikami, Maho" userId="50612f1b-df2d-47bb-8fdd-7ddedc83fc7e" providerId="ADAL" clId="{5CBE12F2-F3C8-4DCE-AD77-5EBD7EED8DBF}" dt="2024-03-24T07:09:47.845" v="5221"/>
          <ac:spMkLst>
            <pc:docMk/>
            <pc:sldMk cId="3951634490" sldId="2147378656"/>
            <ac:spMk id="4" creationId="{97632C47-4E90-0A08-0330-788FC6556B77}"/>
          </ac:spMkLst>
        </pc:spChg>
        <pc:spChg chg="del">
          <ac:chgData name="Mikami, Maho" userId="50612f1b-df2d-47bb-8fdd-7ddedc83fc7e" providerId="ADAL" clId="{5CBE12F2-F3C8-4DCE-AD77-5EBD7EED8DBF}" dt="2024-03-24T07:08:34.695" v="5088" actId="478"/>
          <ac:spMkLst>
            <pc:docMk/>
            <pc:sldMk cId="3951634490" sldId="2147378656"/>
            <ac:spMk id="5" creationId="{0CECB229-4ABC-F8C0-6E6C-07AFE9445353}"/>
          </ac:spMkLst>
        </pc:spChg>
        <pc:spChg chg="add mod ord">
          <ac:chgData name="Mikami, Maho" userId="50612f1b-df2d-47bb-8fdd-7ddedc83fc7e" providerId="ADAL" clId="{5CBE12F2-F3C8-4DCE-AD77-5EBD7EED8DBF}" dt="2024-03-24T07:09:50.914" v="5239" actId="555"/>
          <ac:spMkLst>
            <pc:docMk/>
            <pc:sldMk cId="3951634490" sldId="2147378656"/>
            <ac:spMk id="6" creationId="{ECD05FEF-5BB9-2586-5D4A-E54850C0DD29}"/>
          </ac:spMkLst>
        </pc:spChg>
        <pc:spChg chg="mod">
          <ac:chgData name="Mikami, Maho" userId="50612f1b-df2d-47bb-8fdd-7ddedc83fc7e" providerId="ADAL" clId="{5CBE12F2-F3C8-4DCE-AD77-5EBD7EED8DBF}" dt="2024-03-24T07:08:43.961" v="5090" actId="14100"/>
          <ac:spMkLst>
            <pc:docMk/>
            <pc:sldMk cId="3951634490" sldId="2147378656"/>
            <ac:spMk id="10" creationId="{77A7FDF7-6ED3-EFC1-98AF-1E79F1FF95CE}"/>
          </ac:spMkLst>
        </pc:spChg>
        <pc:spChg chg="mod">
          <ac:chgData name="Mikami, Maho" userId="50612f1b-df2d-47bb-8fdd-7ddedc83fc7e" providerId="ADAL" clId="{5CBE12F2-F3C8-4DCE-AD77-5EBD7EED8DBF}" dt="2024-03-24T07:08:47.527" v="5091"/>
          <ac:spMkLst>
            <pc:docMk/>
            <pc:sldMk cId="3951634490" sldId="2147378656"/>
            <ac:spMk id="14" creationId="{60F0D597-C6DB-F131-85A0-AF9E9123CACD}"/>
          </ac:spMkLst>
        </pc:spChg>
        <pc:spChg chg="del">
          <ac:chgData name="Mikami, Maho" userId="50612f1b-df2d-47bb-8fdd-7ddedc83fc7e" providerId="ADAL" clId="{5CBE12F2-F3C8-4DCE-AD77-5EBD7EED8DBF}" dt="2024-03-24T07:09:22.985" v="5188" actId="478"/>
          <ac:spMkLst>
            <pc:docMk/>
            <pc:sldMk cId="3951634490" sldId="2147378656"/>
            <ac:spMk id="16" creationId="{B111BD59-953E-0B8B-B0B5-93E12E362194}"/>
          </ac:spMkLst>
        </pc:spChg>
        <pc:spChg chg="del">
          <ac:chgData name="Mikami, Maho" userId="50612f1b-df2d-47bb-8fdd-7ddedc83fc7e" providerId="ADAL" clId="{5CBE12F2-F3C8-4DCE-AD77-5EBD7EED8DBF}" dt="2024-03-24T07:09:19.400" v="5186" actId="478"/>
          <ac:spMkLst>
            <pc:docMk/>
            <pc:sldMk cId="3951634490" sldId="2147378656"/>
            <ac:spMk id="17" creationId="{319B48F1-54CA-B422-0434-F86118EC72EC}"/>
          </ac:spMkLst>
        </pc:spChg>
        <pc:spChg chg="mod">
          <ac:chgData name="Mikami, Maho" userId="50612f1b-df2d-47bb-8fdd-7ddedc83fc7e" providerId="ADAL" clId="{5CBE12F2-F3C8-4DCE-AD77-5EBD7EED8DBF}" dt="2024-03-24T07:08:54.724" v="5124" actId="20577"/>
          <ac:spMkLst>
            <pc:docMk/>
            <pc:sldMk cId="3951634490" sldId="2147378656"/>
            <ac:spMk id="20" creationId="{ED241F24-5994-A984-CBAB-92BC93B8B90B}"/>
          </ac:spMkLst>
        </pc:spChg>
        <pc:spChg chg="add mod ord">
          <ac:chgData name="Mikami, Maho" userId="50612f1b-df2d-47bb-8fdd-7ddedc83fc7e" providerId="ADAL" clId="{5CBE12F2-F3C8-4DCE-AD77-5EBD7EED8DBF}" dt="2024-03-24T07:09:47.843" v="5215"/>
          <ac:spMkLst>
            <pc:docMk/>
            <pc:sldMk cId="3951634490" sldId="2147378656"/>
            <ac:spMk id="22" creationId="{32403449-2C32-3F47-3E5E-4EBFAB80B6C0}"/>
          </ac:spMkLst>
        </pc:spChg>
        <pc:spChg chg="mod ord">
          <ac:chgData name="Mikami, Maho" userId="50612f1b-df2d-47bb-8fdd-7ddedc83fc7e" providerId="ADAL" clId="{5CBE12F2-F3C8-4DCE-AD77-5EBD7EED8DBF}" dt="2024-03-24T07:09:50.914" v="5239" actId="555"/>
          <ac:spMkLst>
            <pc:docMk/>
            <pc:sldMk cId="3951634490" sldId="2147378656"/>
            <ac:spMk id="23" creationId="{2DF01087-B843-3986-FC18-AF0A33A3EEB2}"/>
          </ac:spMkLst>
        </pc:spChg>
        <pc:spChg chg="del">
          <ac:chgData name="Mikami, Maho" userId="50612f1b-df2d-47bb-8fdd-7ddedc83fc7e" providerId="ADAL" clId="{5CBE12F2-F3C8-4DCE-AD77-5EBD7EED8DBF}" dt="2024-03-24T07:07:48.805" v="4976" actId="21"/>
          <ac:spMkLst>
            <pc:docMk/>
            <pc:sldMk cId="3951634490" sldId="2147378656"/>
            <ac:spMk id="24" creationId="{46C0EAB9-0A7D-E06A-0909-58A3537554E7}"/>
          </ac:spMkLst>
        </pc:spChg>
        <pc:spChg chg="del">
          <ac:chgData name="Mikami, Maho" userId="50612f1b-df2d-47bb-8fdd-7ddedc83fc7e" providerId="ADAL" clId="{5CBE12F2-F3C8-4DCE-AD77-5EBD7EED8DBF}" dt="2024-03-24T07:09:21.039" v="5187" actId="478"/>
          <ac:spMkLst>
            <pc:docMk/>
            <pc:sldMk cId="3951634490" sldId="2147378656"/>
            <ac:spMk id="25" creationId="{37CCBE52-5B92-6AA6-3FF5-71E4933DEF73}"/>
          </ac:spMkLst>
        </pc:spChg>
        <pc:spChg chg="mod">
          <ac:chgData name="Mikami, Maho" userId="50612f1b-df2d-47bb-8fdd-7ddedc83fc7e" providerId="ADAL" clId="{5CBE12F2-F3C8-4DCE-AD77-5EBD7EED8DBF}" dt="2024-03-24T07:09:35.949" v="5192"/>
          <ac:spMkLst>
            <pc:docMk/>
            <pc:sldMk cId="3951634490" sldId="2147378656"/>
            <ac:spMk id="27" creationId="{A91311BA-66D9-1457-6651-545F6CB0CD4F}"/>
          </ac:spMkLst>
        </pc:spChg>
        <pc:spChg chg="mod">
          <ac:chgData name="Mikami, Maho" userId="50612f1b-df2d-47bb-8fdd-7ddedc83fc7e" providerId="ADAL" clId="{5CBE12F2-F3C8-4DCE-AD77-5EBD7EED8DBF}" dt="2024-03-24T07:09:35.949" v="5192"/>
          <ac:spMkLst>
            <pc:docMk/>
            <pc:sldMk cId="3951634490" sldId="2147378656"/>
            <ac:spMk id="28" creationId="{66B005FB-B744-9C9E-834C-9186E1B84BEC}"/>
          </ac:spMkLst>
        </pc:spChg>
        <pc:spChg chg="mod">
          <ac:chgData name="Mikami, Maho" userId="50612f1b-df2d-47bb-8fdd-7ddedc83fc7e" providerId="ADAL" clId="{5CBE12F2-F3C8-4DCE-AD77-5EBD7EED8DBF}" dt="2024-03-24T07:09:35.949" v="5192"/>
          <ac:spMkLst>
            <pc:docMk/>
            <pc:sldMk cId="3951634490" sldId="2147378656"/>
            <ac:spMk id="29" creationId="{1471D3D3-9FEC-45BB-0954-2EF9C2EBD2C4}"/>
          </ac:spMkLst>
        </pc:spChg>
        <pc:spChg chg="mod">
          <ac:chgData name="Mikami, Maho" userId="50612f1b-df2d-47bb-8fdd-7ddedc83fc7e" providerId="ADAL" clId="{5CBE12F2-F3C8-4DCE-AD77-5EBD7EED8DBF}" dt="2024-03-24T07:09:35.949" v="5192"/>
          <ac:spMkLst>
            <pc:docMk/>
            <pc:sldMk cId="3951634490" sldId="2147378656"/>
            <ac:spMk id="30" creationId="{76DBDABF-9E8E-BC72-1FA6-42AC6B21EF08}"/>
          </ac:spMkLst>
        </pc:spChg>
        <pc:spChg chg="mod">
          <ac:chgData name="Mikami, Maho" userId="50612f1b-df2d-47bb-8fdd-7ddedc83fc7e" providerId="ADAL" clId="{5CBE12F2-F3C8-4DCE-AD77-5EBD7EED8DBF}" dt="2024-03-24T07:09:35.949" v="5192"/>
          <ac:spMkLst>
            <pc:docMk/>
            <pc:sldMk cId="3951634490" sldId="2147378656"/>
            <ac:spMk id="31" creationId="{453E6E6D-0103-7D86-B977-D8EDBD822F53}"/>
          </ac:spMkLst>
        </pc:spChg>
        <pc:spChg chg="mod">
          <ac:chgData name="Mikami, Maho" userId="50612f1b-df2d-47bb-8fdd-7ddedc83fc7e" providerId="ADAL" clId="{5CBE12F2-F3C8-4DCE-AD77-5EBD7EED8DBF}" dt="2024-03-24T07:09:35.949" v="5192"/>
          <ac:spMkLst>
            <pc:docMk/>
            <pc:sldMk cId="3951634490" sldId="2147378656"/>
            <ac:spMk id="32" creationId="{E40418D4-FC0F-442A-3084-93F02EF9AF72}"/>
          </ac:spMkLst>
        </pc:spChg>
        <pc:spChg chg="mod">
          <ac:chgData name="Mikami, Maho" userId="50612f1b-df2d-47bb-8fdd-7ddedc83fc7e" providerId="ADAL" clId="{5CBE12F2-F3C8-4DCE-AD77-5EBD7EED8DBF}" dt="2024-03-24T07:09:35.949" v="5192"/>
          <ac:spMkLst>
            <pc:docMk/>
            <pc:sldMk cId="3951634490" sldId="2147378656"/>
            <ac:spMk id="33" creationId="{C3A10B9B-D9E0-5CF3-57FC-EAE9AEAA0C56}"/>
          </ac:spMkLst>
        </pc:spChg>
        <pc:spChg chg="mod">
          <ac:chgData name="Mikami, Maho" userId="50612f1b-df2d-47bb-8fdd-7ddedc83fc7e" providerId="ADAL" clId="{5CBE12F2-F3C8-4DCE-AD77-5EBD7EED8DBF}" dt="2024-03-24T07:09:35.949" v="5192"/>
          <ac:spMkLst>
            <pc:docMk/>
            <pc:sldMk cId="3951634490" sldId="2147378656"/>
            <ac:spMk id="34" creationId="{0B1880EA-5D2B-C467-23EC-4EC6325A8F25}"/>
          </ac:spMkLst>
        </pc:spChg>
        <pc:spChg chg="mod">
          <ac:chgData name="Mikami, Maho" userId="50612f1b-df2d-47bb-8fdd-7ddedc83fc7e" providerId="ADAL" clId="{5CBE12F2-F3C8-4DCE-AD77-5EBD7EED8DBF}" dt="2024-03-24T07:09:35.949" v="5192"/>
          <ac:spMkLst>
            <pc:docMk/>
            <pc:sldMk cId="3951634490" sldId="2147378656"/>
            <ac:spMk id="35" creationId="{DB4787A0-83A8-73B8-E2CA-21D2F1AAD13F}"/>
          </ac:spMkLst>
        </pc:spChg>
        <pc:spChg chg="mod">
          <ac:chgData name="Mikami, Maho" userId="50612f1b-df2d-47bb-8fdd-7ddedc83fc7e" providerId="ADAL" clId="{5CBE12F2-F3C8-4DCE-AD77-5EBD7EED8DBF}" dt="2024-03-24T07:09:35.949" v="5192"/>
          <ac:spMkLst>
            <pc:docMk/>
            <pc:sldMk cId="3951634490" sldId="2147378656"/>
            <ac:spMk id="36" creationId="{6440A8CD-0117-2585-262A-16649961D764}"/>
          </ac:spMkLst>
        </pc:spChg>
        <pc:spChg chg="mod">
          <ac:chgData name="Mikami, Maho" userId="50612f1b-df2d-47bb-8fdd-7ddedc83fc7e" providerId="ADAL" clId="{5CBE12F2-F3C8-4DCE-AD77-5EBD7EED8DBF}" dt="2024-03-24T07:09:35.949" v="5192"/>
          <ac:spMkLst>
            <pc:docMk/>
            <pc:sldMk cId="3951634490" sldId="2147378656"/>
            <ac:spMk id="37" creationId="{7C4F103C-EF40-9206-3ACE-9206EDB8E4E2}"/>
          </ac:spMkLst>
        </pc:spChg>
        <pc:spChg chg="mod">
          <ac:chgData name="Mikami, Maho" userId="50612f1b-df2d-47bb-8fdd-7ddedc83fc7e" providerId="ADAL" clId="{5CBE12F2-F3C8-4DCE-AD77-5EBD7EED8DBF}" dt="2024-03-24T07:09:35.949" v="5192"/>
          <ac:spMkLst>
            <pc:docMk/>
            <pc:sldMk cId="3951634490" sldId="2147378656"/>
            <ac:spMk id="39" creationId="{6BFCDFF4-4FE7-75C4-BB18-FCF2FFAE1D6D}"/>
          </ac:spMkLst>
        </pc:spChg>
        <pc:spChg chg="mod">
          <ac:chgData name="Mikami, Maho" userId="50612f1b-df2d-47bb-8fdd-7ddedc83fc7e" providerId="ADAL" clId="{5CBE12F2-F3C8-4DCE-AD77-5EBD7EED8DBF}" dt="2024-03-24T07:09:35.949" v="5192"/>
          <ac:spMkLst>
            <pc:docMk/>
            <pc:sldMk cId="3951634490" sldId="2147378656"/>
            <ac:spMk id="43" creationId="{6B7A7DF3-52E5-275C-7ED0-F4296A581203}"/>
          </ac:spMkLst>
        </pc:spChg>
        <pc:spChg chg="mod">
          <ac:chgData name="Mikami, Maho" userId="50612f1b-df2d-47bb-8fdd-7ddedc83fc7e" providerId="ADAL" clId="{5CBE12F2-F3C8-4DCE-AD77-5EBD7EED8DBF}" dt="2024-03-24T07:09:35.949" v="5192"/>
          <ac:spMkLst>
            <pc:docMk/>
            <pc:sldMk cId="3951634490" sldId="2147378656"/>
            <ac:spMk id="44" creationId="{E0E2C81B-2EC6-A207-9D7A-6D7A33C2E5A6}"/>
          </ac:spMkLst>
        </pc:spChg>
        <pc:spChg chg="mod">
          <ac:chgData name="Mikami, Maho" userId="50612f1b-df2d-47bb-8fdd-7ddedc83fc7e" providerId="ADAL" clId="{5CBE12F2-F3C8-4DCE-AD77-5EBD7EED8DBF}" dt="2024-03-24T07:09:35.949" v="5192"/>
          <ac:spMkLst>
            <pc:docMk/>
            <pc:sldMk cId="3951634490" sldId="2147378656"/>
            <ac:spMk id="45" creationId="{8998237A-682E-E57A-176B-098CEC1DE8C5}"/>
          </ac:spMkLst>
        </pc:spChg>
        <pc:spChg chg="mod">
          <ac:chgData name="Mikami, Maho" userId="50612f1b-df2d-47bb-8fdd-7ddedc83fc7e" providerId="ADAL" clId="{5CBE12F2-F3C8-4DCE-AD77-5EBD7EED8DBF}" dt="2024-03-24T07:09:35.949" v="5192"/>
          <ac:spMkLst>
            <pc:docMk/>
            <pc:sldMk cId="3951634490" sldId="2147378656"/>
            <ac:spMk id="46" creationId="{2B1135C9-6E28-D5EA-5448-74B5F72E4655}"/>
          </ac:spMkLst>
        </pc:spChg>
        <pc:spChg chg="mod">
          <ac:chgData name="Mikami, Maho" userId="50612f1b-df2d-47bb-8fdd-7ddedc83fc7e" providerId="ADAL" clId="{5CBE12F2-F3C8-4DCE-AD77-5EBD7EED8DBF}" dt="2024-03-24T07:09:35.949" v="5192"/>
          <ac:spMkLst>
            <pc:docMk/>
            <pc:sldMk cId="3951634490" sldId="2147378656"/>
            <ac:spMk id="47" creationId="{2189590F-124B-055B-0E52-15D3E773C559}"/>
          </ac:spMkLst>
        </pc:spChg>
        <pc:spChg chg="mod">
          <ac:chgData name="Mikami, Maho" userId="50612f1b-df2d-47bb-8fdd-7ddedc83fc7e" providerId="ADAL" clId="{5CBE12F2-F3C8-4DCE-AD77-5EBD7EED8DBF}" dt="2024-03-24T07:09:35.949" v="5192"/>
          <ac:spMkLst>
            <pc:docMk/>
            <pc:sldMk cId="3951634490" sldId="2147378656"/>
            <ac:spMk id="48" creationId="{50651086-66EF-85A2-BE91-4B284D16F857}"/>
          </ac:spMkLst>
        </pc:spChg>
        <pc:spChg chg="mod">
          <ac:chgData name="Mikami, Maho" userId="50612f1b-df2d-47bb-8fdd-7ddedc83fc7e" providerId="ADAL" clId="{5CBE12F2-F3C8-4DCE-AD77-5EBD7EED8DBF}" dt="2024-03-24T07:09:35.949" v="5192"/>
          <ac:spMkLst>
            <pc:docMk/>
            <pc:sldMk cId="3951634490" sldId="2147378656"/>
            <ac:spMk id="49" creationId="{CFF060FB-4221-7169-8BF2-375956BA6A20}"/>
          </ac:spMkLst>
        </pc:spChg>
        <pc:spChg chg="mod">
          <ac:chgData name="Mikami, Maho" userId="50612f1b-df2d-47bb-8fdd-7ddedc83fc7e" providerId="ADAL" clId="{5CBE12F2-F3C8-4DCE-AD77-5EBD7EED8DBF}" dt="2024-03-24T07:09:35.949" v="5192"/>
          <ac:spMkLst>
            <pc:docMk/>
            <pc:sldMk cId="3951634490" sldId="2147378656"/>
            <ac:spMk id="50" creationId="{FB9131A4-F2A2-D6CC-22A9-CD194AB715A7}"/>
          </ac:spMkLst>
        </pc:spChg>
        <pc:spChg chg="mod">
          <ac:chgData name="Mikami, Maho" userId="50612f1b-df2d-47bb-8fdd-7ddedc83fc7e" providerId="ADAL" clId="{5CBE12F2-F3C8-4DCE-AD77-5EBD7EED8DBF}" dt="2024-03-24T07:09:35.949" v="5192"/>
          <ac:spMkLst>
            <pc:docMk/>
            <pc:sldMk cId="3951634490" sldId="2147378656"/>
            <ac:spMk id="51" creationId="{AABD1E9C-1810-4306-378B-B3F0BDCFF70A}"/>
          </ac:spMkLst>
        </pc:spChg>
        <pc:spChg chg="mod">
          <ac:chgData name="Mikami, Maho" userId="50612f1b-df2d-47bb-8fdd-7ddedc83fc7e" providerId="ADAL" clId="{5CBE12F2-F3C8-4DCE-AD77-5EBD7EED8DBF}" dt="2024-03-24T07:09:35.949" v="5192"/>
          <ac:spMkLst>
            <pc:docMk/>
            <pc:sldMk cId="3951634490" sldId="2147378656"/>
            <ac:spMk id="52" creationId="{01372ADA-4AD6-82BF-C4B7-B38F3387FBF2}"/>
          </ac:spMkLst>
        </pc:spChg>
        <pc:spChg chg="mod">
          <ac:chgData name="Mikami, Maho" userId="50612f1b-df2d-47bb-8fdd-7ddedc83fc7e" providerId="ADAL" clId="{5CBE12F2-F3C8-4DCE-AD77-5EBD7EED8DBF}" dt="2024-03-24T07:09:35.949" v="5192"/>
          <ac:spMkLst>
            <pc:docMk/>
            <pc:sldMk cId="3951634490" sldId="2147378656"/>
            <ac:spMk id="56" creationId="{FAF6B21A-ED81-F368-137C-460F4D1D5D68}"/>
          </ac:spMkLst>
        </pc:spChg>
        <pc:spChg chg="mod">
          <ac:chgData name="Mikami, Maho" userId="50612f1b-df2d-47bb-8fdd-7ddedc83fc7e" providerId="ADAL" clId="{5CBE12F2-F3C8-4DCE-AD77-5EBD7EED8DBF}" dt="2024-03-24T07:09:35.949" v="5192"/>
          <ac:spMkLst>
            <pc:docMk/>
            <pc:sldMk cId="3951634490" sldId="2147378656"/>
            <ac:spMk id="57" creationId="{600B1258-9D75-0661-D610-D06C2C8D0BDB}"/>
          </ac:spMkLst>
        </pc:spChg>
        <pc:spChg chg="mod">
          <ac:chgData name="Mikami, Maho" userId="50612f1b-df2d-47bb-8fdd-7ddedc83fc7e" providerId="ADAL" clId="{5CBE12F2-F3C8-4DCE-AD77-5EBD7EED8DBF}" dt="2024-03-24T07:09:35.949" v="5192"/>
          <ac:spMkLst>
            <pc:docMk/>
            <pc:sldMk cId="3951634490" sldId="2147378656"/>
            <ac:spMk id="58" creationId="{45707E55-66CC-F811-9211-48C36E1049C6}"/>
          </ac:spMkLst>
        </pc:spChg>
        <pc:spChg chg="mod">
          <ac:chgData name="Mikami, Maho" userId="50612f1b-df2d-47bb-8fdd-7ddedc83fc7e" providerId="ADAL" clId="{5CBE12F2-F3C8-4DCE-AD77-5EBD7EED8DBF}" dt="2024-03-24T07:09:35.949" v="5192"/>
          <ac:spMkLst>
            <pc:docMk/>
            <pc:sldMk cId="3951634490" sldId="2147378656"/>
            <ac:spMk id="60" creationId="{1AC4BE7E-C85B-F30B-2542-03420560F74A}"/>
          </ac:spMkLst>
        </pc:spChg>
        <pc:spChg chg="mod">
          <ac:chgData name="Mikami, Maho" userId="50612f1b-df2d-47bb-8fdd-7ddedc83fc7e" providerId="ADAL" clId="{5CBE12F2-F3C8-4DCE-AD77-5EBD7EED8DBF}" dt="2024-03-24T07:09:35.949" v="5192"/>
          <ac:spMkLst>
            <pc:docMk/>
            <pc:sldMk cId="3951634490" sldId="2147378656"/>
            <ac:spMk id="62" creationId="{52AB8D95-CC5B-10D8-D945-E99AD7D24306}"/>
          </ac:spMkLst>
        </pc:spChg>
        <pc:spChg chg="mod">
          <ac:chgData name="Mikami, Maho" userId="50612f1b-df2d-47bb-8fdd-7ddedc83fc7e" providerId="ADAL" clId="{5CBE12F2-F3C8-4DCE-AD77-5EBD7EED8DBF}" dt="2024-03-24T07:09:35.949" v="5192"/>
          <ac:spMkLst>
            <pc:docMk/>
            <pc:sldMk cId="3951634490" sldId="2147378656"/>
            <ac:spMk id="63" creationId="{6483D18F-989B-E612-63F8-818EF354484F}"/>
          </ac:spMkLst>
        </pc:spChg>
        <pc:spChg chg="mod">
          <ac:chgData name="Mikami, Maho" userId="50612f1b-df2d-47bb-8fdd-7ddedc83fc7e" providerId="ADAL" clId="{5CBE12F2-F3C8-4DCE-AD77-5EBD7EED8DBF}" dt="2024-03-24T07:09:35.949" v="5192"/>
          <ac:spMkLst>
            <pc:docMk/>
            <pc:sldMk cId="3951634490" sldId="2147378656"/>
            <ac:spMk id="64" creationId="{ED561412-0275-B43B-A8A2-4CE45E7D46BB}"/>
          </ac:spMkLst>
        </pc:spChg>
        <pc:spChg chg="mod">
          <ac:chgData name="Mikami, Maho" userId="50612f1b-df2d-47bb-8fdd-7ddedc83fc7e" providerId="ADAL" clId="{5CBE12F2-F3C8-4DCE-AD77-5EBD7EED8DBF}" dt="2024-03-24T07:09:35.949" v="5192"/>
          <ac:spMkLst>
            <pc:docMk/>
            <pc:sldMk cId="3951634490" sldId="2147378656"/>
            <ac:spMk id="65" creationId="{FD61DD0A-BBCB-E0DE-7C7F-23A282697794}"/>
          </ac:spMkLst>
        </pc:spChg>
        <pc:spChg chg="mod">
          <ac:chgData name="Mikami, Maho" userId="50612f1b-df2d-47bb-8fdd-7ddedc83fc7e" providerId="ADAL" clId="{5CBE12F2-F3C8-4DCE-AD77-5EBD7EED8DBF}" dt="2024-03-24T07:09:35.949" v="5192"/>
          <ac:spMkLst>
            <pc:docMk/>
            <pc:sldMk cId="3951634490" sldId="2147378656"/>
            <ac:spMk id="72" creationId="{C20FD228-4083-B95C-169C-824CBC763AFA}"/>
          </ac:spMkLst>
        </pc:spChg>
        <pc:spChg chg="mod">
          <ac:chgData name="Mikami, Maho" userId="50612f1b-df2d-47bb-8fdd-7ddedc83fc7e" providerId="ADAL" clId="{5CBE12F2-F3C8-4DCE-AD77-5EBD7EED8DBF}" dt="2024-03-24T07:09:35.949" v="5192"/>
          <ac:spMkLst>
            <pc:docMk/>
            <pc:sldMk cId="3951634490" sldId="2147378656"/>
            <ac:spMk id="75" creationId="{9CCD3C11-8AEA-E7D6-08D8-59CFA0D65754}"/>
          </ac:spMkLst>
        </pc:spChg>
        <pc:spChg chg="mod">
          <ac:chgData name="Mikami, Maho" userId="50612f1b-df2d-47bb-8fdd-7ddedc83fc7e" providerId="ADAL" clId="{5CBE12F2-F3C8-4DCE-AD77-5EBD7EED8DBF}" dt="2024-03-24T07:09:35.949" v="5192"/>
          <ac:spMkLst>
            <pc:docMk/>
            <pc:sldMk cId="3951634490" sldId="2147378656"/>
            <ac:spMk id="76" creationId="{F2AACB18-172E-25BA-1AC7-E4EA220F27B8}"/>
          </ac:spMkLst>
        </pc:spChg>
        <pc:spChg chg="mod">
          <ac:chgData name="Mikami, Maho" userId="50612f1b-df2d-47bb-8fdd-7ddedc83fc7e" providerId="ADAL" clId="{5CBE12F2-F3C8-4DCE-AD77-5EBD7EED8DBF}" dt="2024-03-24T07:09:35.949" v="5192"/>
          <ac:spMkLst>
            <pc:docMk/>
            <pc:sldMk cId="3951634490" sldId="2147378656"/>
            <ac:spMk id="79" creationId="{90C76530-CE44-3580-EEC2-8767634E47FC}"/>
          </ac:spMkLst>
        </pc:spChg>
        <pc:spChg chg="mod">
          <ac:chgData name="Mikami, Maho" userId="50612f1b-df2d-47bb-8fdd-7ddedc83fc7e" providerId="ADAL" clId="{5CBE12F2-F3C8-4DCE-AD77-5EBD7EED8DBF}" dt="2024-03-24T07:09:35.949" v="5192"/>
          <ac:spMkLst>
            <pc:docMk/>
            <pc:sldMk cId="3951634490" sldId="2147378656"/>
            <ac:spMk id="80" creationId="{DB0E75F1-7C8E-53BE-F69C-178E89DCA5F0}"/>
          </ac:spMkLst>
        </pc:spChg>
        <pc:spChg chg="mod">
          <ac:chgData name="Mikami, Maho" userId="50612f1b-df2d-47bb-8fdd-7ddedc83fc7e" providerId="ADAL" clId="{5CBE12F2-F3C8-4DCE-AD77-5EBD7EED8DBF}" dt="2024-03-24T07:09:35.949" v="5192"/>
          <ac:spMkLst>
            <pc:docMk/>
            <pc:sldMk cId="3951634490" sldId="2147378656"/>
            <ac:spMk id="81" creationId="{759DB322-92AC-45F1-C7F3-80D8562C0F5C}"/>
          </ac:spMkLst>
        </pc:spChg>
        <pc:spChg chg="mod">
          <ac:chgData name="Mikami, Maho" userId="50612f1b-df2d-47bb-8fdd-7ddedc83fc7e" providerId="ADAL" clId="{5CBE12F2-F3C8-4DCE-AD77-5EBD7EED8DBF}" dt="2024-03-24T07:09:35.949" v="5192"/>
          <ac:spMkLst>
            <pc:docMk/>
            <pc:sldMk cId="3951634490" sldId="2147378656"/>
            <ac:spMk id="89" creationId="{25361284-C567-9B43-DB16-8CF208437344}"/>
          </ac:spMkLst>
        </pc:spChg>
        <pc:spChg chg="mod">
          <ac:chgData name="Mikami, Maho" userId="50612f1b-df2d-47bb-8fdd-7ddedc83fc7e" providerId="ADAL" clId="{5CBE12F2-F3C8-4DCE-AD77-5EBD7EED8DBF}" dt="2024-03-24T07:09:35.949" v="5192"/>
          <ac:spMkLst>
            <pc:docMk/>
            <pc:sldMk cId="3951634490" sldId="2147378656"/>
            <ac:spMk id="90" creationId="{04BF53B3-75B7-35EF-B7E5-0DD91BABBA8D}"/>
          </ac:spMkLst>
        </pc:spChg>
        <pc:spChg chg="mod">
          <ac:chgData name="Mikami, Maho" userId="50612f1b-df2d-47bb-8fdd-7ddedc83fc7e" providerId="ADAL" clId="{5CBE12F2-F3C8-4DCE-AD77-5EBD7EED8DBF}" dt="2024-03-24T07:09:35.949" v="5192"/>
          <ac:spMkLst>
            <pc:docMk/>
            <pc:sldMk cId="3951634490" sldId="2147378656"/>
            <ac:spMk id="92" creationId="{5F9867E2-5618-67EB-FFA9-4A6F834304D5}"/>
          </ac:spMkLst>
        </pc:spChg>
        <pc:spChg chg="mod">
          <ac:chgData name="Mikami, Maho" userId="50612f1b-df2d-47bb-8fdd-7ddedc83fc7e" providerId="ADAL" clId="{5CBE12F2-F3C8-4DCE-AD77-5EBD7EED8DBF}" dt="2024-03-24T07:09:35.949" v="5192"/>
          <ac:spMkLst>
            <pc:docMk/>
            <pc:sldMk cId="3951634490" sldId="2147378656"/>
            <ac:spMk id="93" creationId="{73BF66BD-C87F-182F-39B0-98117B7E9527}"/>
          </ac:spMkLst>
        </pc:spChg>
        <pc:spChg chg="mod">
          <ac:chgData name="Mikami, Maho" userId="50612f1b-df2d-47bb-8fdd-7ddedc83fc7e" providerId="ADAL" clId="{5CBE12F2-F3C8-4DCE-AD77-5EBD7EED8DBF}" dt="2024-03-24T07:09:35.949" v="5192"/>
          <ac:spMkLst>
            <pc:docMk/>
            <pc:sldMk cId="3951634490" sldId="2147378656"/>
            <ac:spMk id="94" creationId="{6158DB6A-560F-6249-AB43-AE5E0EBE3B84}"/>
          </ac:spMkLst>
        </pc:spChg>
        <pc:spChg chg="mod">
          <ac:chgData name="Mikami, Maho" userId="50612f1b-df2d-47bb-8fdd-7ddedc83fc7e" providerId="ADAL" clId="{5CBE12F2-F3C8-4DCE-AD77-5EBD7EED8DBF}" dt="2024-03-24T07:09:35.949" v="5192"/>
          <ac:spMkLst>
            <pc:docMk/>
            <pc:sldMk cId="3951634490" sldId="2147378656"/>
            <ac:spMk id="95" creationId="{05A7BD4B-5B89-A6DD-5238-428FF043FDE4}"/>
          </ac:spMkLst>
        </pc:spChg>
        <pc:spChg chg="mod">
          <ac:chgData name="Mikami, Maho" userId="50612f1b-df2d-47bb-8fdd-7ddedc83fc7e" providerId="ADAL" clId="{5CBE12F2-F3C8-4DCE-AD77-5EBD7EED8DBF}" dt="2024-03-24T07:09:35.949" v="5192"/>
          <ac:spMkLst>
            <pc:docMk/>
            <pc:sldMk cId="3951634490" sldId="2147378656"/>
            <ac:spMk id="96" creationId="{AA0BDCC3-2308-AB87-9A34-8D2E110C6698}"/>
          </ac:spMkLst>
        </pc:spChg>
        <pc:spChg chg="mod">
          <ac:chgData name="Mikami, Maho" userId="50612f1b-df2d-47bb-8fdd-7ddedc83fc7e" providerId="ADAL" clId="{5CBE12F2-F3C8-4DCE-AD77-5EBD7EED8DBF}" dt="2024-03-24T07:09:35.949" v="5192"/>
          <ac:spMkLst>
            <pc:docMk/>
            <pc:sldMk cId="3951634490" sldId="2147378656"/>
            <ac:spMk id="97" creationId="{D170854C-E2F5-502B-CAD2-93C7D63FE6C1}"/>
          </ac:spMkLst>
        </pc:spChg>
        <pc:spChg chg="mod">
          <ac:chgData name="Mikami, Maho" userId="50612f1b-df2d-47bb-8fdd-7ddedc83fc7e" providerId="ADAL" clId="{5CBE12F2-F3C8-4DCE-AD77-5EBD7EED8DBF}" dt="2024-03-24T07:09:35.949" v="5192"/>
          <ac:spMkLst>
            <pc:docMk/>
            <pc:sldMk cId="3951634490" sldId="2147378656"/>
            <ac:spMk id="98" creationId="{78F172DE-89B2-E981-55E2-92A2D548EC4A}"/>
          </ac:spMkLst>
        </pc:spChg>
        <pc:spChg chg="mod">
          <ac:chgData name="Mikami, Maho" userId="50612f1b-df2d-47bb-8fdd-7ddedc83fc7e" providerId="ADAL" clId="{5CBE12F2-F3C8-4DCE-AD77-5EBD7EED8DBF}" dt="2024-03-24T07:09:35.949" v="5192"/>
          <ac:spMkLst>
            <pc:docMk/>
            <pc:sldMk cId="3951634490" sldId="2147378656"/>
            <ac:spMk id="179" creationId="{92EB8E11-CF98-6845-1EA5-565548819EF8}"/>
          </ac:spMkLst>
        </pc:spChg>
        <pc:spChg chg="mod">
          <ac:chgData name="Mikami, Maho" userId="50612f1b-df2d-47bb-8fdd-7ddedc83fc7e" providerId="ADAL" clId="{5CBE12F2-F3C8-4DCE-AD77-5EBD7EED8DBF}" dt="2024-03-24T07:09:35.949" v="5192"/>
          <ac:spMkLst>
            <pc:docMk/>
            <pc:sldMk cId="3951634490" sldId="2147378656"/>
            <ac:spMk id="180" creationId="{B63656EF-DFDD-EAFA-72C6-FE895D600877}"/>
          </ac:spMkLst>
        </pc:spChg>
        <pc:spChg chg="mod">
          <ac:chgData name="Mikami, Maho" userId="50612f1b-df2d-47bb-8fdd-7ddedc83fc7e" providerId="ADAL" clId="{5CBE12F2-F3C8-4DCE-AD77-5EBD7EED8DBF}" dt="2024-03-24T07:09:35.949" v="5192"/>
          <ac:spMkLst>
            <pc:docMk/>
            <pc:sldMk cId="3951634490" sldId="2147378656"/>
            <ac:spMk id="181" creationId="{C19578EA-9F00-6AC7-D25F-58F1360D56D9}"/>
          </ac:spMkLst>
        </pc:spChg>
        <pc:spChg chg="mod">
          <ac:chgData name="Mikami, Maho" userId="50612f1b-df2d-47bb-8fdd-7ddedc83fc7e" providerId="ADAL" clId="{5CBE12F2-F3C8-4DCE-AD77-5EBD7EED8DBF}" dt="2024-03-24T07:09:35.949" v="5192"/>
          <ac:spMkLst>
            <pc:docMk/>
            <pc:sldMk cId="3951634490" sldId="2147378656"/>
            <ac:spMk id="182" creationId="{DD870EE1-926E-AE22-956D-D0CC543F826D}"/>
          </ac:spMkLst>
        </pc:spChg>
        <pc:spChg chg="mod">
          <ac:chgData name="Mikami, Maho" userId="50612f1b-df2d-47bb-8fdd-7ddedc83fc7e" providerId="ADAL" clId="{5CBE12F2-F3C8-4DCE-AD77-5EBD7EED8DBF}" dt="2024-03-24T07:09:35.949" v="5192"/>
          <ac:spMkLst>
            <pc:docMk/>
            <pc:sldMk cId="3951634490" sldId="2147378656"/>
            <ac:spMk id="183" creationId="{BC1A8C55-F234-5C0E-D7FE-6256BAB4878C}"/>
          </ac:spMkLst>
        </pc:spChg>
        <pc:spChg chg="add mod">
          <ac:chgData name="Mikami, Maho" userId="50612f1b-df2d-47bb-8fdd-7ddedc83fc7e" providerId="ADAL" clId="{5CBE12F2-F3C8-4DCE-AD77-5EBD7EED8DBF}" dt="2024-03-24T07:31:06.412" v="6708"/>
          <ac:spMkLst>
            <pc:docMk/>
            <pc:sldMk cId="3951634490" sldId="2147378656"/>
            <ac:spMk id="184" creationId="{C871CBBD-DD04-92F1-70EC-CFCACF4429E5}"/>
          </ac:spMkLst>
        </pc:spChg>
        <pc:grpChg chg="add mod">
          <ac:chgData name="Mikami, Maho" userId="50612f1b-df2d-47bb-8fdd-7ddedc83fc7e" providerId="ADAL" clId="{5CBE12F2-F3C8-4DCE-AD77-5EBD7EED8DBF}" dt="2024-03-24T07:08:47.527" v="5091"/>
          <ac:grpSpMkLst>
            <pc:docMk/>
            <pc:sldMk cId="3951634490" sldId="2147378656"/>
            <ac:grpSpMk id="7" creationId="{8B0CE52F-7982-8D4C-08A5-A4C8373D303E}"/>
          </ac:grpSpMkLst>
        </pc:grpChg>
        <pc:grpChg chg="del">
          <ac:chgData name="Mikami, Maho" userId="50612f1b-df2d-47bb-8fdd-7ddedc83fc7e" providerId="ADAL" clId="{5CBE12F2-F3C8-4DCE-AD77-5EBD7EED8DBF}" dt="2024-03-24T07:08:39.045" v="5089" actId="478"/>
          <ac:grpSpMkLst>
            <pc:docMk/>
            <pc:sldMk cId="3951634490" sldId="2147378656"/>
            <ac:grpSpMk id="8" creationId="{4C91D19B-6878-5C9B-EC98-52BEFFD2B28D}"/>
          </ac:grpSpMkLst>
        </pc:grpChg>
        <pc:grpChg chg="del mod">
          <ac:chgData name="Mikami, Maho" userId="50612f1b-df2d-47bb-8fdd-7ddedc83fc7e" providerId="ADAL" clId="{5CBE12F2-F3C8-4DCE-AD77-5EBD7EED8DBF}" dt="2024-03-24T07:08:48.905" v="5092" actId="478"/>
          <ac:grpSpMkLst>
            <pc:docMk/>
            <pc:sldMk cId="3951634490" sldId="2147378656"/>
            <ac:grpSpMk id="9" creationId="{2F8E05D5-530D-1B40-FB20-6AD1DE6F8350}"/>
          </ac:grpSpMkLst>
        </pc:grpChg>
        <pc:grpChg chg="add mod">
          <ac:chgData name="Mikami, Maho" userId="50612f1b-df2d-47bb-8fdd-7ddedc83fc7e" providerId="ADAL" clId="{5CBE12F2-F3C8-4DCE-AD77-5EBD7EED8DBF}" dt="2024-03-24T07:09:47.845" v="5224"/>
          <ac:grpSpMkLst>
            <pc:docMk/>
            <pc:sldMk cId="3951634490" sldId="2147378656"/>
            <ac:grpSpMk id="19" creationId="{531FFA07-CD67-13A1-7C31-F3AEBB75109C}"/>
          </ac:grpSpMkLst>
        </pc:grpChg>
        <pc:grpChg chg="add mod ord">
          <ac:chgData name="Mikami, Maho" userId="50612f1b-df2d-47bb-8fdd-7ddedc83fc7e" providerId="ADAL" clId="{5CBE12F2-F3C8-4DCE-AD77-5EBD7EED8DBF}" dt="2024-03-24T07:09:47.845" v="5226"/>
          <ac:grpSpMkLst>
            <pc:docMk/>
            <pc:sldMk cId="3951634490" sldId="2147378656"/>
            <ac:grpSpMk id="26" creationId="{2A268C46-7CC1-1E7B-B4D8-3306515E1FE8}"/>
          </ac:grpSpMkLst>
        </pc:grpChg>
        <pc:grpChg chg="mod">
          <ac:chgData name="Mikami, Maho" userId="50612f1b-df2d-47bb-8fdd-7ddedc83fc7e" providerId="ADAL" clId="{5CBE12F2-F3C8-4DCE-AD77-5EBD7EED8DBF}" dt="2024-03-24T07:09:35.949" v="5192"/>
          <ac:grpSpMkLst>
            <pc:docMk/>
            <pc:sldMk cId="3951634490" sldId="2147378656"/>
            <ac:grpSpMk id="82" creationId="{64EAB550-CE72-0052-5C70-9F717A84C998}"/>
          </ac:grpSpMkLst>
        </pc:grpChg>
        <pc:grpChg chg="mod">
          <ac:chgData name="Mikami, Maho" userId="50612f1b-df2d-47bb-8fdd-7ddedc83fc7e" providerId="ADAL" clId="{5CBE12F2-F3C8-4DCE-AD77-5EBD7EED8DBF}" dt="2024-03-24T07:09:35.949" v="5192"/>
          <ac:grpSpMkLst>
            <pc:docMk/>
            <pc:sldMk cId="3951634490" sldId="2147378656"/>
            <ac:grpSpMk id="83" creationId="{CAC1018F-65C1-5496-06BC-C514EF9A4C0A}"/>
          </ac:grpSpMkLst>
        </pc:grpChg>
        <pc:grpChg chg="del mod">
          <ac:chgData name="Mikami, Maho" userId="50612f1b-df2d-47bb-8fdd-7ddedc83fc7e" providerId="ADAL" clId="{5CBE12F2-F3C8-4DCE-AD77-5EBD7EED8DBF}" dt="2024-03-24T07:09:35.659" v="5191" actId="478"/>
          <ac:grpSpMkLst>
            <pc:docMk/>
            <pc:sldMk cId="3951634490" sldId="2147378656"/>
            <ac:grpSpMk id="100" creationId="{3C2C579C-EF84-52EE-A2A7-31FF21F046A3}"/>
          </ac:grpSpMkLst>
        </pc:grpChg>
        <pc:graphicFrameChg chg="mod">
          <ac:chgData name="Mikami, Maho" userId="50612f1b-df2d-47bb-8fdd-7ddedc83fc7e" providerId="ADAL" clId="{5CBE12F2-F3C8-4DCE-AD77-5EBD7EED8DBF}" dt="2024-03-24T07:09:47.855" v="5232"/>
          <ac:graphicFrameMkLst>
            <pc:docMk/>
            <pc:sldMk cId="3951634490" sldId="2147378656"/>
            <ac:graphicFrameMk id="15" creationId="{497AAB72-542A-2E87-8010-C05BF225E53A}"/>
          </ac:graphicFrameMkLst>
        </pc:graphicFrameChg>
        <pc:cxnChg chg="mod">
          <ac:chgData name="Mikami, Maho" userId="50612f1b-df2d-47bb-8fdd-7ddedc83fc7e" providerId="ADAL" clId="{5CBE12F2-F3C8-4DCE-AD77-5EBD7EED8DBF}" dt="2024-03-24T07:08:43.961" v="5090" actId="14100"/>
          <ac:cxnSpMkLst>
            <pc:docMk/>
            <pc:sldMk cId="3951634490" sldId="2147378656"/>
            <ac:cxnSpMk id="11" creationId="{776D3046-FB6A-E52F-C885-17C6CC9AB992}"/>
          </ac:cxnSpMkLst>
        </pc:cxnChg>
        <pc:cxnChg chg="mod">
          <ac:chgData name="Mikami, Maho" userId="50612f1b-df2d-47bb-8fdd-7ddedc83fc7e" providerId="ADAL" clId="{5CBE12F2-F3C8-4DCE-AD77-5EBD7EED8DBF}" dt="2024-03-24T07:08:47.527" v="5091"/>
          <ac:cxnSpMkLst>
            <pc:docMk/>
            <pc:sldMk cId="3951634490" sldId="2147378656"/>
            <ac:cxnSpMk id="18" creationId="{5060BB38-8AA5-7108-171B-C62D2A85B674}"/>
          </ac:cxnSpMkLst>
        </pc:cxnChg>
        <pc:cxnChg chg="mod">
          <ac:chgData name="Mikami, Maho" userId="50612f1b-df2d-47bb-8fdd-7ddedc83fc7e" providerId="ADAL" clId="{5CBE12F2-F3C8-4DCE-AD77-5EBD7EED8DBF}" dt="2024-03-24T07:08:49.152" v="5093"/>
          <ac:cxnSpMkLst>
            <pc:docMk/>
            <pc:sldMk cId="3951634490" sldId="2147378656"/>
            <ac:cxnSpMk id="21" creationId="{C3408D4A-33CD-AA5E-9E71-BEF28C1226B7}"/>
          </ac:cxnSpMkLst>
        </pc:cxnChg>
        <pc:cxnChg chg="mod">
          <ac:chgData name="Mikami, Maho" userId="50612f1b-df2d-47bb-8fdd-7ddedc83fc7e" providerId="ADAL" clId="{5CBE12F2-F3C8-4DCE-AD77-5EBD7EED8DBF}" dt="2024-03-24T07:09:35.949" v="5192"/>
          <ac:cxnSpMkLst>
            <pc:docMk/>
            <pc:sldMk cId="3951634490" sldId="2147378656"/>
            <ac:cxnSpMk id="38" creationId="{A46AC16B-740D-BCB6-665F-39269259F4FD}"/>
          </ac:cxnSpMkLst>
        </pc:cxnChg>
        <pc:cxnChg chg="mod">
          <ac:chgData name="Mikami, Maho" userId="50612f1b-df2d-47bb-8fdd-7ddedc83fc7e" providerId="ADAL" clId="{5CBE12F2-F3C8-4DCE-AD77-5EBD7EED8DBF}" dt="2024-03-24T07:09:35.949" v="5192"/>
          <ac:cxnSpMkLst>
            <pc:docMk/>
            <pc:sldMk cId="3951634490" sldId="2147378656"/>
            <ac:cxnSpMk id="40" creationId="{27642D03-9A1B-6B2E-7867-0B27B19474C5}"/>
          </ac:cxnSpMkLst>
        </pc:cxnChg>
        <pc:cxnChg chg="mod">
          <ac:chgData name="Mikami, Maho" userId="50612f1b-df2d-47bb-8fdd-7ddedc83fc7e" providerId="ADAL" clId="{5CBE12F2-F3C8-4DCE-AD77-5EBD7EED8DBF}" dt="2024-03-24T07:09:35.949" v="5192"/>
          <ac:cxnSpMkLst>
            <pc:docMk/>
            <pc:sldMk cId="3951634490" sldId="2147378656"/>
            <ac:cxnSpMk id="41" creationId="{432587BF-B822-DD2D-3358-F5A30FC0DB44}"/>
          </ac:cxnSpMkLst>
        </pc:cxnChg>
        <pc:cxnChg chg="mod">
          <ac:chgData name="Mikami, Maho" userId="50612f1b-df2d-47bb-8fdd-7ddedc83fc7e" providerId="ADAL" clId="{5CBE12F2-F3C8-4DCE-AD77-5EBD7EED8DBF}" dt="2024-03-24T07:09:35.949" v="5192"/>
          <ac:cxnSpMkLst>
            <pc:docMk/>
            <pc:sldMk cId="3951634490" sldId="2147378656"/>
            <ac:cxnSpMk id="42" creationId="{D1773E93-6F76-6478-930B-64936732197D}"/>
          </ac:cxnSpMkLst>
        </pc:cxnChg>
        <pc:cxnChg chg="mod">
          <ac:chgData name="Mikami, Maho" userId="50612f1b-df2d-47bb-8fdd-7ddedc83fc7e" providerId="ADAL" clId="{5CBE12F2-F3C8-4DCE-AD77-5EBD7EED8DBF}" dt="2024-03-24T07:09:35.949" v="5192"/>
          <ac:cxnSpMkLst>
            <pc:docMk/>
            <pc:sldMk cId="3951634490" sldId="2147378656"/>
            <ac:cxnSpMk id="53" creationId="{3043CD6D-1236-4FC1-02F1-B88E99439BD7}"/>
          </ac:cxnSpMkLst>
        </pc:cxnChg>
        <pc:cxnChg chg="mod">
          <ac:chgData name="Mikami, Maho" userId="50612f1b-df2d-47bb-8fdd-7ddedc83fc7e" providerId="ADAL" clId="{5CBE12F2-F3C8-4DCE-AD77-5EBD7EED8DBF}" dt="2024-03-24T07:09:35.949" v="5192"/>
          <ac:cxnSpMkLst>
            <pc:docMk/>
            <pc:sldMk cId="3951634490" sldId="2147378656"/>
            <ac:cxnSpMk id="54" creationId="{6518D55F-A0E8-FEE7-37EC-1064A8AC7208}"/>
          </ac:cxnSpMkLst>
        </pc:cxnChg>
        <pc:cxnChg chg="mod">
          <ac:chgData name="Mikami, Maho" userId="50612f1b-df2d-47bb-8fdd-7ddedc83fc7e" providerId="ADAL" clId="{5CBE12F2-F3C8-4DCE-AD77-5EBD7EED8DBF}" dt="2024-03-24T07:09:35.949" v="5192"/>
          <ac:cxnSpMkLst>
            <pc:docMk/>
            <pc:sldMk cId="3951634490" sldId="2147378656"/>
            <ac:cxnSpMk id="55" creationId="{3132F686-2EC5-638E-93EF-6B9CCD3118F6}"/>
          </ac:cxnSpMkLst>
        </pc:cxnChg>
        <pc:cxnChg chg="mod">
          <ac:chgData name="Mikami, Maho" userId="50612f1b-df2d-47bb-8fdd-7ddedc83fc7e" providerId="ADAL" clId="{5CBE12F2-F3C8-4DCE-AD77-5EBD7EED8DBF}" dt="2024-03-24T07:09:35.949" v="5192"/>
          <ac:cxnSpMkLst>
            <pc:docMk/>
            <pc:sldMk cId="3951634490" sldId="2147378656"/>
            <ac:cxnSpMk id="59" creationId="{B71D87FE-5DF6-B386-0F5A-843DA8305802}"/>
          </ac:cxnSpMkLst>
        </pc:cxnChg>
        <pc:cxnChg chg="mod">
          <ac:chgData name="Mikami, Maho" userId="50612f1b-df2d-47bb-8fdd-7ddedc83fc7e" providerId="ADAL" clId="{5CBE12F2-F3C8-4DCE-AD77-5EBD7EED8DBF}" dt="2024-03-24T07:09:35.949" v="5192"/>
          <ac:cxnSpMkLst>
            <pc:docMk/>
            <pc:sldMk cId="3951634490" sldId="2147378656"/>
            <ac:cxnSpMk id="61" creationId="{7E8AEF8A-15CB-9E9E-5547-13F82DF6BD31}"/>
          </ac:cxnSpMkLst>
        </pc:cxnChg>
        <pc:cxnChg chg="mod">
          <ac:chgData name="Mikami, Maho" userId="50612f1b-df2d-47bb-8fdd-7ddedc83fc7e" providerId="ADAL" clId="{5CBE12F2-F3C8-4DCE-AD77-5EBD7EED8DBF}" dt="2024-03-24T07:09:35.949" v="5192"/>
          <ac:cxnSpMkLst>
            <pc:docMk/>
            <pc:sldMk cId="3951634490" sldId="2147378656"/>
            <ac:cxnSpMk id="66" creationId="{646798A6-A9EC-2986-1AAC-6CDF5FDE565D}"/>
          </ac:cxnSpMkLst>
        </pc:cxnChg>
        <pc:cxnChg chg="mod">
          <ac:chgData name="Mikami, Maho" userId="50612f1b-df2d-47bb-8fdd-7ddedc83fc7e" providerId="ADAL" clId="{5CBE12F2-F3C8-4DCE-AD77-5EBD7EED8DBF}" dt="2024-03-24T07:09:35.949" v="5192"/>
          <ac:cxnSpMkLst>
            <pc:docMk/>
            <pc:sldMk cId="3951634490" sldId="2147378656"/>
            <ac:cxnSpMk id="67" creationId="{DBB52986-355E-AFC5-8181-CAE6418BCF3B}"/>
          </ac:cxnSpMkLst>
        </pc:cxnChg>
        <pc:cxnChg chg="mod">
          <ac:chgData name="Mikami, Maho" userId="50612f1b-df2d-47bb-8fdd-7ddedc83fc7e" providerId="ADAL" clId="{5CBE12F2-F3C8-4DCE-AD77-5EBD7EED8DBF}" dt="2024-03-24T07:09:35.949" v="5192"/>
          <ac:cxnSpMkLst>
            <pc:docMk/>
            <pc:sldMk cId="3951634490" sldId="2147378656"/>
            <ac:cxnSpMk id="68" creationId="{DA13DE7E-935D-A1E9-0F54-1DE0A4EE725D}"/>
          </ac:cxnSpMkLst>
        </pc:cxnChg>
        <pc:cxnChg chg="mod">
          <ac:chgData name="Mikami, Maho" userId="50612f1b-df2d-47bb-8fdd-7ddedc83fc7e" providerId="ADAL" clId="{5CBE12F2-F3C8-4DCE-AD77-5EBD7EED8DBF}" dt="2024-03-24T07:09:35.949" v="5192"/>
          <ac:cxnSpMkLst>
            <pc:docMk/>
            <pc:sldMk cId="3951634490" sldId="2147378656"/>
            <ac:cxnSpMk id="69" creationId="{B8F213A3-F36B-331A-E7BE-3F543D34252B}"/>
          </ac:cxnSpMkLst>
        </pc:cxnChg>
        <pc:cxnChg chg="mod">
          <ac:chgData name="Mikami, Maho" userId="50612f1b-df2d-47bb-8fdd-7ddedc83fc7e" providerId="ADAL" clId="{5CBE12F2-F3C8-4DCE-AD77-5EBD7EED8DBF}" dt="2024-03-24T07:09:35.949" v="5192"/>
          <ac:cxnSpMkLst>
            <pc:docMk/>
            <pc:sldMk cId="3951634490" sldId="2147378656"/>
            <ac:cxnSpMk id="70" creationId="{3325AB34-CE4B-0818-4E52-577F14382E2A}"/>
          </ac:cxnSpMkLst>
        </pc:cxnChg>
        <pc:cxnChg chg="mod">
          <ac:chgData name="Mikami, Maho" userId="50612f1b-df2d-47bb-8fdd-7ddedc83fc7e" providerId="ADAL" clId="{5CBE12F2-F3C8-4DCE-AD77-5EBD7EED8DBF}" dt="2024-03-24T07:09:35.949" v="5192"/>
          <ac:cxnSpMkLst>
            <pc:docMk/>
            <pc:sldMk cId="3951634490" sldId="2147378656"/>
            <ac:cxnSpMk id="71" creationId="{4E3FE32A-6743-C9E3-6FCA-165B0D9C1788}"/>
          </ac:cxnSpMkLst>
        </pc:cxnChg>
        <pc:cxnChg chg="mod">
          <ac:chgData name="Mikami, Maho" userId="50612f1b-df2d-47bb-8fdd-7ddedc83fc7e" providerId="ADAL" clId="{5CBE12F2-F3C8-4DCE-AD77-5EBD7EED8DBF}" dt="2024-03-24T07:09:35.949" v="5192"/>
          <ac:cxnSpMkLst>
            <pc:docMk/>
            <pc:sldMk cId="3951634490" sldId="2147378656"/>
            <ac:cxnSpMk id="73" creationId="{080B3C99-B7DB-F548-5108-0940C032D1F6}"/>
          </ac:cxnSpMkLst>
        </pc:cxnChg>
        <pc:cxnChg chg="mod">
          <ac:chgData name="Mikami, Maho" userId="50612f1b-df2d-47bb-8fdd-7ddedc83fc7e" providerId="ADAL" clId="{5CBE12F2-F3C8-4DCE-AD77-5EBD7EED8DBF}" dt="2024-03-24T07:09:35.949" v="5192"/>
          <ac:cxnSpMkLst>
            <pc:docMk/>
            <pc:sldMk cId="3951634490" sldId="2147378656"/>
            <ac:cxnSpMk id="74" creationId="{44A98B03-184F-C43E-9E4F-01D9306C3E25}"/>
          </ac:cxnSpMkLst>
        </pc:cxnChg>
        <pc:cxnChg chg="mod">
          <ac:chgData name="Mikami, Maho" userId="50612f1b-df2d-47bb-8fdd-7ddedc83fc7e" providerId="ADAL" clId="{5CBE12F2-F3C8-4DCE-AD77-5EBD7EED8DBF}" dt="2024-03-24T07:09:35.949" v="5192"/>
          <ac:cxnSpMkLst>
            <pc:docMk/>
            <pc:sldMk cId="3951634490" sldId="2147378656"/>
            <ac:cxnSpMk id="77" creationId="{6B63EFF2-A85A-26EF-DC4A-122DAB553BE8}"/>
          </ac:cxnSpMkLst>
        </pc:cxnChg>
        <pc:cxnChg chg="mod">
          <ac:chgData name="Mikami, Maho" userId="50612f1b-df2d-47bb-8fdd-7ddedc83fc7e" providerId="ADAL" clId="{5CBE12F2-F3C8-4DCE-AD77-5EBD7EED8DBF}" dt="2024-03-24T07:09:35.949" v="5192"/>
          <ac:cxnSpMkLst>
            <pc:docMk/>
            <pc:sldMk cId="3951634490" sldId="2147378656"/>
            <ac:cxnSpMk id="78" creationId="{3EDB85E2-277C-4AC6-8D17-DDEEFE3861AF}"/>
          </ac:cxnSpMkLst>
        </pc:cxnChg>
        <pc:cxnChg chg="mod">
          <ac:chgData name="Mikami, Maho" userId="50612f1b-df2d-47bb-8fdd-7ddedc83fc7e" providerId="ADAL" clId="{5CBE12F2-F3C8-4DCE-AD77-5EBD7EED8DBF}" dt="2024-03-24T07:09:35.949" v="5192"/>
          <ac:cxnSpMkLst>
            <pc:docMk/>
            <pc:sldMk cId="3951634490" sldId="2147378656"/>
            <ac:cxnSpMk id="84" creationId="{3FC44261-846E-82FE-095A-7092DC1BFBAE}"/>
          </ac:cxnSpMkLst>
        </pc:cxnChg>
        <pc:cxnChg chg="mod">
          <ac:chgData name="Mikami, Maho" userId="50612f1b-df2d-47bb-8fdd-7ddedc83fc7e" providerId="ADAL" clId="{5CBE12F2-F3C8-4DCE-AD77-5EBD7EED8DBF}" dt="2024-03-24T07:09:35.949" v="5192"/>
          <ac:cxnSpMkLst>
            <pc:docMk/>
            <pc:sldMk cId="3951634490" sldId="2147378656"/>
            <ac:cxnSpMk id="85" creationId="{8FE4B113-03B8-62AA-2138-D501424F3DD1}"/>
          </ac:cxnSpMkLst>
        </pc:cxnChg>
        <pc:cxnChg chg="mod">
          <ac:chgData name="Mikami, Maho" userId="50612f1b-df2d-47bb-8fdd-7ddedc83fc7e" providerId="ADAL" clId="{5CBE12F2-F3C8-4DCE-AD77-5EBD7EED8DBF}" dt="2024-03-24T07:09:35.949" v="5192"/>
          <ac:cxnSpMkLst>
            <pc:docMk/>
            <pc:sldMk cId="3951634490" sldId="2147378656"/>
            <ac:cxnSpMk id="86" creationId="{469AAB49-8A30-1A7C-B3DD-0362C2A42850}"/>
          </ac:cxnSpMkLst>
        </pc:cxnChg>
        <pc:cxnChg chg="mod">
          <ac:chgData name="Mikami, Maho" userId="50612f1b-df2d-47bb-8fdd-7ddedc83fc7e" providerId="ADAL" clId="{5CBE12F2-F3C8-4DCE-AD77-5EBD7EED8DBF}" dt="2024-03-24T07:09:35.949" v="5192"/>
          <ac:cxnSpMkLst>
            <pc:docMk/>
            <pc:sldMk cId="3951634490" sldId="2147378656"/>
            <ac:cxnSpMk id="87" creationId="{132DE9F0-92F6-D2A0-9CC3-AA170A26F7DD}"/>
          </ac:cxnSpMkLst>
        </pc:cxnChg>
        <pc:cxnChg chg="mod">
          <ac:chgData name="Mikami, Maho" userId="50612f1b-df2d-47bb-8fdd-7ddedc83fc7e" providerId="ADAL" clId="{5CBE12F2-F3C8-4DCE-AD77-5EBD7EED8DBF}" dt="2024-03-24T07:09:35.949" v="5192"/>
          <ac:cxnSpMkLst>
            <pc:docMk/>
            <pc:sldMk cId="3951634490" sldId="2147378656"/>
            <ac:cxnSpMk id="88" creationId="{210A4FCE-F3DD-9407-338B-2121E756D46A}"/>
          </ac:cxnSpMkLst>
        </pc:cxnChg>
        <pc:cxnChg chg="mod">
          <ac:chgData name="Mikami, Maho" userId="50612f1b-df2d-47bb-8fdd-7ddedc83fc7e" providerId="ADAL" clId="{5CBE12F2-F3C8-4DCE-AD77-5EBD7EED8DBF}" dt="2024-03-24T07:09:35.949" v="5192"/>
          <ac:cxnSpMkLst>
            <pc:docMk/>
            <pc:sldMk cId="3951634490" sldId="2147378656"/>
            <ac:cxnSpMk id="91" creationId="{D8B69989-CBF5-5A4A-88AE-6EC78F982456}"/>
          </ac:cxnSpMkLst>
        </pc:cxnChg>
        <pc:cxnChg chg="mod">
          <ac:chgData name="Mikami, Maho" userId="50612f1b-df2d-47bb-8fdd-7ddedc83fc7e" providerId="ADAL" clId="{5CBE12F2-F3C8-4DCE-AD77-5EBD7EED8DBF}" dt="2024-03-24T07:09:35.949" v="5192"/>
          <ac:cxnSpMkLst>
            <pc:docMk/>
            <pc:sldMk cId="3951634490" sldId="2147378656"/>
            <ac:cxnSpMk id="99" creationId="{27EFB939-FCA2-B352-C890-BAE4701310C9}"/>
          </ac:cxnSpMkLst>
        </pc:cxnChg>
        <pc:cxnChg chg="mod">
          <ac:chgData name="Mikami, Maho" userId="50612f1b-df2d-47bb-8fdd-7ddedc83fc7e" providerId="ADAL" clId="{5CBE12F2-F3C8-4DCE-AD77-5EBD7EED8DBF}" dt="2024-03-24T07:09:35.659" v="5191" actId="478"/>
          <ac:cxnSpMkLst>
            <pc:docMk/>
            <pc:sldMk cId="3951634490" sldId="2147378656"/>
            <ac:cxnSpMk id="112" creationId="{0F67F629-9F8F-28BB-33D1-42CA13F00F71}"/>
          </ac:cxnSpMkLst>
        </pc:cxnChg>
        <pc:cxnChg chg="mod">
          <ac:chgData name="Mikami, Maho" userId="50612f1b-df2d-47bb-8fdd-7ddedc83fc7e" providerId="ADAL" clId="{5CBE12F2-F3C8-4DCE-AD77-5EBD7EED8DBF}" dt="2024-03-24T07:09:35.659" v="5191" actId="478"/>
          <ac:cxnSpMkLst>
            <pc:docMk/>
            <pc:sldMk cId="3951634490" sldId="2147378656"/>
            <ac:cxnSpMk id="114" creationId="{4C0226DF-ABFD-1899-EDAE-642E8EAC593F}"/>
          </ac:cxnSpMkLst>
        </pc:cxnChg>
        <pc:cxnChg chg="mod">
          <ac:chgData name="Mikami, Maho" userId="50612f1b-df2d-47bb-8fdd-7ddedc83fc7e" providerId="ADAL" clId="{5CBE12F2-F3C8-4DCE-AD77-5EBD7EED8DBF}" dt="2024-03-24T07:09:35.659" v="5191" actId="478"/>
          <ac:cxnSpMkLst>
            <pc:docMk/>
            <pc:sldMk cId="3951634490" sldId="2147378656"/>
            <ac:cxnSpMk id="115" creationId="{327623DB-8BB9-2476-C56F-B9CA1FCBDDB5}"/>
          </ac:cxnSpMkLst>
        </pc:cxnChg>
        <pc:cxnChg chg="mod">
          <ac:chgData name="Mikami, Maho" userId="50612f1b-df2d-47bb-8fdd-7ddedc83fc7e" providerId="ADAL" clId="{5CBE12F2-F3C8-4DCE-AD77-5EBD7EED8DBF}" dt="2024-03-24T07:09:35.659" v="5191" actId="478"/>
          <ac:cxnSpMkLst>
            <pc:docMk/>
            <pc:sldMk cId="3951634490" sldId="2147378656"/>
            <ac:cxnSpMk id="116" creationId="{32370B6C-77F1-BCD5-DCB6-D8FFC20E5059}"/>
          </ac:cxnSpMkLst>
        </pc:cxnChg>
        <pc:cxnChg chg="mod">
          <ac:chgData name="Mikami, Maho" userId="50612f1b-df2d-47bb-8fdd-7ddedc83fc7e" providerId="ADAL" clId="{5CBE12F2-F3C8-4DCE-AD77-5EBD7EED8DBF}" dt="2024-03-24T07:09:35.659" v="5191" actId="478"/>
          <ac:cxnSpMkLst>
            <pc:docMk/>
            <pc:sldMk cId="3951634490" sldId="2147378656"/>
            <ac:cxnSpMk id="127" creationId="{5BB1FE41-F439-1E9A-046C-4275DF01D8A6}"/>
          </ac:cxnSpMkLst>
        </pc:cxnChg>
        <pc:cxnChg chg="mod">
          <ac:chgData name="Mikami, Maho" userId="50612f1b-df2d-47bb-8fdd-7ddedc83fc7e" providerId="ADAL" clId="{5CBE12F2-F3C8-4DCE-AD77-5EBD7EED8DBF}" dt="2024-03-24T07:09:35.659" v="5191" actId="478"/>
          <ac:cxnSpMkLst>
            <pc:docMk/>
            <pc:sldMk cId="3951634490" sldId="2147378656"/>
            <ac:cxnSpMk id="128" creationId="{464C7858-59AE-DBEA-AA58-240844ACD8DA}"/>
          </ac:cxnSpMkLst>
        </pc:cxnChg>
        <pc:cxnChg chg="mod">
          <ac:chgData name="Mikami, Maho" userId="50612f1b-df2d-47bb-8fdd-7ddedc83fc7e" providerId="ADAL" clId="{5CBE12F2-F3C8-4DCE-AD77-5EBD7EED8DBF}" dt="2024-03-24T07:09:35.659" v="5191" actId="478"/>
          <ac:cxnSpMkLst>
            <pc:docMk/>
            <pc:sldMk cId="3951634490" sldId="2147378656"/>
            <ac:cxnSpMk id="129" creationId="{1E1EAFE8-067D-CFBD-2B29-8B95DB444FEA}"/>
          </ac:cxnSpMkLst>
        </pc:cxnChg>
        <pc:cxnChg chg="mod">
          <ac:chgData name="Mikami, Maho" userId="50612f1b-df2d-47bb-8fdd-7ddedc83fc7e" providerId="ADAL" clId="{5CBE12F2-F3C8-4DCE-AD77-5EBD7EED8DBF}" dt="2024-03-24T07:09:35.659" v="5191" actId="478"/>
          <ac:cxnSpMkLst>
            <pc:docMk/>
            <pc:sldMk cId="3951634490" sldId="2147378656"/>
            <ac:cxnSpMk id="133" creationId="{0358801D-1B0B-8E97-7925-1EF2B6B903F5}"/>
          </ac:cxnSpMkLst>
        </pc:cxnChg>
        <pc:cxnChg chg="mod">
          <ac:chgData name="Mikami, Maho" userId="50612f1b-df2d-47bb-8fdd-7ddedc83fc7e" providerId="ADAL" clId="{5CBE12F2-F3C8-4DCE-AD77-5EBD7EED8DBF}" dt="2024-03-24T07:09:35.659" v="5191" actId="478"/>
          <ac:cxnSpMkLst>
            <pc:docMk/>
            <pc:sldMk cId="3951634490" sldId="2147378656"/>
            <ac:cxnSpMk id="135" creationId="{F88AC785-ED08-A13A-E004-D3BD7551E3BD}"/>
          </ac:cxnSpMkLst>
        </pc:cxnChg>
        <pc:cxnChg chg="mod">
          <ac:chgData name="Mikami, Maho" userId="50612f1b-df2d-47bb-8fdd-7ddedc83fc7e" providerId="ADAL" clId="{5CBE12F2-F3C8-4DCE-AD77-5EBD7EED8DBF}" dt="2024-03-24T07:09:35.659" v="5191" actId="478"/>
          <ac:cxnSpMkLst>
            <pc:docMk/>
            <pc:sldMk cId="3951634490" sldId="2147378656"/>
            <ac:cxnSpMk id="140" creationId="{18A59383-C3A3-9506-97FD-3AB4EADCC35C}"/>
          </ac:cxnSpMkLst>
        </pc:cxnChg>
        <pc:cxnChg chg="mod">
          <ac:chgData name="Mikami, Maho" userId="50612f1b-df2d-47bb-8fdd-7ddedc83fc7e" providerId="ADAL" clId="{5CBE12F2-F3C8-4DCE-AD77-5EBD7EED8DBF}" dt="2024-03-24T07:09:35.659" v="5191" actId="478"/>
          <ac:cxnSpMkLst>
            <pc:docMk/>
            <pc:sldMk cId="3951634490" sldId="2147378656"/>
            <ac:cxnSpMk id="141" creationId="{FD8445C2-6082-89D3-F0D7-0B04B2F426E1}"/>
          </ac:cxnSpMkLst>
        </pc:cxnChg>
        <pc:cxnChg chg="mod">
          <ac:chgData name="Mikami, Maho" userId="50612f1b-df2d-47bb-8fdd-7ddedc83fc7e" providerId="ADAL" clId="{5CBE12F2-F3C8-4DCE-AD77-5EBD7EED8DBF}" dt="2024-03-24T07:09:35.659" v="5191" actId="478"/>
          <ac:cxnSpMkLst>
            <pc:docMk/>
            <pc:sldMk cId="3951634490" sldId="2147378656"/>
            <ac:cxnSpMk id="142" creationId="{E56F7142-3D44-9E40-28EF-2661B6E81EA6}"/>
          </ac:cxnSpMkLst>
        </pc:cxnChg>
        <pc:cxnChg chg="mod">
          <ac:chgData name="Mikami, Maho" userId="50612f1b-df2d-47bb-8fdd-7ddedc83fc7e" providerId="ADAL" clId="{5CBE12F2-F3C8-4DCE-AD77-5EBD7EED8DBF}" dt="2024-03-24T07:09:35.659" v="5191" actId="478"/>
          <ac:cxnSpMkLst>
            <pc:docMk/>
            <pc:sldMk cId="3951634490" sldId="2147378656"/>
            <ac:cxnSpMk id="143" creationId="{6955C92D-F6AB-7F91-93A6-DA2422861AE7}"/>
          </ac:cxnSpMkLst>
        </pc:cxnChg>
        <pc:cxnChg chg="mod">
          <ac:chgData name="Mikami, Maho" userId="50612f1b-df2d-47bb-8fdd-7ddedc83fc7e" providerId="ADAL" clId="{5CBE12F2-F3C8-4DCE-AD77-5EBD7EED8DBF}" dt="2024-03-24T07:09:35.659" v="5191" actId="478"/>
          <ac:cxnSpMkLst>
            <pc:docMk/>
            <pc:sldMk cId="3951634490" sldId="2147378656"/>
            <ac:cxnSpMk id="144" creationId="{DEE2D119-DB86-73F7-DFC2-EC83EF6A9BD8}"/>
          </ac:cxnSpMkLst>
        </pc:cxnChg>
        <pc:cxnChg chg="mod">
          <ac:chgData name="Mikami, Maho" userId="50612f1b-df2d-47bb-8fdd-7ddedc83fc7e" providerId="ADAL" clId="{5CBE12F2-F3C8-4DCE-AD77-5EBD7EED8DBF}" dt="2024-03-24T07:09:35.659" v="5191" actId="478"/>
          <ac:cxnSpMkLst>
            <pc:docMk/>
            <pc:sldMk cId="3951634490" sldId="2147378656"/>
            <ac:cxnSpMk id="145" creationId="{2A87E2CB-662F-461F-DD22-21E52B11690B}"/>
          </ac:cxnSpMkLst>
        </pc:cxnChg>
        <pc:cxnChg chg="mod">
          <ac:chgData name="Mikami, Maho" userId="50612f1b-df2d-47bb-8fdd-7ddedc83fc7e" providerId="ADAL" clId="{5CBE12F2-F3C8-4DCE-AD77-5EBD7EED8DBF}" dt="2024-03-24T07:09:35.659" v="5191" actId="478"/>
          <ac:cxnSpMkLst>
            <pc:docMk/>
            <pc:sldMk cId="3951634490" sldId="2147378656"/>
            <ac:cxnSpMk id="147" creationId="{767CCADA-B015-13E3-A3E7-D94DA637D967}"/>
          </ac:cxnSpMkLst>
        </pc:cxnChg>
        <pc:cxnChg chg="mod">
          <ac:chgData name="Mikami, Maho" userId="50612f1b-df2d-47bb-8fdd-7ddedc83fc7e" providerId="ADAL" clId="{5CBE12F2-F3C8-4DCE-AD77-5EBD7EED8DBF}" dt="2024-03-24T07:09:35.659" v="5191" actId="478"/>
          <ac:cxnSpMkLst>
            <pc:docMk/>
            <pc:sldMk cId="3951634490" sldId="2147378656"/>
            <ac:cxnSpMk id="148" creationId="{C70CEA9E-4A96-855C-B2C7-A7EC47BA1D6E}"/>
          </ac:cxnSpMkLst>
        </pc:cxnChg>
        <pc:cxnChg chg="mod">
          <ac:chgData name="Mikami, Maho" userId="50612f1b-df2d-47bb-8fdd-7ddedc83fc7e" providerId="ADAL" clId="{5CBE12F2-F3C8-4DCE-AD77-5EBD7EED8DBF}" dt="2024-03-24T07:09:35.659" v="5191" actId="478"/>
          <ac:cxnSpMkLst>
            <pc:docMk/>
            <pc:sldMk cId="3951634490" sldId="2147378656"/>
            <ac:cxnSpMk id="151" creationId="{4ABAF1AA-9396-E5E8-920E-14E56F393464}"/>
          </ac:cxnSpMkLst>
        </pc:cxnChg>
        <pc:cxnChg chg="mod">
          <ac:chgData name="Mikami, Maho" userId="50612f1b-df2d-47bb-8fdd-7ddedc83fc7e" providerId="ADAL" clId="{5CBE12F2-F3C8-4DCE-AD77-5EBD7EED8DBF}" dt="2024-03-24T07:09:35.659" v="5191" actId="478"/>
          <ac:cxnSpMkLst>
            <pc:docMk/>
            <pc:sldMk cId="3951634490" sldId="2147378656"/>
            <ac:cxnSpMk id="152" creationId="{0755D905-C564-AE4C-A517-F14FB09CDA80}"/>
          </ac:cxnSpMkLst>
        </pc:cxnChg>
        <pc:cxnChg chg="mod">
          <ac:chgData name="Mikami, Maho" userId="50612f1b-df2d-47bb-8fdd-7ddedc83fc7e" providerId="ADAL" clId="{5CBE12F2-F3C8-4DCE-AD77-5EBD7EED8DBF}" dt="2024-03-24T07:09:35.659" v="5191" actId="478"/>
          <ac:cxnSpMkLst>
            <pc:docMk/>
            <pc:sldMk cId="3951634490" sldId="2147378656"/>
            <ac:cxnSpMk id="158" creationId="{3D473A2E-9F10-FB82-DEAC-8F93AB210DA6}"/>
          </ac:cxnSpMkLst>
        </pc:cxnChg>
        <pc:cxnChg chg="mod">
          <ac:chgData name="Mikami, Maho" userId="50612f1b-df2d-47bb-8fdd-7ddedc83fc7e" providerId="ADAL" clId="{5CBE12F2-F3C8-4DCE-AD77-5EBD7EED8DBF}" dt="2024-03-24T07:09:35.659" v="5191" actId="478"/>
          <ac:cxnSpMkLst>
            <pc:docMk/>
            <pc:sldMk cId="3951634490" sldId="2147378656"/>
            <ac:cxnSpMk id="159" creationId="{BA927C1C-F26F-B06D-84E1-0918E6961409}"/>
          </ac:cxnSpMkLst>
        </pc:cxnChg>
        <pc:cxnChg chg="mod">
          <ac:chgData name="Mikami, Maho" userId="50612f1b-df2d-47bb-8fdd-7ddedc83fc7e" providerId="ADAL" clId="{5CBE12F2-F3C8-4DCE-AD77-5EBD7EED8DBF}" dt="2024-03-24T07:09:35.659" v="5191" actId="478"/>
          <ac:cxnSpMkLst>
            <pc:docMk/>
            <pc:sldMk cId="3951634490" sldId="2147378656"/>
            <ac:cxnSpMk id="160" creationId="{71C8D810-E1EC-444B-9EDB-5B6379DE0F34}"/>
          </ac:cxnSpMkLst>
        </pc:cxnChg>
        <pc:cxnChg chg="mod">
          <ac:chgData name="Mikami, Maho" userId="50612f1b-df2d-47bb-8fdd-7ddedc83fc7e" providerId="ADAL" clId="{5CBE12F2-F3C8-4DCE-AD77-5EBD7EED8DBF}" dt="2024-03-24T07:09:35.659" v="5191" actId="478"/>
          <ac:cxnSpMkLst>
            <pc:docMk/>
            <pc:sldMk cId="3951634490" sldId="2147378656"/>
            <ac:cxnSpMk id="161" creationId="{74EDB77A-5059-F50A-AF78-3C1237232ABF}"/>
          </ac:cxnSpMkLst>
        </pc:cxnChg>
        <pc:cxnChg chg="mod">
          <ac:chgData name="Mikami, Maho" userId="50612f1b-df2d-47bb-8fdd-7ddedc83fc7e" providerId="ADAL" clId="{5CBE12F2-F3C8-4DCE-AD77-5EBD7EED8DBF}" dt="2024-03-24T07:09:35.659" v="5191" actId="478"/>
          <ac:cxnSpMkLst>
            <pc:docMk/>
            <pc:sldMk cId="3951634490" sldId="2147378656"/>
            <ac:cxnSpMk id="162" creationId="{CCBE14F6-1B60-F177-F682-D3FBEA3D5093}"/>
          </ac:cxnSpMkLst>
        </pc:cxnChg>
        <pc:cxnChg chg="mod">
          <ac:chgData name="Mikami, Maho" userId="50612f1b-df2d-47bb-8fdd-7ddedc83fc7e" providerId="ADAL" clId="{5CBE12F2-F3C8-4DCE-AD77-5EBD7EED8DBF}" dt="2024-03-24T07:09:35.659" v="5191" actId="478"/>
          <ac:cxnSpMkLst>
            <pc:docMk/>
            <pc:sldMk cId="3951634490" sldId="2147378656"/>
            <ac:cxnSpMk id="165" creationId="{8468F8EA-90B6-332B-6916-E4B62F0FBF20}"/>
          </ac:cxnSpMkLst>
        </pc:cxnChg>
      </pc:sldChg>
      <pc:sldMasterChg chg="addSp delSp modSp del mod delSldLayout">
        <pc:chgData name="Mikami, Maho" userId="50612f1b-df2d-47bb-8fdd-7ddedc83fc7e" providerId="ADAL" clId="{5CBE12F2-F3C8-4DCE-AD77-5EBD7EED8DBF}" dt="2024-03-24T06:28:39.548" v="4353" actId="47"/>
        <pc:sldMasterMkLst>
          <pc:docMk/>
          <pc:sldMasterMk cId="2847476743" sldId="2147483808"/>
        </pc:sldMasterMkLst>
        <pc:spChg chg="mod">
          <ac:chgData name="Mikami, Maho" userId="50612f1b-df2d-47bb-8fdd-7ddedc83fc7e" providerId="ADAL" clId="{5CBE12F2-F3C8-4DCE-AD77-5EBD7EED8DBF}" dt="2024-03-24T06:28:26.055" v="4290" actId="948"/>
          <ac:spMkLst>
            <pc:docMk/>
            <pc:sldMasterMk cId="2847476743" sldId="2147483808"/>
            <ac:spMk id="2" creationId="{6A403843-73BC-6D9E-DF0B-DAB675643356}"/>
          </ac:spMkLst>
        </pc:spChg>
        <pc:spChg chg="add del mod modVis">
          <ac:chgData name="Mikami, Maho" userId="50612f1b-df2d-47bb-8fdd-7ddedc83fc7e" providerId="ADAL" clId="{5CBE12F2-F3C8-4DCE-AD77-5EBD7EED8DBF}" dt="2024-03-24T06:28:26.119" v="4330"/>
          <ac:spMkLst>
            <pc:docMk/>
            <pc:sldMasterMk cId="2847476743" sldId="2147483808"/>
            <ac:spMk id="7" creationId="{C3FEF945-F99C-45A2-9317-E5DF46C08853}"/>
          </ac:spMkLst>
        </pc:spChg>
        <pc:graphicFrameChg chg="add mod ord modVis replST">
          <ac:chgData name="Mikami, Maho" userId="50612f1b-df2d-47bb-8fdd-7ddedc83fc7e" providerId="ADAL" clId="{5CBE12F2-F3C8-4DCE-AD77-5EBD7EED8DBF}" dt="2024-03-24T06:28:26.165" v="4345"/>
          <ac:graphicFrameMkLst>
            <pc:docMk/>
            <pc:sldMasterMk cId="2847476743" sldId="2147483808"/>
            <ac:graphicFrameMk id="8" creationId="{0DD5B8D1-61C6-B637-30F4-E43871C89764}"/>
          </ac:graphicFrameMkLst>
        </pc:graphicFrameChg>
        <pc:sldLayoutChg chg="del">
          <pc:chgData name="Mikami, Maho" userId="50612f1b-df2d-47bb-8fdd-7ddedc83fc7e" providerId="ADAL" clId="{5CBE12F2-F3C8-4DCE-AD77-5EBD7EED8DBF}" dt="2024-03-24T06:28:39.548" v="4353" actId="47"/>
          <pc:sldLayoutMkLst>
            <pc:docMk/>
            <pc:sldMasterMk cId="2847476743" sldId="2147483808"/>
            <pc:sldLayoutMk cId="1076454438" sldId="2147483809"/>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2334513542" sldId="2147483810"/>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467277765" sldId="2147483811"/>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3604748968" sldId="2147483812"/>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417451345" sldId="2147483813"/>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396013881" sldId="2147483814"/>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2644388439" sldId="2147483815"/>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247590073" sldId="2147483816"/>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886230889" sldId="2147483817"/>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029981503" sldId="2147483818"/>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3394524142" sldId="2147483819"/>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112825797" sldId="2147483820"/>
          </pc:sldLayoutMkLst>
        </pc:sldLayoutChg>
        <pc:sldLayoutChg chg="del">
          <pc:chgData name="Mikami, Maho" userId="50612f1b-df2d-47bb-8fdd-7ddedc83fc7e" providerId="ADAL" clId="{5CBE12F2-F3C8-4DCE-AD77-5EBD7EED8DBF}" dt="2024-03-24T06:28:39.548" v="4353" actId="47"/>
          <pc:sldLayoutMkLst>
            <pc:docMk/>
            <pc:sldMasterMk cId="2847476743" sldId="2147483808"/>
            <pc:sldLayoutMk cId="1217769012" sldId="2147483821"/>
          </pc:sldLayoutMkLst>
        </pc:sldLayoutChg>
      </pc:sldMasterChg>
    </pc:docChg>
  </pc:docChgLst>
  <pc:docChgLst>
    <pc:chgData name="森田 光貴" userId="314cf0e2-2175-4948-8a4a-96924aa0786a" providerId="ADAL" clId="{C253846A-EB65-4F7F-B487-3A87FE78829D}"/>
    <pc:docChg chg="undo custSel addSld delSld modSld sldOrd modSection">
      <pc:chgData name="森田 光貴" userId="314cf0e2-2175-4948-8a4a-96924aa0786a" providerId="ADAL" clId="{C253846A-EB65-4F7F-B487-3A87FE78829D}" dt="2025-02-10T05:58:23.387" v="73"/>
      <pc:docMkLst>
        <pc:docMk/>
      </pc:docMkLst>
      <pc:sldChg chg="modSp mod">
        <pc:chgData name="森田 光貴" userId="314cf0e2-2175-4948-8a4a-96924aa0786a" providerId="ADAL" clId="{C253846A-EB65-4F7F-B487-3A87FE78829D}" dt="2025-02-10T05:23:03.564" v="21"/>
        <pc:sldMkLst>
          <pc:docMk/>
          <pc:sldMk cId="64176771" sldId="2147378692"/>
        </pc:sldMkLst>
        <pc:spChg chg="mod">
          <ac:chgData name="森田 光貴" userId="314cf0e2-2175-4948-8a4a-96924aa0786a" providerId="ADAL" clId="{C253846A-EB65-4F7F-B487-3A87FE78829D}" dt="2025-02-10T05:23:03.564" v="21"/>
          <ac:spMkLst>
            <pc:docMk/>
            <pc:sldMk cId="64176771" sldId="2147378692"/>
            <ac:spMk id="4" creationId="{2C3BBDD6-C18E-A8D5-D35C-ABB97297C5DD}"/>
          </ac:spMkLst>
        </pc:spChg>
      </pc:sldChg>
      <pc:sldChg chg="modSp mod">
        <pc:chgData name="森田 光貴" userId="314cf0e2-2175-4948-8a4a-96924aa0786a" providerId="ADAL" clId="{C253846A-EB65-4F7F-B487-3A87FE78829D}" dt="2025-02-10T05:22:49.881" v="6"/>
        <pc:sldMkLst>
          <pc:docMk/>
          <pc:sldMk cId="3556400781" sldId="2147378741"/>
        </pc:sldMkLst>
        <pc:spChg chg="mod">
          <ac:chgData name="森田 光貴" userId="314cf0e2-2175-4948-8a4a-96924aa0786a" providerId="ADAL" clId="{C253846A-EB65-4F7F-B487-3A87FE78829D}" dt="2025-02-10T05:22:49.881" v="6"/>
          <ac:spMkLst>
            <pc:docMk/>
            <pc:sldMk cId="3556400781" sldId="2147378741"/>
            <ac:spMk id="9" creationId="{D22A0A06-D5A8-4A1A-B66F-2A8EDBD644F1}"/>
          </ac:spMkLst>
        </pc:spChg>
      </pc:sldChg>
      <pc:sldChg chg="modSp mod">
        <pc:chgData name="森田 光貴" userId="314cf0e2-2175-4948-8a4a-96924aa0786a" providerId="ADAL" clId="{C253846A-EB65-4F7F-B487-3A87FE78829D}" dt="2025-02-10T05:03:05.908" v="0"/>
        <pc:sldMkLst>
          <pc:docMk/>
          <pc:sldMk cId="4237138605" sldId="2147378742"/>
        </pc:sldMkLst>
        <pc:spChg chg="mod">
          <ac:chgData name="森田 光貴" userId="314cf0e2-2175-4948-8a4a-96924aa0786a" providerId="ADAL" clId="{C253846A-EB65-4F7F-B487-3A87FE78829D}" dt="2025-02-10T05:03:05.908" v="0"/>
          <ac:spMkLst>
            <pc:docMk/>
            <pc:sldMk cId="4237138605" sldId="2147378742"/>
            <ac:spMk id="6" creationId="{95B7D5A6-3733-419F-5F47-1323A3D8D852}"/>
          </ac:spMkLst>
        </pc:spChg>
      </pc:sldChg>
      <pc:sldChg chg="ord">
        <pc:chgData name="森田 光貴" userId="314cf0e2-2175-4948-8a4a-96924aa0786a" providerId="ADAL" clId="{C253846A-EB65-4F7F-B487-3A87FE78829D}" dt="2025-02-10T05:36:32.723" v="71"/>
        <pc:sldMkLst>
          <pc:docMk/>
          <pc:sldMk cId="3931455884" sldId="2147378743"/>
        </pc:sldMkLst>
      </pc:sldChg>
      <pc:sldChg chg="add del">
        <pc:chgData name="森田 光貴" userId="314cf0e2-2175-4948-8a4a-96924aa0786a" providerId="ADAL" clId="{C253846A-EB65-4F7F-B487-3A87FE78829D}" dt="2025-02-10T05:58:23.387" v="73"/>
        <pc:sldMkLst>
          <pc:docMk/>
          <pc:sldMk cId="3772405785" sldId="2147378747"/>
        </pc:sldMkLst>
      </pc:sldChg>
      <pc:sldChg chg="modSp mod">
        <pc:chgData name="森田 光貴" userId="314cf0e2-2175-4948-8a4a-96924aa0786a" providerId="ADAL" clId="{C253846A-EB65-4F7F-B487-3A87FE78829D}" dt="2025-02-10T05:22:54.187" v="11"/>
        <pc:sldMkLst>
          <pc:docMk/>
          <pc:sldMk cId="1359778448" sldId="2147378756"/>
        </pc:sldMkLst>
        <pc:spChg chg="mod">
          <ac:chgData name="森田 光貴" userId="314cf0e2-2175-4948-8a4a-96924aa0786a" providerId="ADAL" clId="{C253846A-EB65-4F7F-B487-3A87FE78829D}" dt="2025-02-10T05:22:54.187" v="11"/>
          <ac:spMkLst>
            <pc:docMk/>
            <pc:sldMk cId="1359778448" sldId="2147378756"/>
            <ac:spMk id="4" creationId="{4F1B8C31-A2AA-E8B5-6842-B8CA68666E37}"/>
          </ac:spMkLst>
        </pc:spChg>
      </pc:sldChg>
      <pc:sldChg chg="modSp mod">
        <pc:chgData name="森田 光貴" userId="314cf0e2-2175-4948-8a4a-96924aa0786a" providerId="ADAL" clId="{C253846A-EB65-4F7F-B487-3A87FE78829D}" dt="2025-02-10T05:23:00.359" v="16"/>
        <pc:sldMkLst>
          <pc:docMk/>
          <pc:sldMk cId="1460307593" sldId="2147378757"/>
        </pc:sldMkLst>
        <pc:spChg chg="mod">
          <ac:chgData name="森田 光貴" userId="314cf0e2-2175-4948-8a4a-96924aa0786a" providerId="ADAL" clId="{C253846A-EB65-4F7F-B487-3A87FE78829D}" dt="2025-02-10T05:23:00.359" v="16"/>
          <ac:spMkLst>
            <pc:docMk/>
            <pc:sldMk cId="1460307593" sldId="2147378757"/>
            <ac:spMk id="4" creationId="{4F1B8C31-A2AA-E8B5-6842-B8CA68666E37}"/>
          </ac:spMkLst>
        </pc:spChg>
      </pc:sldChg>
      <pc:sldChg chg="addSp delSp modSp mod">
        <pc:chgData name="森田 光貴" userId="314cf0e2-2175-4948-8a4a-96924aa0786a" providerId="ADAL" clId="{C253846A-EB65-4F7F-B487-3A87FE78829D}" dt="2025-02-10T05:27:20.640" v="58"/>
        <pc:sldMkLst>
          <pc:docMk/>
          <pc:sldMk cId="3704562467" sldId="2147483282"/>
        </pc:sldMkLst>
        <pc:spChg chg="add mod">
          <ac:chgData name="森田 光貴" userId="314cf0e2-2175-4948-8a4a-96924aa0786a" providerId="ADAL" clId="{C253846A-EB65-4F7F-B487-3A87FE78829D}" dt="2025-02-10T05:27:20.640" v="58"/>
          <ac:spMkLst>
            <pc:docMk/>
            <pc:sldMk cId="3704562467" sldId="2147483282"/>
            <ac:spMk id="3" creationId="{20BEFCF4-A9A5-91FB-27D9-A73C26BE4928}"/>
          </ac:spMkLst>
        </pc:spChg>
        <pc:spChg chg="del">
          <ac:chgData name="森田 光貴" userId="314cf0e2-2175-4948-8a4a-96924aa0786a" providerId="ADAL" clId="{C253846A-EB65-4F7F-B487-3A87FE78829D}" dt="2025-02-10T05:27:19.314" v="57" actId="478"/>
          <ac:spMkLst>
            <pc:docMk/>
            <pc:sldMk cId="3704562467" sldId="2147483282"/>
            <ac:spMk id="10" creationId="{80E6EF29-A9F8-46B2-8DDE-5092A65E485F}"/>
          </ac:spMkLst>
        </pc:spChg>
      </pc:sldChg>
      <pc:sldChg chg="addSp delSp modSp mod">
        <pc:chgData name="森田 光貴" userId="314cf0e2-2175-4948-8a4a-96924aa0786a" providerId="ADAL" clId="{C253846A-EB65-4F7F-B487-3A87FE78829D}" dt="2025-02-10T05:27:12.860" v="56"/>
        <pc:sldMkLst>
          <pc:docMk/>
          <pc:sldMk cId="872684900" sldId="2147483285"/>
        </pc:sldMkLst>
        <pc:spChg chg="add mod">
          <ac:chgData name="森田 光貴" userId="314cf0e2-2175-4948-8a4a-96924aa0786a" providerId="ADAL" clId="{C253846A-EB65-4F7F-B487-3A87FE78829D}" dt="2025-02-10T05:27:12.860" v="56"/>
          <ac:spMkLst>
            <pc:docMk/>
            <pc:sldMk cId="872684900" sldId="2147483285"/>
            <ac:spMk id="3" creationId="{0128F88E-0CFC-C9DE-09E4-7F63FBD1B017}"/>
          </ac:spMkLst>
        </pc:spChg>
        <pc:spChg chg="del">
          <ac:chgData name="森田 光貴" userId="314cf0e2-2175-4948-8a4a-96924aa0786a" providerId="ADAL" clId="{C253846A-EB65-4F7F-B487-3A87FE78829D}" dt="2025-02-10T05:27:11.619" v="55" actId="478"/>
          <ac:spMkLst>
            <pc:docMk/>
            <pc:sldMk cId="872684900" sldId="2147483285"/>
            <ac:spMk id="10" creationId="{80E6EF29-A9F8-46B2-8DDE-5092A65E485F}"/>
          </ac:spMkLst>
        </pc:spChg>
      </pc:sldChg>
      <pc:sldChg chg="addSp delSp modSp mod">
        <pc:chgData name="森田 光貴" userId="314cf0e2-2175-4948-8a4a-96924aa0786a" providerId="ADAL" clId="{C253846A-EB65-4F7F-B487-3A87FE78829D}" dt="2025-02-10T05:27:04.217" v="54" actId="166"/>
        <pc:sldMkLst>
          <pc:docMk/>
          <pc:sldMk cId="223803015" sldId="2147483286"/>
        </pc:sldMkLst>
        <pc:spChg chg="add mod ord">
          <ac:chgData name="森田 光貴" userId="314cf0e2-2175-4948-8a4a-96924aa0786a" providerId="ADAL" clId="{C253846A-EB65-4F7F-B487-3A87FE78829D}" dt="2025-02-10T05:27:04.217" v="54" actId="166"/>
          <ac:spMkLst>
            <pc:docMk/>
            <pc:sldMk cId="223803015" sldId="2147483286"/>
            <ac:spMk id="3" creationId="{C3D40428-85E6-E24D-4011-15A333D97D66}"/>
          </ac:spMkLst>
        </pc:spChg>
        <pc:spChg chg="mod">
          <ac:chgData name="森田 光貴" userId="314cf0e2-2175-4948-8a4a-96924aa0786a" providerId="ADAL" clId="{C253846A-EB65-4F7F-B487-3A87FE78829D}" dt="2025-02-10T05:27:01.137" v="53" actId="14100"/>
          <ac:spMkLst>
            <pc:docMk/>
            <pc:sldMk cId="223803015" sldId="2147483286"/>
            <ac:spMk id="9" creationId="{67FD600D-F712-D335-9DCD-5DDA57077E60}"/>
          </ac:spMkLst>
        </pc:spChg>
        <pc:spChg chg="del">
          <ac:chgData name="森田 光貴" userId="314cf0e2-2175-4948-8a4a-96924aa0786a" providerId="ADAL" clId="{C253846A-EB65-4F7F-B487-3A87FE78829D}" dt="2025-02-10T05:26:43.913" v="48" actId="478"/>
          <ac:spMkLst>
            <pc:docMk/>
            <pc:sldMk cId="223803015" sldId="2147483286"/>
            <ac:spMk id="10" creationId="{80E6EF29-A9F8-46B2-8DDE-5092A65E485F}"/>
          </ac:spMkLst>
        </pc:spChg>
      </pc:sldChg>
      <pc:sldChg chg="addSp delSp modSp mod">
        <pc:chgData name="森田 光貴" userId="314cf0e2-2175-4948-8a4a-96924aa0786a" providerId="ADAL" clId="{C253846A-EB65-4F7F-B487-3A87FE78829D}" dt="2025-02-10T05:26:26.155" v="45"/>
        <pc:sldMkLst>
          <pc:docMk/>
          <pc:sldMk cId="3414319613" sldId="2147483287"/>
        </pc:sldMkLst>
        <pc:spChg chg="add mod">
          <ac:chgData name="森田 光貴" userId="314cf0e2-2175-4948-8a4a-96924aa0786a" providerId="ADAL" clId="{C253846A-EB65-4F7F-B487-3A87FE78829D}" dt="2025-02-10T05:26:26.155" v="45"/>
          <ac:spMkLst>
            <pc:docMk/>
            <pc:sldMk cId="3414319613" sldId="2147483287"/>
            <ac:spMk id="4" creationId="{656548E7-DAB2-DF61-6E7C-CFBD0EE09A37}"/>
          </ac:spMkLst>
        </pc:spChg>
        <pc:spChg chg="del">
          <ac:chgData name="森田 光貴" userId="314cf0e2-2175-4948-8a4a-96924aa0786a" providerId="ADAL" clId="{C253846A-EB65-4F7F-B487-3A87FE78829D}" dt="2025-02-10T05:26:23.792" v="44" actId="478"/>
          <ac:spMkLst>
            <pc:docMk/>
            <pc:sldMk cId="3414319613" sldId="2147483287"/>
            <ac:spMk id="10" creationId="{80E6EF29-A9F8-46B2-8DDE-5092A65E485F}"/>
          </ac:spMkLst>
        </pc:spChg>
      </pc:sldChg>
      <pc:sldChg chg="addSp delSp modSp mod">
        <pc:chgData name="森田 光貴" userId="314cf0e2-2175-4948-8a4a-96924aa0786a" providerId="ADAL" clId="{C253846A-EB65-4F7F-B487-3A87FE78829D}" dt="2025-02-10T05:26:35.591" v="47"/>
        <pc:sldMkLst>
          <pc:docMk/>
          <pc:sldMk cId="3915455286" sldId="2147483288"/>
        </pc:sldMkLst>
        <pc:spChg chg="add mod">
          <ac:chgData name="森田 光貴" userId="314cf0e2-2175-4948-8a4a-96924aa0786a" providerId="ADAL" clId="{C253846A-EB65-4F7F-B487-3A87FE78829D}" dt="2025-02-10T05:26:35.591" v="47"/>
          <ac:spMkLst>
            <pc:docMk/>
            <pc:sldMk cId="3915455286" sldId="2147483288"/>
            <ac:spMk id="4" creationId="{BF387224-4C8E-59BD-C3A0-9470C0C4A48E}"/>
          </ac:spMkLst>
        </pc:spChg>
        <pc:spChg chg="del">
          <ac:chgData name="森田 光貴" userId="314cf0e2-2175-4948-8a4a-96924aa0786a" providerId="ADAL" clId="{C253846A-EB65-4F7F-B487-3A87FE78829D}" dt="2025-02-10T05:26:34.006" v="46" actId="478"/>
          <ac:spMkLst>
            <pc:docMk/>
            <pc:sldMk cId="3915455286" sldId="2147483288"/>
            <ac:spMk id="10" creationId="{80E6EF29-A9F8-46B2-8DDE-5092A65E485F}"/>
          </ac:spMkLst>
        </pc:spChg>
      </pc:sldChg>
      <pc:sldChg chg="addSp delSp modSp mod">
        <pc:chgData name="森田 光貴" userId="314cf0e2-2175-4948-8a4a-96924aa0786a" providerId="ADAL" clId="{C253846A-EB65-4F7F-B487-3A87FE78829D}" dt="2025-02-10T05:23:33.079" v="24"/>
        <pc:sldMkLst>
          <pc:docMk/>
          <pc:sldMk cId="779576324" sldId="2147483290"/>
        </pc:sldMkLst>
        <pc:graphicFrameChg chg="add mod">
          <ac:chgData name="森田 光貴" userId="314cf0e2-2175-4948-8a4a-96924aa0786a" providerId="ADAL" clId="{C253846A-EB65-4F7F-B487-3A87FE78829D}" dt="2025-02-10T05:23:33.079" v="24"/>
          <ac:graphicFrameMkLst>
            <pc:docMk/>
            <pc:sldMk cId="779576324" sldId="2147483290"/>
            <ac:graphicFrameMk id="2" creationId="{C3C93744-0DC7-5B60-8914-C41066C93FEF}"/>
          </ac:graphicFrameMkLst>
        </pc:graphicFrameChg>
        <pc:graphicFrameChg chg="del modGraphic">
          <ac:chgData name="森田 光貴" userId="314cf0e2-2175-4948-8a4a-96924aa0786a" providerId="ADAL" clId="{C253846A-EB65-4F7F-B487-3A87FE78829D}" dt="2025-02-10T05:23:31.352" v="23" actId="478"/>
          <ac:graphicFrameMkLst>
            <pc:docMk/>
            <pc:sldMk cId="779576324" sldId="2147483290"/>
            <ac:graphicFrameMk id="13" creationId="{6B84DF48-8B2E-7483-E19E-A4C36C91AA03}"/>
          </ac:graphicFrameMkLst>
        </pc:graphicFrameChg>
      </pc:sldChg>
      <pc:sldChg chg="modSp mod">
        <pc:chgData name="森田 光貴" userId="314cf0e2-2175-4948-8a4a-96924aa0786a" providerId="ADAL" clId="{C253846A-EB65-4F7F-B487-3A87FE78829D}" dt="2025-02-10T05:34:27.767" v="69"/>
        <pc:sldMkLst>
          <pc:docMk/>
          <pc:sldMk cId="4261027216" sldId="2147483291"/>
        </pc:sldMkLst>
        <pc:graphicFrameChg chg="mod modGraphic">
          <ac:chgData name="森田 光貴" userId="314cf0e2-2175-4948-8a4a-96924aa0786a" providerId="ADAL" clId="{C253846A-EB65-4F7F-B487-3A87FE78829D}" dt="2025-02-10T05:34:27.767" v="69"/>
          <ac:graphicFrameMkLst>
            <pc:docMk/>
            <pc:sldMk cId="4261027216" sldId="2147483291"/>
            <ac:graphicFrameMk id="13" creationId="{6B84DF48-8B2E-7483-E19E-A4C36C91AA03}"/>
          </ac:graphicFrameMkLst>
        </pc:graphicFrameChg>
      </pc:sldChg>
      <pc:sldChg chg="add">
        <pc:chgData name="森田 光貴" userId="314cf0e2-2175-4948-8a4a-96924aa0786a" providerId="ADAL" clId="{C253846A-EB65-4F7F-B487-3A87FE78829D}" dt="2025-02-10T05:22:42.988" v="1"/>
        <pc:sldMkLst>
          <pc:docMk/>
          <pc:sldMk cId="2279494548" sldId="2147483314"/>
        </pc:sldMkLst>
      </pc:sldChg>
    </pc:docChg>
  </pc:docChgLst>
  <pc:docChgLst>
    <pc:chgData name="神谷 聖二" userId="S::seiji.kamiya@tk.pacific.co.jp::517b2053-71b1-4492-bbd9-c8e4b39141e4" providerId="AD" clId="Web-{10E9C132-6434-60A9-D26D-5164A43979F1}"/>
    <pc:docChg chg="modSld">
      <pc:chgData name="神谷 聖二" userId="S::seiji.kamiya@tk.pacific.co.jp::517b2053-71b1-4492-bbd9-c8e4b39141e4" providerId="AD" clId="Web-{10E9C132-6434-60A9-D26D-5164A43979F1}" dt="2024-07-12T07:18:07.857" v="0" actId="14100"/>
      <pc:docMkLst>
        <pc:docMk/>
      </pc:docMkLst>
      <pc:sldChg chg="modSp">
        <pc:chgData name="神谷 聖二" userId="S::seiji.kamiya@tk.pacific.co.jp::517b2053-71b1-4492-bbd9-c8e4b39141e4" providerId="AD" clId="Web-{10E9C132-6434-60A9-D26D-5164A43979F1}" dt="2024-07-12T07:18:07.857" v="0" actId="14100"/>
        <pc:sldMkLst>
          <pc:docMk/>
          <pc:sldMk cId="1245055399" sldId="2147378653"/>
        </pc:sldMkLst>
        <pc:spChg chg="mod">
          <ac:chgData name="神谷 聖二" userId="S::seiji.kamiya@tk.pacific.co.jp::517b2053-71b1-4492-bbd9-c8e4b39141e4" providerId="AD" clId="Web-{10E9C132-6434-60A9-D26D-5164A43979F1}" dt="2024-07-12T07:18:07.857" v="0" actId="14100"/>
          <ac:spMkLst>
            <pc:docMk/>
            <pc:sldMk cId="1245055399" sldId="2147378653"/>
            <ac:spMk id="9" creationId="{B79A90FB-8F87-BD8C-CDDB-781282C516A5}"/>
          </ac:spMkLst>
        </pc:spChg>
      </pc:sldChg>
    </pc:docChg>
  </pc:docChgLst>
  <pc:docChgLst>
    <pc:chgData name="内山 裕弥" userId="8d34b9d0-ec49-418d-b1de-019cf6b56da5" providerId="ADAL" clId="{154816C8-82C4-4E4B-ADDD-BBC9EE556CCD}"/>
    <pc:docChg chg="undo custSel addSld delSld modSld sldOrd modMainMaster modSection">
      <pc:chgData name="内山 裕弥" userId="8d34b9d0-ec49-418d-b1de-019cf6b56da5" providerId="ADAL" clId="{154816C8-82C4-4E4B-ADDD-BBC9EE556CCD}" dt="2025-02-07T06:57:36.034" v="2994" actId="20577"/>
      <pc:docMkLst>
        <pc:docMk/>
      </pc:docMkLst>
      <pc:sldChg chg="modSp mod">
        <pc:chgData name="内山 裕弥" userId="8d34b9d0-ec49-418d-b1de-019cf6b56da5" providerId="ADAL" clId="{154816C8-82C4-4E4B-ADDD-BBC9EE556CCD}" dt="2025-02-07T06:57:13.568" v="2823" actId="27636"/>
        <pc:sldMkLst>
          <pc:docMk/>
          <pc:sldMk cId="2852443830" sldId="2147378632"/>
        </pc:sldMkLst>
        <pc:spChg chg="mod">
          <ac:chgData name="内山 裕弥" userId="8d34b9d0-ec49-418d-b1de-019cf6b56da5" providerId="ADAL" clId="{154816C8-82C4-4E4B-ADDD-BBC9EE556CCD}" dt="2025-02-07T06:57:13.568" v="2823" actId="27636"/>
          <ac:spMkLst>
            <pc:docMk/>
            <pc:sldMk cId="2852443830" sldId="2147378632"/>
            <ac:spMk id="7" creationId="{7F81DA45-2EDB-3376-10B4-C61FAB506B4F}"/>
          </ac:spMkLst>
        </pc:spChg>
      </pc:sldChg>
      <pc:sldChg chg="modSp mod addCm delCm modCm">
        <pc:chgData name="内山 裕弥" userId="8d34b9d0-ec49-418d-b1de-019cf6b56da5" providerId="ADAL" clId="{154816C8-82C4-4E4B-ADDD-BBC9EE556CCD}" dt="2025-02-06T05:58:03.109" v="17"/>
        <pc:sldMkLst>
          <pc:docMk/>
          <pc:sldMk cId="1869527861" sldId="2147378640"/>
        </pc:sldMkLst>
        <pc:spChg chg="mod">
          <ac:chgData name="内山 裕弥" userId="8d34b9d0-ec49-418d-b1de-019cf6b56da5" providerId="ADAL" clId="{154816C8-82C4-4E4B-ADDD-BBC9EE556CCD}" dt="2025-02-04T09:40:25.661" v="16" actId="20577"/>
          <ac:spMkLst>
            <pc:docMk/>
            <pc:sldMk cId="1869527861" sldId="2147378640"/>
            <ac:spMk id="10" creationId="{80E6EF29-A9F8-46B2-8DDE-5092A65E485F}"/>
          </ac:spMkLst>
        </pc:spChg>
        <pc:extLst>
          <p:ext xmlns:p="http://schemas.openxmlformats.org/presentationml/2006/main" uri="{D6D511B9-2390-475A-947B-AFAB55BFBCF1}">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1869527861" sldId="2147378640"/>
                <pc2:cmMk id="{CB76E606-BD79-470F-8264-5EC4A7D34A70}"/>
              </pc2:cmMkLst>
            </pc226:cmChg>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1869527861" sldId="2147378640"/>
                <pc2:cmMk id="{FEDF5F49-B924-4C4F-AC7B-7CE1C185AACC}"/>
              </pc2:cmMkLst>
            </pc226:cmChg>
            <pc226:cmChg xmlns:pc226="http://schemas.microsoft.com/office/powerpoint/2022/06/main/command" chg="add del mod">
              <pc226:chgData name="内山 裕弥" userId="8d34b9d0-ec49-418d-b1de-019cf6b56da5" providerId="ADAL" clId="{154816C8-82C4-4E4B-ADDD-BBC9EE556CCD}" dt="2025-02-04T09:32:28.571" v="9"/>
              <pc2:cmMkLst xmlns:pc2="http://schemas.microsoft.com/office/powerpoint/2019/9/main/command">
                <pc:docMk/>
                <pc:sldMk cId="1869527861" sldId="2147378640"/>
                <pc2:cmMk id="{1811A44F-0E6E-48E6-9028-ECA4776FDBD1}"/>
              </pc2:cmMkLst>
            </pc226:cmChg>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1869527861" sldId="2147378640"/>
                <pc2:cmMk id="{FDC01290-64EA-4550-803A-97F0B2CBA9DE}"/>
              </pc2:cmMkLst>
            </pc226:cmChg>
          </p:ext>
        </pc:extLst>
      </pc:sldChg>
      <pc:sldChg chg="addCm">
        <pc:chgData name="内山 裕弥" userId="8d34b9d0-ec49-418d-b1de-019cf6b56da5" providerId="ADAL" clId="{154816C8-82C4-4E4B-ADDD-BBC9EE556CCD}" dt="2025-02-06T05:58:11.793" v="18"/>
        <pc:sldMkLst>
          <pc:docMk/>
          <pc:sldMk cId="1132711422" sldId="2147378657"/>
        </pc:sldMkLst>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11.793" v="18"/>
              <pc2:cmMkLst xmlns:pc2="http://schemas.microsoft.com/office/powerpoint/2019/9/main/command">
                <pc:docMk/>
                <pc:sldMk cId="1132711422" sldId="2147378657"/>
                <pc2:cmMk id="{9BB3D041-EF68-4152-AFA9-6B3E279373B8}"/>
              </pc2:cmMkLst>
            </pc226:cmChg>
          </p:ext>
        </pc:extLst>
      </pc:sldChg>
      <pc:sldChg chg="addSp delSp modSp mod addCm">
        <pc:chgData name="内山 裕弥" userId="8d34b9d0-ec49-418d-b1de-019cf6b56da5" providerId="ADAL" clId="{154816C8-82C4-4E4B-ADDD-BBC9EE556CCD}" dt="2025-02-07T06:57:13.452" v="2811" actId="27636"/>
        <pc:sldMkLst>
          <pc:docMk/>
          <pc:sldMk cId="2948473411" sldId="2147378680"/>
        </pc:sldMkLst>
        <pc:spChg chg="del">
          <ac:chgData name="内山 裕弥" userId="8d34b9d0-ec49-418d-b1de-019cf6b56da5" providerId="ADAL" clId="{154816C8-82C4-4E4B-ADDD-BBC9EE556CCD}" dt="2025-02-06T06:01:02.513" v="38" actId="21"/>
          <ac:spMkLst>
            <pc:docMk/>
            <pc:sldMk cId="2948473411" sldId="2147378680"/>
            <ac:spMk id="10" creationId="{28CF45C0-4247-EF18-C203-ADFA691CEF61}"/>
          </ac:spMkLst>
        </pc:spChg>
        <pc:spChg chg="add mod">
          <ac:chgData name="内山 裕弥" userId="8d34b9d0-ec49-418d-b1de-019cf6b56da5" providerId="ADAL" clId="{154816C8-82C4-4E4B-ADDD-BBC9EE556CCD}" dt="2025-02-07T06:57:13.452" v="2811" actId="27636"/>
          <ac:spMkLst>
            <pc:docMk/>
            <pc:sldMk cId="2948473411" sldId="2147378680"/>
            <ac:spMk id="16" creationId="{3FFBA183-DD50-1FD4-2F5B-EB3CBBBEFB83}"/>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43.819" v="21"/>
              <pc2:cmMkLst xmlns:pc2="http://schemas.microsoft.com/office/powerpoint/2019/9/main/command">
                <pc:docMk/>
                <pc:sldMk cId="2948473411" sldId="2147378680"/>
                <pc2:cmMk id="{B50DDB64-542F-43B5-84BC-4C71F5DCB063}"/>
              </pc2:cmMkLst>
            </pc226:cmChg>
          </p:ext>
        </pc:extLst>
      </pc:sldChg>
      <pc:sldChg chg="addSp delSp modSp mod ord addCm delCm modCm">
        <pc:chgData name="内山 裕弥" userId="8d34b9d0-ec49-418d-b1de-019cf6b56da5" providerId="ADAL" clId="{154816C8-82C4-4E4B-ADDD-BBC9EE556CCD}" dt="2025-02-07T06:57:13.465" v="2813" actId="27636"/>
        <pc:sldMkLst>
          <pc:docMk/>
          <pc:sldMk cId="2708077593" sldId="2147378681"/>
        </pc:sldMkLst>
        <pc:spChg chg="mod">
          <ac:chgData name="内山 裕弥" userId="8d34b9d0-ec49-418d-b1de-019cf6b56da5" providerId="ADAL" clId="{154816C8-82C4-4E4B-ADDD-BBC9EE556CCD}" dt="2025-02-06T05:59:45.263" v="29"/>
          <ac:spMkLst>
            <pc:docMk/>
            <pc:sldMk cId="2708077593" sldId="2147378681"/>
            <ac:spMk id="2" creationId="{BDE63369-EA7E-4802-A4A3-D4010A333C66}"/>
          </ac:spMkLst>
        </pc:spChg>
        <pc:spChg chg="mod">
          <ac:chgData name="内山 裕弥" userId="8d34b9d0-ec49-418d-b1de-019cf6b56da5" providerId="ADAL" clId="{154816C8-82C4-4E4B-ADDD-BBC9EE556CCD}" dt="2025-02-06T06:01:14.530" v="43" actId="1076"/>
          <ac:spMkLst>
            <pc:docMk/>
            <pc:sldMk cId="2708077593" sldId="2147378681"/>
            <ac:spMk id="8" creationId="{95ACE118-4131-DE79-F02F-66722864A02D}"/>
          </ac:spMkLst>
        </pc:spChg>
        <pc:spChg chg="mod">
          <ac:chgData name="内山 裕弥" userId="8d34b9d0-ec49-418d-b1de-019cf6b56da5" providerId="ADAL" clId="{154816C8-82C4-4E4B-ADDD-BBC9EE556CCD}" dt="2025-02-06T05:59:49.256" v="30" actId="20577"/>
          <ac:spMkLst>
            <pc:docMk/>
            <pc:sldMk cId="2708077593" sldId="2147378681"/>
            <ac:spMk id="9" creationId="{D22A0A06-D5A8-4A1A-B66F-2A8EDBD644F1}"/>
          </ac:spMkLst>
        </pc:spChg>
        <pc:spChg chg="del">
          <ac:chgData name="内山 裕弥" userId="8d34b9d0-ec49-418d-b1de-019cf6b56da5" providerId="ADAL" clId="{154816C8-82C4-4E4B-ADDD-BBC9EE556CCD}" dt="2025-02-06T06:01:06.825" v="40" actId="21"/>
          <ac:spMkLst>
            <pc:docMk/>
            <pc:sldMk cId="2708077593" sldId="2147378681"/>
            <ac:spMk id="11" creationId="{5B8ABDA1-3D2A-BE6F-2D47-4B44E4CE9142}"/>
          </ac:spMkLst>
        </pc:spChg>
        <pc:spChg chg="mod">
          <ac:chgData name="内山 裕弥" userId="8d34b9d0-ec49-418d-b1de-019cf6b56da5" providerId="ADAL" clId="{154816C8-82C4-4E4B-ADDD-BBC9EE556CCD}" dt="2025-02-06T06:01:14.530" v="43" actId="1076"/>
          <ac:spMkLst>
            <pc:docMk/>
            <pc:sldMk cId="2708077593" sldId="2147378681"/>
            <ac:spMk id="12" creationId="{0885EF34-1A86-AA39-1A1A-5F99ABF6B7EF}"/>
          </ac:spMkLst>
        </pc:spChg>
        <pc:spChg chg="mod">
          <ac:chgData name="内山 裕弥" userId="8d34b9d0-ec49-418d-b1de-019cf6b56da5" providerId="ADAL" clId="{154816C8-82C4-4E4B-ADDD-BBC9EE556CCD}" dt="2025-02-06T06:01:14.530" v="43" actId="1076"/>
          <ac:spMkLst>
            <pc:docMk/>
            <pc:sldMk cId="2708077593" sldId="2147378681"/>
            <ac:spMk id="14" creationId="{A0DB4FFB-AA27-D443-6D2D-4943569F8746}"/>
          </ac:spMkLst>
        </pc:spChg>
        <pc:spChg chg="mod">
          <ac:chgData name="内山 裕弥" userId="8d34b9d0-ec49-418d-b1de-019cf6b56da5" providerId="ADAL" clId="{154816C8-82C4-4E4B-ADDD-BBC9EE556CCD}" dt="2025-02-06T06:01:14.530" v="43" actId="1076"/>
          <ac:spMkLst>
            <pc:docMk/>
            <pc:sldMk cId="2708077593" sldId="2147378681"/>
            <ac:spMk id="15" creationId="{0C0D5913-6E2D-E5DB-60D1-B3AF669AED14}"/>
          </ac:spMkLst>
        </pc:spChg>
        <pc:spChg chg="del">
          <ac:chgData name="内山 裕弥" userId="8d34b9d0-ec49-418d-b1de-019cf6b56da5" providerId="ADAL" clId="{154816C8-82C4-4E4B-ADDD-BBC9EE556CCD}" dt="2025-02-06T06:00:56.109" v="37" actId="21"/>
          <ac:spMkLst>
            <pc:docMk/>
            <pc:sldMk cId="2708077593" sldId="2147378681"/>
            <ac:spMk id="16" creationId="{069C4285-627D-16A3-8657-A4D2BEF4BA93}"/>
          </ac:spMkLst>
        </pc:spChg>
        <pc:spChg chg="add mod">
          <ac:chgData name="内山 裕弥" userId="8d34b9d0-ec49-418d-b1de-019cf6b56da5" providerId="ADAL" clId="{154816C8-82C4-4E4B-ADDD-BBC9EE556CCD}" dt="2025-02-07T06:57:13.465" v="2813" actId="27636"/>
          <ac:spMkLst>
            <pc:docMk/>
            <pc:sldMk cId="2708077593" sldId="2147378681"/>
            <ac:spMk id="17" creationId="{ED5B4037-6A33-091F-CAB0-26A3BC43E5EE}"/>
          </ac:spMkLst>
        </pc:spChg>
        <pc:grpChg chg="mod">
          <ac:chgData name="内山 裕弥" userId="8d34b9d0-ec49-418d-b1de-019cf6b56da5" providerId="ADAL" clId="{154816C8-82C4-4E4B-ADDD-BBC9EE556CCD}" dt="2025-02-06T06:01:14.530" v="43" actId="1076"/>
          <ac:grpSpMkLst>
            <pc:docMk/>
            <pc:sldMk cId="2708077593" sldId="2147378681"/>
            <ac:grpSpMk id="3" creationId="{EBC23DA4-F36B-555D-CA5C-39F94E08823F}"/>
          </ac:grpSpMkLst>
        </pc:grpChg>
        <pc:grpChg chg="mod">
          <ac:chgData name="内山 裕弥" userId="8d34b9d0-ec49-418d-b1de-019cf6b56da5" providerId="ADAL" clId="{154816C8-82C4-4E4B-ADDD-BBC9EE556CCD}" dt="2025-02-06T06:01:14.530" v="43" actId="1076"/>
          <ac:grpSpMkLst>
            <pc:docMk/>
            <pc:sldMk cId="2708077593" sldId="2147378681"/>
            <ac:grpSpMk id="4" creationId="{182836E8-0A6C-6508-BE54-D9FA5966D104}"/>
          </ac:grpSpMkLst>
        </pc:grpChg>
        <pc:grpChg chg="mod">
          <ac:chgData name="内山 裕弥" userId="8d34b9d0-ec49-418d-b1de-019cf6b56da5" providerId="ADAL" clId="{154816C8-82C4-4E4B-ADDD-BBC9EE556CCD}" dt="2025-02-06T06:01:14.530" v="43" actId="1076"/>
          <ac:grpSpMkLst>
            <pc:docMk/>
            <pc:sldMk cId="2708077593" sldId="2147378681"/>
            <ac:grpSpMk id="7" creationId="{2FB98B28-3911-4D54-DF63-480395E4E9E6}"/>
          </ac:grpSpMkLst>
        </pc:grpChg>
        <pc:cxnChg chg="mod">
          <ac:chgData name="内山 裕弥" userId="8d34b9d0-ec49-418d-b1de-019cf6b56da5" providerId="ADAL" clId="{154816C8-82C4-4E4B-ADDD-BBC9EE556CCD}" dt="2025-02-06T06:01:14.530" v="43" actId="1076"/>
          <ac:cxnSpMkLst>
            <pc:docMk/>
            <pc:sldMk cId="2708077593" sldId="2147378681"/>
            <ac:cxnSpMk id="10" creationId="{EEF86A98-39B5-3E9C-8313-F6410191C7AD}"/>
          </ac:cxnSpMkLst>
        </pc:cxnChg>
        <pc:cxnChg chg="mod">
          <ac:chgData name="内山 裕弥" userId="8d34b9d0-ec49-418d-b1de-019cf6b56da5" providerId="ADAL" clId="{154816C8-82C4-4E4B-ADDD-BBC9EE556CCD}" dt="2025-02-06T06:01:14.530" v="43" actId="1076"/>
          <ac:cxnSpMkLst>
            <pc:docMk/>
            <pc:sldMk cId="2708077593" sldId="2147378681"/>
            <ac:cxnSpMk id="13" creationId="{819B2E49-17B8-3727-8812-69FD5702E69C}"/>
          </ac:cxnSpMkLst>
        </pc:cxn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6:00:04.273" v="33"/>
              <pc2:cmMkLst xmlns:pc2="http://schemas.microsoft.com/office/powerpoint/2019/9/main/command">
                <pc:docMk/>
                <pc:sldMk cId="2708077593" sldId="2147378681"/>
                <pc2:cmMk id="{C2665106-7865-451A-A501-491E7113F2D0}"/>
              </pc2:cmMkLst>
            </pc226:cmChg>
            <pc226:cmChg xmlns:pc226="http://schemas.microsoft.com/office/powerpoint/2022/06/main/command" chg="add mod">
              <pc226:chgData name="内山 裕弥" userId="8d34b9d0-ec49-418d-b1de-019cf6b56da5" providerId="ADAL" clId="{154816C8-82C4-4E4B-ADDD-BBC9EE556CCD}" dt="2025-02-06T06:04:32.677" v="46"/>
              <pc2:cmMkLst xmlns:pc2="http://schemas.microsoft.com/office/powerpoint/2019/9/main/command">
                <pc:docMk/>
                <pc:sldMk cId="2708077593" sldId="2147378681"/>
                <pc2:cmMk id="{40A72152-731D-47FF-92E4-5B8D098E98AB}"/>
              </pc2:cmMkLst>
              <pc226:cmRplyChg chg="add mod">
                <pc226:chgData name="内山 裕弥" userId="8d34b9d0-ec49-418d-b1de-019cf6b56da5" providerId="ADAL" clId="{154816C8-82C4-4E4B-ADDD-BBC9EE556CCD}" dt="2025-02-06T06:04:32.677" v="46"/>
                <pc2:cmRplyMkLst xmlns:pc2="http://schemas.microsoft.com/office/powerpoint/2019/9/main/command">
                  <pc:docMk/>
                  <pc:sldMk cId="2708077593" sldId="2147378681"/>
                  <pc2:cmMk id="{40A72152-731D-47FF-92E4-5B8D098E98AB}"/>
                  <pc2:cmRplyMk id="{FF26346C-9510-488A-84A7-3CFA4BDE144F}"/>
                </pc2:cmRplyMkLst>
              </pc226:cmRplyChg>
            </pc226:cmChg>
            <pc226:cmChg xmlns:pc226="http://schemas.microsoft.com/office/powerpoint/2022/06/main/command" chg="add del mod">
              <pc226:chgData name="内山 裕弥" userId="8d34b9d0-ec49-418d-b1de-019cf6b56da5" providerId="ADAL" clId="{154816C8-82C4-4E4B-ADDD-BBC9EE556CCD}" dt="2025-02-06T05:58:03.109" v="17"/>
              <pc2:cmMkLst xmlns:pc2="http://schemas.microsoft.com/office/powerpoint/2019/9/main/command">
                <pc:docMk/>
                <pc:sldMk cId="2708077593" sldId="2147378681"/>
                <pc2:cmMk id="{CC7BDCC6-D8FD-4BB8-9CA8-098D9CF64ED8}"/>
              </pc2:cmMkLst>
            </pc226:cmChg>
          </p:ext>
        </pc:extLst>
      </pc:sldChg>
      <pc:sldChg chg="addSp delSp modSp mod addCm">
        <pc:chgData name="内山 裕弥" userId="8d34b9d0-ec49-418d-b1de-019cf6b56da5" providerId="ADAL" clId="{154816C8-82C4-4E4B-ADDD-BBC9EE556CCD}" dt="2025-02-07T06:57:13.465" v="2812" actId="27636"/>
        <pc:sldMkLst>
          <pc:docMk/>
          <pc:sldMk cId="2629355078" sldId="2147378682"/>
        </pc:sldMkLst>
        <pc:spChg chg="del">
          <ac:chgData name="内山 裕弥" userId="8d34b9d0-ec49-418d-b1de-019cf6b56da5" providerId="ADAL" clId="{154816C8-82C4-4E4B-ADDD-BBC9EE556CCD}" dt="2025-02-06T06:01:05.003" v="39" actId="21"/>
          <ac:spMkLst>
            <pc:docMk/>
            <pc:sldMk cId="2629355078" sldId="2147378682"/>
            <ac:spMk id="6" creationId="{B97F009E-BC8C-AB2A-B2E1-25D733E4B178}"/>
          </ac:spMkLst>
        </pc:spChg>
        <pc:spChg chg="add mod">
          <ac:chgData name="内山 裕弥" userId="8d34b9d0-ec49-418d-b1de-019cf6b56da5" providerId="ADAL" clId="{154816C8-82C4-4E4B-ADDD-BBC9EE556CCD}" dt="2025-02-07T06:57:13.465" v="2812" actId="27636"/>
          <ac:spMkLst>
            <pc:docMk/>
            <pc:sldMk cId="2629355078" sldId="2147378682"/>
            <ac:spMk id="16" creationId="{E4DD4B8D-47E0-8296-7CF0-B8554AD1C112}"/>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53.032" v="22"/>
              <pc2:cmMkLst xmlns:pc2="http://schemas.microsoft.com/office/powerpoint/2019/9/main/command">
                <pc:docMk/>
                <pc:sldMk cId="2629355078" sldId="2147378682"/>
                <pc2:cmMk id="{F218F1F8-0A58-492D-B276-F3BA5AAA42F3}"/>
              </pc2:cmMkLst>
            </pc226:cmChg>
          </p:ext>
        </pc:extLst>
      </pc:sldChg>
      <pc:sldChg chg="modSp mod addCm">
        <pc:chgData name="内山 裕弥" userId="8d34b9d0-ec49-418d-b1de-019cf6b56da5" providerId="ADAL" clId="{154816C8-82C4-4E4B-ADDD-BBC9EE556CCD}" dt="2025-02-07T06:57:13.499" v="2814" actId="27636"/>
        <pc:sldMkLst>
          <pc:docMk/>
          <pc:sldMk cId="228645798" sldId="2147378683"/>
        </pc:sldMkLst>
        <pc:spChg chg="mod">
          <ac:chgData name="内山 裕弥" userId="8d34b9d0-ec49-418d-b1de-019cf6b56da5" providerId="ADAL" clId="{154816C8-82C4-4E4B-ADDD-BBC9EE556CCD}" dt="2025-02-06T05:59:51.165" v="31" actId="20577"/>
          <ac:spMkLst>
            <pc:docMk/>
            <pc:sldMk cId="228645798" sldId="2147378683"/>
            <ac:spMk id="4" creationId="{29DB748F-EFF5-4509-B381-6B8D73B31303}"/>
          </ac:spMkLst>
        </pc:spChg>
        <pc:spChg chg="mod">
          <ac:chgData name="内山 裕弥" userId="8d34b9d0-ec49-418d-b1de-019cf6b56da5" providerId="ADAL" clId="{154816C8-82C4-4E4B-ADDD-BBC9EE556CCD}" dt="2025-02-07T06:57:13.499" v="2814" actId="27636"/>
          <ac:spMkLst>
            <pc:docMk/>
            <pc:sldMk cId="228645798" sldId="2147378683"/>
            <ac:spMk id="8" creationId="{9D610DBF-17F7-608B-8680-1CFA54E54E02}"/>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8:58.504" v="23"/>
              <pc2:cmMkLst xmlns:pc2="http://schemas.microsoft.com/office/powerpoint/2019/9/main/command">
                <pc:docMk/>
                <pc:sldMk cId="228645798" sldId="2147378683"/>
                <pc2:cmMk id="{CC32BF52-AF5B-404A-9D8B-3922AFEDB808}"/>
              </pc2:cmMkLst>
            </pc226:cmChg>
          </p:ext>
        </pc:extLst>
      </pc:sldChg>
      <pc:sldChg chg="modSp mod">
        <pc:chgData name="内山 裕弥" userId="8d34b9d0-ec49-418d-b1de-019cf6b56da5" providerId="ADAL" clId="{154816C8-82C4-4E4B-ADDD-BBC9EE556CCD}" dt="2025-02-07T06:57:13.573" v="2824" actId="27636"/>
        <pc:sldMkLst>
          <pc:docMk/>
          <pc:sldMk cId="239223960" sldId="2147378686"/>
        </pc:sldMkLst>
        <pc:spChg chg="mod">
          <ac:chgData name="内山 裕弥" userId="8d34b9d0-ec49-418d-b1de-019cf6b56da5" providerId="ADAL" clId="{154816C8-82C4-4E4B-ADDD-BBC9EE556CCD}" dt="2025-02-07T06:57:13.573" v="2824" actId="27636"/>
          <ac:spMkLst>
            <pc:docMk/>
            <pc:sldMk cId="239223960" sldId="2147378686"/>
            <ac:spMk id="8" creationId="{E5452BB1-3ED0-4261-B76D-A910259B86CD}"/>
          </ac:spMkLst>
        </pc:spChg>
      </pc:sldChg>
      <pc:sldChg chg="modSp mod">
        <pc:chgData name="内山 裕弥" userId="8d34b9d0-ec49-418d-b1de-019cf6b56da5" providerId="ADAL" clId="{154816C8-82C4-4E4B-ADDD-BBC9EE556CCD}" dt="2025-02-07T06:57:13.584" v="2825" actId="27636"/>
        <pc:sldMkLst>
          <pc:docMk/>
          <pc:sldMk cId="2452595465" sldId="2147378688"/>
        </pc:sldMkLst>
        <pc:spChg chg="mod">
          <ac:chgData name="内山 裕弥" userId="8d34b9d0-ec49-418d-b1de-019cf6b56da5" providerId="ADAL" clId="{154816C8-82C4-4E4B-ADDD-BBC9EE556CCD}" dt="2025-02-07T06:57:13.584" v="2825" actId="27636"/>
          <ac:spMkLst>
            <pc:docMk/>
            <pc:sldMk cId="2452595465" sldId="2147378688"/>
            <ac:spMk id="20" creationId="{C0739B5E-974C-B8C0-C502-00B3AE8E25D2}"/>
          </ac:spMkLst>
        </pc:spChg>
      </pc:sldChg>
      <pc:sldChg chg="modSp mod addCm">
        <pc:chgData name="内山 裕弥" userId="8d34b9d0-ec49-418d-b1de-019cf6b56da5" providerId="ADAL" clId="{154816C8-82C4-4E4B-ADDD-BBC9EE556CCD}" dt="2025-02-07T06:57:13.606" v="2830" actId="27636"/>
        <pc:sldMkLst>
          <pc:docMk/>
          <pc:sldMk cId="64176771" sldId="2147378692"/>
        </pc:sldMkLst>
        <pc:spChg chg="mod">
          <ac:chgData name="内山 裕弥" userId="8d34b9d0-ec49-418d-b1de-019cf6b56da5" providerId="ADAL" clId="{154816C8-82C4-4E4B-ADDD-BBC9EE556CCD}" dt="2025-02-07T06:57:13.606" v="2830" actId="27636"/>
          <ac:spMkLst>
            <pc:docMk/>
            <pc:sldMk cId="64176771" sldId="2147378692"/>
            <ac:spMk id="9" creationId="{43C330CB-8A4D-F4A2-AFFC-48CA4FB9C719}"/>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6:29.715" v="453"/>
              <pc2:cmMkLst xmlns:pc2="http://schemas.microsoft.com/office/powerpoint/2019/9/main/command">
                <pc:docMk/>
                <pc:sldMk cId="64176771" sldId="2147378692"/>
                <pc2:cmMk id="{D6796762-19EB-467C-B000-55FD87F97E8D}"/>
              </pc2:cmMkLst>
            </pc226:cmChg>
          </p:ext>
        </pc:extLst>
      </pc:sldChg>
      <pc:sldChg chg="addSp delSp modSp mod ord modShow addCm">
        <pc:chgData name="内山 裕弥" userId="8d34b9d0-ec49-418d-b1de-019cf6b56da5" providerId="ADAL" clId="{154816C8-82C4-4E4B-ADDD-BBC9EE556CCD}" dt="2025-02-07T06:57:36.034" v="2994" actId="20577"/>
        <pc:sldMkLst>
          <pc:docMk/>
          <pc:sldMk cId="2807815468" sldId="2147378693"/>
        </pc:sldMkLst>
        <pc:spChg chg="mod">
          <ac:chgData name="内山 裕弥" userId="8d34b9d0-ec49-418d-b1de-019cf6b56da5" providerId="ADAL" clId="{154816C8-82C4-4E4B-ADDD-BBC9EE556CCD}" dt="2025-02-07T06:48:11.789" v="1632"/>
          <ac:spMkLst>
            <pc:docMk/>
            <pc:sldMk cId="2807815468" sldId="2147378693"/>
            <ac:spMk id="2" creationId="{A45FDDD5-9A42-423D-9ED3-F19DD3567786}"/>
          </ac:spMkLst>
        </pc:spChg>
        <pc:spChg chg="mod">
          <ac:chgData name="内山 裕弥" userId="8d34b9d0-ec49-418d-b1de-019cf6b56da5" providerId="ADAL" clId="{154816C8-82C4-4E4B-ADDD-BBC9EE556CCD}" dt="2025-02-07T06:52:53.589" v="1860" actId="20577"/>
          <ac:spMkLst>
            <pc:docMk/>
            <pc:sldMk cId="2807815468" sldId="2147378693"/>
            <ac:spMk id="4" creationId="{6F71EB31-C9B7-4098-9EFB-8216961CCBDC}"/>
          </ac:spMkLst>
        </pc:spChg>
        <pc:spChg chg="add del mod">
          <ac:chgData name="内山 裕弥" userId="8d34b9d0-ec49-418d-b1de-019cf6b56da5" providerId="ADAL" clId="{154816C8-82C4-4E4B-ADDD-BBC9EE556CCD}" dt="2025-02-07T06:51:48.198" v="1765" actId="21"/>
          <ac:spMkLst>
            <pc:docMk/>
            <pc:sldMk cId="2807815468" sldId="2147378693"/>
            <ac:spMk id="6" creationId="{CEECED2F-0EF5-8DDA-E5C0-05C7D2560DF7}"/>
          </ac:spMkLst>
        </pc:spChg>
        <pc:spChg chg="del">
          <ac:chgData name="内山 裕弥" userId="8d34b9d0-ec49-418d-b1de-019cf6b56da5" providerId="ADAL" clId="{154816C8-82C4-4E4B-ADDD-BBC9EE556CCD}" dt="2025-02-07T06:48:19.207" v="1638" actId="21"/>
          <ac:spMkLst>
            <pc:docMk/>
            <pc:sldMk cId="2807815468" sldId="2147378693"/>
            <ac:spMk id="7" creationId="{AB44C853-6597-563E-FBB5-333EA802200B}"/>
          </ac:spMkLst>
        </pc:spChg>
        <pc:spChg chg="mod">
          <ac:chgData name="内山 裕弥" userId="8d34b9d0-ec49-418d-b1de-019cf6b56da5" providerId="ADAL" clId="{154816C8-82C4-4E4B-ADDD-BBC9EE556CCD}" dt="2025-02-07T06:49:19.677" v="1653" actId="404"/>
          <ac:spMkLst>
            <pc:docMk/>
            <pc:sldMk cId="2807815468" sldId="2147378693"/>
            <ac:spMk id="8" creationId="{9B252D3D-6288-96C4-6851-3CB5CABE93B0}"/>
          </ac:spMkLst>
        </pc:spChg>
        <pc:spChg chg="mod">
          <ac:chgData name="内山 裕弥" userId="8d34b9d0-ec49-418d-b1de-019cf6b56da5" providerId="ADAL" clId="{154816C8-82C4-4E4B-ADDD-BBC9EE556CCD}" dt="2025-02-07T06:48:14.987" v="1637" actId="20577"/>
          <ac:spMkLst>
            <pc:docMk/>
            <pc:sldMk cId="2807815468" sldId="2147378693"/>
            <ac:spMk id="9" creationId="{D22A0A06-D5A8-4A1A-B66F-2A8EDBD644F1}"/>
          </ac:spMkLst>
        </pc:spChg>
        <pc:spChg chg="mod">
          <ac:chgData name="内山 裕弥" userId="8d34b9d0-ec49-418d-b1de-019cf6b56da5" providerId="ADAL" clId="{154816C8-82C4-4E4B-ADDD-BBC9EE556CCD}" dt="2025-02-07T06:53:09.403" v="1948" actId="20577"/>
          <ac:spMkLst>
            <pc:docMk/>
            <pc:sldMk cId="2807815468" sldId="2147378693"/>
            <ac:spMk id="11" creationId="{27E0FB5C-67EE-F750-E74B-80FE4B6806FF}"/>
          </ac:spMkLst>
        </pc:spChg>
        <pc:spChg chg="mod">
          <ac:chgData name="内山 裕弥" userId="8d34b9d0-ec49-418d-b1de-019cf6b56da5" providerId="ADAL" clId="{154816C8-82C4-4E4B-ADDD-BBC9EE556CCD}" dt="2025-02-07T06:49:50.641" v="1659" actId="404"/>
          <ac:spMkLst>
            <pc:docMk/>
            <pc:sldMk cId="2807815468" sldId="2147378693"/>
            <ac:spMk id="13" creationId="{3132866A-947F-A81C-0025-F0AF7AFAF788}"/>
          </ac:spMkLst>
        </pc:spChg>
        <pc:spChg chg="mod">
          <ac:chgData name="内山 裕弥" userId="8d34b9d0-ec49-418d-b1de-019cf6b56da5" providerId="ADAL" clId="{154816C8-82C4-4E4B-ADDD-BBC9EE556CCD}" dt="2025-02-07T06:54:42.589" v="2212" actId="20577"/>
          <ac:spMkLst>
            <pc:docMk/>
            <pc:sldMk cId="2807815468" sldId="2147378693"/>
            <ac:spMk id="14" creationId="{5BC8482B-CF2B-219A-8F08-419E3A5FC47F}"/>
          </ac:spMkLst>
        </pc:spChg>
        <pc:spChg chg="mod">
          <ac:chgData name="内山 裕弥" userId="8d34b9d0-ec49-418d-b1de-019cf6b56da5" providerId="ADAL" clId="{154816C8-82C4-4E4B-ADDD-BBC9EE556CCD}" dt="2025-02-07T06:54:50.673" v="2247" actId="20577"/>
          <ac:spMkLst>
            <pc:docMk/>
            <pc:sldMk cId="2807815468" sldId="2147378693"/>
            <ac:spMk id="15" creationId="{FB604A90-B7E0-C24B-4479-27FB7F6C9AF9}"/>
          </ac:spMkLst>
        </pc:spChg>
        <pc:spChg chg="mod">
          <ac:chgData name="内山 裕弥" userId="8d34b9d0-ec49-418d-b1de-019cf6b56da5" providerId="ADAL" clId="{154816C8-82C4-4E4B-ADDD-BBC9EE556CCD}" dt="2025-02-07T06:53:21.135" v="1982" actId="20577"/>
          <ac:spMkLst>
            <pc:docMk/>
            <pc:sldMk cId="2807815468" sldId="2147378693"/>
            <ac:spMk id="17" creationId="{C9C43BC8-810D-E426-4335-300BCA945BC0}"/>
          </ac:spMkLst>
        </pc:spChg>
        <pc:spChg chg="mod">
          <ac:chgData name="内山 裕弥" userId="8d34b9d0-ec49-418d-b1de-019cf6b56da5" providerId="ADAL" clId="{154816C8-82C4-4E4B-ADDD-BBC9EE556CCD}" dt="2025-02-07T06:53:36.181" v="2034" actId="6549"/>
          <ac:spMkLst>
            <pc:docMk/>
            <pc:sldMk cId="2807815468" sldId="2147378693"/>
            <ac:spMk id="18" creationId="{0947CAEC-1669-C017-095F-FAE30144149E}"/>
          </ac:spMkLst>
        </pc:spChg>
        <pc:spChg chg="mod">
          <ac:chgData name="内山 裕弥" userId="8d34b9d0-ec49-418d-b1de-019cf6b56da5" providerId="ADAL" clId="{154816C8-82C4-4E4B-ADDD-BBC9EE556CCD}" dt="2025-02-07T06:49:19.677" v="1653" actId="404"/>
          <ac:spMkLst>
            <pc:docMk/>
            <pc:sldMk cId="2807815468" sldId="2147378693"/>
            <ac:spMk id="20" creationId="{B5AB1C34-EB45-F138-564F-B61D792CEA4E}"/>
          </ac:spMkLst>
        </pc:spChg>
        <pc:spChg chg="mod">
          <ac:chgData name="内山 裕弥" userId="8d34b9d0-ec49-418d-b1de-019cf6b56da5" providerId="ADAL" clId="{154816C8-82C4-4E4B-ADDD-BBC9EE556CCD}" dt="2025-02-07T06:49:50.641" v="1659" actId="404"/>
          <ac:spMkLst>
            <pc:docMk/>
            <pc:sldMk cId="2807815468" sldId="2147378693"/>
            <ac:spMk id="22" creationId="{9E9C4C6D-62EF-6870-EF03-ACBF62431744}"/>
          </ac:spMkLst>
        </pc:spChg>
        <pc:spChg chg="mod">
          <ac:chgData name="内山 裕弥" userId="8d34b9d0-ec49-418d-b1de-019cf6b56da5" providerId="ADAL" clId="{154816C8-82C4-4E4B-ADDD-BBC9EE556CCD}" dt="2025-02-07T06:49:37.603" v="1657" actId="571"/>
          <ac:spMkLst>
            <pc:docMk/>
            <pc:sldMk cId="2807815468" sldId="2147378693"/>
            <ac:spMk id="27" creationId="{306BF866-B9A2-871E-0E18-3AF171DA6F1E}"/>
          </ac:spMkLst>
        </pc:spChg>
        <pc:spChg chg="mod">
          <ac:chgData name="内山 裕弥" userId="8d34b9d0-ec49-418d-b1de-019cf6b56da5" providerId="ADAL" clId="{154816C8-82C4-4E4B-ADDD-BBC9EE556CCD}" dt="2025-02-07T06:49:37.603" v="1657" actId="571"/>
          <ac:spMkLst>
            <pc:docMk/>
            <pc:sldMk cId="2807815468" sldId="2147378693"/>
            <ac:spMk id="28" creationId="{B6F1DDD0-6CD5-AA3A-2EEF-0967292C995F}"/>
          </ac:spMkLst>
        </pc:spChg>
        <pc:spChg chg="mod">
          <ac:chgData name="内山 裕弥" userId="8d34b9d0-ec49-418d-b1de-019cf6b56da5" providerId="ADAL" clId="{154816C8-82C4-4E4B-ADDD-BBC9EE556CCD}" dt="2025-02-07T06:49:37.603" v="1657" actId="571"/>
          <ac:spMkLst>
            <pc:docMk/>
            <pc:sldMk cId="2807815468" sldId="2147378693"/>
            <ac:spMk id="29" creationId="{04782870-D871-A633-3A3D-A26B6315B92B}"/>
          </ac:spMkLst>
        </pc:spChg>
        <pc:spChg chg="mod">
          <ac:chgData name="内山 裕弥" userId="8d34b9d0-ec49-418d-b1de-019cf6b56da5" providerId="ADAL" clId="{154816C8-82C4-4E4B-ADDD-BBC9EE556CCD}" dt="2025-02-07T06:49:37.603" v="1657" actId="571"/>
          <ac:spMkLst>
            <pc:docMk/>
            <pc:sldMk cId="2807815468" sldId="2147378693"/>
            <ac:spMk id="30" creationId="{4D1AEA63-9B32-CC11-3AA6-2DD427F4DB70}"/>
          </ac:spMkLst>
        </pc:spChg>
        <pc:spChg chg="mod">
          <ac:chgData name="内山 裕弥" userId="8d34b9d0-ec49-418d-b1de-019cf6b56da5" providerId="ADAL" clId="{154816C8-82C4-4E4B-ADDD-BBC9EE556CCD}" dt="2025-02-07T06:49:37.603" v="1657" actId="571"/>
          <ac:spMkLst>
            <pc:docMk/>
            <pc:sldMk cId="2807815468" sldId="2147378693"/>
            <ac:spMk id="31" creationId="{89E43F0B-497E-3D0C-1A2E-DC1F6A143DFD}"/>
          </ac:spMkLst>
        </pc:spChg>
        <pc:spChg chg="mod">
          <ac:chgData name="内山 裕弥" userId="8d34b9d0-ec49-418d-b1de-019cf6b56da5" providerId="ADAL" clId="{154816C8-82C4-4E4B-ADDD-BBC9EE556CCD}" dt="2025-02-07T06:49:50.641" v="1659" actId="404"/>
          <ac:spMkLst>
            <pc:docMk/>
            <pc:sldMk cId="2807815468" sldId="2147378693"/>
            <ac:spMk id="33" creationId="{9257D3DD-9C8E-AAC4-05E2-C3ECF0290362}"/>
          </ac:spMkLst>
        </pc:spChg>
        <pc:spChg chg="mod">
          <ac:chgData name="内山 裕弥" userId="8d34b9d0-ec49-418d-b1de-019cf6b56da5" providerId="ADAL" clId="{154816C8-82C4-4E4B-ADDD-BBC9EE556CCD}" dt="2025-02-07T06:49:50.641" v="1659" actId="404"/>
          <ac:spMkLst>
            <pc:docMk/>
            <pc:sldMk cId="2807815468" sldId="2147378693"/>
            <ac:spMk id="34" creationId="{49CC8429-93D6-9A18-62F3-AF13E7BEC72A}"/>
          </ac:spMkLst>
        </pc:spChg>
        <pc:spChg chg="mod">
          <ac:chgData name="内山 裕弥" userId="8d34b9d0-ec49-418d-b1de-019cf6b56da5" providerId="ADAL" clId="{154816C8-82C4-4E4B-ADDD-BBC9EE556CCD}" dt="2025-02-07T06:49:50.641" v="1659" actId="404"/>
          <ac:spMkLst>
            <pc:docMk/>
            <pc:sldMk cId="2807815468" sldId="2147378693"/>
            <ac:spMk id="35" creationId="{9A78E48D-9CB7-841B-902C-FEE654B0CA1F}"/>
          </ac:spMkLst>
        </pc:spChg>
        <pc:spChg chg="mod">
          <ac:chgData name="内山 裕弥" userId="8d34b9d0-ec49-418d-b1de-019cf6b56da5" providerId="ADAL" clId="{154816C8-82C4-4E4B-ADDD-BBC9EE556CCD}" dt="2025-02-07T06:49:50.641" v="1659" actId="404"/>
          <ac:spMkLst>
            <pc:docMk/>
            <pc:sldMk cId="2807815468" sldId="2147378693"/>
            <ac:spMk id="37" creationId="{9E01659E-F6B4-073E-CC70-C945B05518C5}"/>
          </ac:spMkLst>
        </pc:spChg>
        <pc:spChg chg="mod">
          <ac:chgData name="内山 裕弥" userId="8d34b9d0-ec49-418d-b1de-019cf6b56da5" providerId="ADAL" clId="{154816C8-82C4-4E4B-ADDD-BBC9EE556CCD}" dt="2025-02-07T06:49:50.641" v="1659" actId="404"/>
          <ac:spMkLst>
            <pc:docMk/>
            <pc:sldMk cId="2807815468" sldId="2147378693"/>
            <ac:spMk id="40" creationId="{76D7137B-54BD-3179-AA75-3165B21B5697}"/>
          </ac:spMkLst>
        </pc:spChg>
        <pc:spChg chg="mod">
          <ac:chgData name="内山 裕弥" userId="8d34b9d0-ec49-418d-b1de-019cf6b56da5" providerId="ADAL" clId="{154816C8-82C4-4E4B-ADDD-BBC9EE556CCD}" dt="2025-02-07T06:50:00.250" v="1662" actId="571"/>
          <ac:spMkLst>
            <pc:docMk/>
            <pc:sldMk cId="2807815468" sldId="2147378693"/>
            <ac:spMk id="45" creationId="{64D9379D-C3F0-2D10-E1BF-8E5E4D034D70}"/>
          </ac:spMkLst>
        </pc:spChg>
        <pc:spChg chg="mod">
          <ac:chgData name="内山 裕弥" userId="8d34b9d0-ec49-418d-b1de-019cf6b56da5" providerId="ADAL" clId="{154816C8-82C4-4E4B-ADDD-BBC9EE556CCD}" dt="2025-02-07T06:50:00.250" v="1662" actId="571"/>
          <ac:spMkLst>
            <pc:docMk/>
            <pc:sldMk cId="2807815468" sldId="2147378693"/>
            <ac:spMk id="46" creationId="{B3C71F3D-6743-3874-A1BA-EC87DA9A7DCB}"/>
          </ac:spMkLst>
        </pc:spChg>
        <pc:spChg chg="mod">
          <ac:chgData name="内山 裕弥" userId="8d34b9d0-ec49-418d-b1de-019cf6b56da5" providerId="ADAL" clId="{154816C8-82C4-4E4B-ADDD-BBC9EE556CCD}" dt="2025-02-07T06:50:00.250" v="1662" actId="571"/>
          <ac:spMkLst>
            <pc:docMk/>
            <pc:sldMk cId="2807815468" sldId="2147378693"/>
            <ac:spMk id="47" creationId="{8F6A7759-5C5B-3F81-2CE5-E9C59B352F9E}"/>
          </ac:spMkLst>
        </pc:spChg>
        <pc:spChg chg="mod">
          <ac:chgData name="内山 裕弥" userId="8d34b9d0-ec49-418d-b1de-019cf6b56da5" providerId="ADAL" clId="{154816C8-82C4-4E4B-ADDD-BBC9EE556CCD}" dt="2025-02-07T06:50:00.250" v="1662" actId="571"/>
          <ac:spMkLst>
            <pc:docMk/>
            <pc:sldMk cId="2807815468" sldId="2147378693"/>
            <ac:spMk id="48" creationId="{C18B397C-7510-1CCD-C350-D6D6065E9D43}"/>
          </ac:spMkLst>
        </pc:spChg>
        <pc:spChg chg="mod">
          <ac:chgData name="内山 裕弥" userId="8d34b9d0-ec49-418d-b1de-019cf6b56da5" providerId="ADAL" clId="{154816C8-82C4-4E4B-ADDD-BBC9EE556CCD}" dt="2025-02-07T06:50:00.250" v="1662" actId="571"/>
          <ac:spMkLst>
            <pc:docMk/>
            <pc:sldMk cId="2807815468" sldId="2147378693"/>
            <ac:spMk id="49" creationId="{0C6635D2-56FF-5A28-B5CB-F183C7EBC519}"/>
          </ac:spMkLst>
        </pc:spChg>
        <pc:spChg chg="mod">
          <ac:chgData name="内山 裕弥" userId="8d34b9d0-ec49-418d-b1de-019cf6b56da5" providerId="ADAL" clId="{154816C8-82C4-4E4B-ADDD-BBC9EE556CCD}" dt="2025-02-07T06:50:00.250" v="1662" actId="571"/>
          <ac:spMkLst>
            <pc:docMk/>
            <pc:sldMk cId="2807815468" sldId="2147378693"/>
            <ac:spMk id="51" creationId="{0D58F725-AFEB-F0BE-DD62-34378E061F46}"/>
          </ac:spMkLst>
        </pc:spChg>
        <pc:spChg chg="mod">
          <ac:chgData name="内山 裕弥" userId="8d34b9d0-ec49-418d-b1de-019cf6b56da5" providerId="ADAL" clId="{154816C8-82C4-4E4B-ADDD-BBC9EE556CCD}" dt="2025-02-07T06:50:00.250" v="1662" actId="571"/>
          <ac:spMkLst>
            <pc:docMk/>
            <pc:sldMk cId="2807815468" sldId="2147378693"/>
            <ac:spMk id="52" creationId="{D391A424-631E-55A8-F05F-089D7F169B1F}"/>
          </ac:spMkLst>
        </pc:spChg>
        <pc:spChg chg="mod">
          <ac:chgData name="内山 裕弥" userId="8d34b9d0-ec49-418d-b1de-019cf6b56da5" providerId="ADAL" clId="{154816C8-82C4-4E4B-ADDD-BBC9EE556CCD}" dt="2025-02-07T06:50:00.250" v="1662" actId="571"/>
          <ac:spMkLst>
            <pc:docMk/>
            <pc:sldMk cId="2807815468" sldId="2147378693"/>
            <ac:spMk id="53" creationId="{4B99C50D-BDBB-0B86-C10F-B488ABA3AFF7}"/>
          </ac:spMkLst>
        </pc:spChg>
        <pc:spChg chg="mod">
          <ac:chgData name="内山 裕弥" userId="8d34b9d0-ec49-418d-b1de-019cf6b56da5" providerId="ADAL" clId="{154816C8-82C4-4E4B-ADDD-BBC9EE556CCD}" dt="2025-02-07T06:50:00.250" v="1662" actId="571"/>
          <ac:spMkLst>
            <pc:docMk/>
            <pc:sldMk cId="2807815468" sldId="2147378693"/>
            <ac:spMk id="55" creationId="{40F2A059-03F1-373C-F00A-447373CC6C95}"/>
          </ac:spMkLst>
        </pc:spChg>
        <pc:spChg chg="mod">
          <ac:chgData name="内山 裕弥" userId="8d34b9d0-ec49-418d-b1de-019cf6b56da5" providerId="ADAL" clId="{154816C8-82C4-4E4B-ADDD-BBC9EE556CCD}" dt="2025-02-07T06:50:00.250" v="1662" actId="571"/>
          <ac:spMkLst>
            <pc:docMk/>
            <pc:sldMk cId="2807815468" sldId="2147378693"/>
            <ac:spMk id="58" creationId="{26C08686-1255-0816-2C28-BBEC3196ACEF}"/>
          </ac:spMkLst>
        </pc:spChg>
        <pc:spChg chg="mod">
          <ac:chgData name="内山 裕弥" userId="8d34b9d0-ec49-418d-b1de-019cf6b56da5" providerId="ADAL" clId="{154816C8-82C4-4E4B-ADDD-BBC9EE556CCD}" dt="2025-02-07T06:54:29.494" v="2186" actId="20577"/>
          <ac:spMkLst>
            <pc:docMk/>
            <pc:sldMk cId="2807815468" sldId="2147378693"/>
            <ac:spMk id="63" creationId="{A2DD071A-0195-2A3C-E9A9-9816FA37D9AC}"/>
          </ac:spMkLst>
        </pc:spChg>
        <pc:spChg chg="mod">
          <ac:chgData name="内山 裕弥" userId="8d34b9d0-ec49-418d-b1de-019cf6b56da5" providerId="ADAL" clId="{154816C8-82C4-4E4B-ADDD-BBC9EE556CCD}" dt="2025-02-07T06:50:23.546" v="1670" actId="571"/>
          <ac:spMkLst>
            <pc:docMk/>
            <pc:sldMk cId="2807815468" sldId="2147378693"/>
            <ac:spMk id="64" creationId="{28FBAFC8-996E-0183-6007-B849C0563E70}"/>
          </ac:spMkLst>
        </pc:spChg>
        <pc:spChg chg="mod">
          <ac:chgData name="内山 裕弥" userId="8d34b9d0-ec49-418d-b1de-019cf6b56da5" providerId="ADAL" clId="{154816C8-82C4-4E4B-ADDD-BBC9EE556CCD}" dt="2025-02-07T06:50:23.546" v="1670" actId="571"/>
          <ac:spMkLst>
            <pc:docMk/>
            <pc:sldMk cId="2807815468" sldId="2147378693"/>
            <ac:spMk id="65" creationId="{57E669E2-341F-5DE9-FC08-5F8B104ABB91}"/>
          </ac:spMkLst>
        </pc:spChg>
        <pc:spChg chg="mod">
          <ac:chgData name="内山 裕弥" userId="8d34b9d0-ec49-418d-b1de-019cf6b56da5" providerId="ADAL" clId="{154816C8-82C4-4E4B-ADDD-BBC9EE556CCD}" dt="2025-02-07T06:54:10.790" v="2101" actId="20577"/>
          <ac:spMkLst>
            <pc:docMk/>
            <pc:sldMk cId="2807815468" sldId="2147378693"/>
            <ac:spMk id="66" creationId="{54572A44-0063-17F4-A674-86C0FB7C73F2}"/>
          </ac:spMkLst>
        </pc:spChg>
        <pc:spChg chg="mod">
          <ac:chgData name="内山 裕弥" userId="8d34b9d0-ec49-418d-b1de-019cf6b56da5" providerId="ADAL" clId="{154816C8-82C4-4E4B-ADDD-BBC9EE556CCD}" dt="2025-02-07T06:50:23.546" v="1670" actId="571"/>
          <ac:spMkLst>
            <pc:docMk/>
            <pc:sldMk cId="2807815468" sldId="2147378693"/>
            <ac:spMk id="67" creationId="{6AC2A3AA-E327-22E1-E253-51EC5732E01C}"/>
          </ac:spMkLst>
        </pc:spChg>
        <pc:spChg chg="mod">
          <ac:chgData name="内山 裕弥" userId="8d34b9d0-ec49-418d-b1de-019cf6b56da5" providerId="ADAL" clId="{154816C8-82C4-4E4B-ADDD-BBC9EE556CCD}" dt="2025-02-07T06:50:23.546" v="1670" actId="571"/>
          <ac:spMkLst>
            <pc:docMk/>
            <pc:sldMk cId="2807815468" sldId="2147378693"/>
            <ac:spMk id="69" creationId="{7358E1F9-D900-FAEE-E5D4-01EE75FB2849}"/>
          </ac:spMkLst>
        </pc:spChg>
        <pc:spChg chg="mod">
          <ac:chgData name="内山 裕弥" userId="8d34b9d0-ec49-418d-b1de-019cf6b56da5" providerId="ADAL" clId="{154816C8-82C4-4E4B-ADDD-BBC9EE556CCD}" dt="2025-02-07T06:50:23.546" v="1670" actId="571"/>
          <ac:spMkLst>
            <pc:docMk/>
            <pc:sldMk cId="2807815468" sldId="2147378693"/>
            <ac:spMk id="70" creationId="{7A915EC5-6A47-E264-150F-DEF03C43B909}"/>
          </ac:spMkLst>
        </pc:spChg>
        <pc:spChg chg="mod">
          <ac:chgData name="内山 裕弥" userId="8d34b9d0-ec49-418d-b1de-019cf6b56da5" providerId="ADAL" clId="{154816C8-82C4-4E4B-ADDD-BBC9EE556CCD}" dt="2025-02-07T06:50:23.546" v="1670" actId="571"/>
          <ac:spMkLst>
            <pc:docMk/>
            <pc:sldMk cId="2807815468" sldId="2147378693"/>
            <ac:spMk id="71" creationId="{165F6F7B-4849-9CE4-9B86-5DADDC407858}"/>
          </ac:spMkLst>
        </pc:spChg>
        <pc:spChg chg="mod">
          <ac:chgData name="内山 裕弥" userId="8d34b9d0-ec49-418d-b1de-019cf6b56da5" providerId="ADAL" clId="{154816C8-82C4-4E4B-ADDD-BBC9EE556CCD}" dt="2025-02-07T06:54:22.911" v="2177" actId="20577"/>
          <ac:spMkLst>
            <pc:docMk/>
            <pc:sldMk cId="2807815468" sldId="2147378693"/>
            <ac:spMk id="73" creationId="{A1182C33-73BA-46AF-E45C-70818F73D3ED}"/>
          </ac:spMkLst>
        </pc:spChg>
        <pc:spChg chg="mod">
          <ac:chgData name="内山 裕弥" userId="8d34b9d0-ec49-418d-b1de-019cf6b56da5" providerId="ADAL" clId="{154816C8-82C4-4E4B-ADDD-BBC9EE556CCD}" dt="2025-02-07T06:50:23.546" v="1670" actId="571"/>
          <ac:spMkLst>
            <pc:docMk/>
            <pc:sldMk cId="2807815468" sldId="2147378693"/>
            <ac:spMk id="76" creationId="{5CDBB21D-8256-9E2D-F47A-638BA24F5F38}"/>
          </ac:spMkLst>
        </pc:spChg>
        <pc:spChg chg="mod">
          <ac:chgData name="内山 裕弥" userId="8d34b9d0-ec49-418d-b1de-019cf6b56da5" providerId="ADAL" clId="{154816C8-82C4-4E4B-ADDD-BBC9EE556CCD}" dt="2025-02-07T06:56:10.625" v="2541" actId="20577"/>
          <ac:spMkLst>
            <pc:docMk/>
            <pc:sldMk cId="2807815468" sldId="2147378693"/>
            <ac:spMk id="81" creationId="{8AFA2A95-0A68-5666-F467-EF21BDC88A70}"/>
          </ac:spMkLst>
        </pc:spChg>
        <pc:spChg chg="del mod">
          <ac:chgData name="内山 裕弥" userId="8d34b9d0-ec49-418d-b1de-019cf6b56da5" providerId="ADAL" clId="{154816C8-82C4-4E4B-ADDD-BBC9EE556CCD}" dt="2025-02-07T06:57:01.380" v="2802" actId="21"/>
          <ac:spMkLst>
            <pc:docMk/>
            <pc:sldMk cId="2807815468" sldId="2147378693"/>
            <ac:spMk id="82" creationId="{4B674FAD-1EE7-8BED-6004-E5737CB5D806}"/>
          </ac:spMkLst>
        </pc:spChg>
        <pc:spChg chg="mod">
          <ac:chgData name="内山 裕弥" userId="8d34b9d0-ec49-418d-b1de-019cf6b56da5" providerId="ADAL" clId="{154816C8-82C4-4E4B-ADDD-BBC9EE556CCD}" dt="2025-02-07T06:56:41.390" v="2677" actId="404"/>
          <ac:spMkLst>
            <pc:docMk/>
            <pc:sldMk cId="2807815468" sldId="2147378693"/>
            <ac:spMk id="83" creationId="{69F23CBD-6543-7D9D-3CFC-2AACB5B6B755}"/>
          </ac:spMkLst>
        </pc:spChg>
        <pc:spChg chg="mod">
          <ac:chgData name="内山 裕弥" userId="8d34b9d0-ec49-418d-b1de-019cf6b56da5" providerId="ADAL" clId="{154816C8-82C4-4E4B-ADDD-BBC9EE556CCD}" dt="2025-02-07T06:55:45.283" v="2436" actId="20577"/>
          <ac:spMkLst>
            <pc:docMk/>
            <pc:sldMk cId="2807815468" sldId="2147378693"/>
            <ac:spMk id="84" creationId="{9197490C-72EA-94C9-06C1-E9F805BB8059}"/>
          </ac:spMkLst>
        </pc:spChg>
        <pc:spChg chg="mod">
          <ac:chgData name="内山 裕弥" userId="8d34b9d0-ec49-418d-b1de-019cf6b56da5" providerId="ADAL" clId="{154816C8-82C4-4E4B-ADDD-BBC9EE556CCD}" dt="2025-02-07T06:55:17.832" v="2277" actId="20577"/>
          <ac:spMkLst>
            <pc:docMk/>
            <pc:sldMk cId="2807815468" sldId="2147378693"/>
            <ac:spMk id="85" creationId="{6A3CA049-1026-4F94-4A3D-446552F57538}"/>
          </ac:spMkLst>
        </pc:spChg>
        <pc:spChg chg="mod">
          <ac:chgData name="内山 裕弥" userId="8d34b9d0-ec49-418d-b1de-019cf6b56da5" providerId="ADAL" clId="{154816C8-82C4-4E4B-ADDD-BBC9EE556CCD}" dt="2025-02-07T06:56:25.153" v="2621" actId="20577"/>
          <ac:spMkLst>
            <pc:docMk/>
            <pc:sldMk cId="2807815468" sldId="2147378693"/>
            <ac:spMk id="87" creationId="{1E702FFE-EC5B-59C1-0867-10C3A49EC422}"/>
          </ac:spMkLst>
        </pc:spChg>
        <pc:spChg chg="del mod">
          <ac:chgData name="内山 裕弥" userId="8d34b9d0-ec49-418d-b1de-019cf6b56da5" providerId="ADAL" clId="{154816C8-82C4-4E4B-ADDD-BBC9EE556CCD}" dt="2025-02-07T06:57:02.823" v="2803" actId="21"/>
          <ac:spMkLst>
            <pc:docMk/>
            <pc:sldMk cId="2807815468" sldId="2147378693"/>
            <ac:spMk id="88" creationId="{ED34420C-3D02-E0F5-09F3-07C17CE91713}"/>
          </ac:spMkLst>
        </pc:spChg>
        <pc:spChg chg="mod">
          <ac:chgData name="内山 裕弥" userId="8d34b9d0-ec49-418d-b1de-019cf6b56da5" providerId="ADAL" clId="{154816C8-82C4-4E4B-ADDD-BBC9EE556CCD}" dt="2025-02-07T06:56:58.148" v="2801" actId="20577"/>
          <ac:spMkLst>
            <pc:docMk/>
            <pc:sldMk cId="2807815468" sldId="2147378693"/>
            <ac:spMk id="89" creationId="{0E60EBF1-9844-4160-B79F-D64343B948C5}"/>
          </ac:spMkLst>
        </pc:spChg>
        <pc:spChg chg="mod">
          <ac:chgData name="内山 裕弥" userId="8d34b9d0-ec49-418d-b1de-019cf6b56da5" providerId="ADAL" clId="{154816C8-82C4-4E4B-ADDD-BBC9EE556CCD}" dt="2025-02-07T06:55:55.367" v="2512" actId="20577"/>
          <ac:spMkLst>
            <pc:docMk/>
            <pc:sldMk cId="2807815468" sldId="2147378693"/>
            <ac:spMk id="91" creationId="{4188C613-274B-CF4D-1B81-721EC623362D}"/>
          </ac:spMkLst>
        </pc:spChg>
        <pc:spChg chg="mod">
          <ac:chgData name="内山 裕弥" userId="8d34b9d0-ec49-418d-b1de-019cf6b56da5" providerId="ADAL" clId="{154816C8-82C4-4E4B-ADDD-BBC9EE556CCD}" dt="2025-02-07T06:55:37.761" v="2400" actId="20577"/>
          <ac:spMkLst>
            <pc:docMk/>
            <pc:sldMk cId="2807815468" sldId="2147378693"/>
            <ac:spMk id="94" creationId="{4AA2B181-3ED9-1C50-DDE8-63B29F94C261}"/>
          </ac:spMkLst>
        </pc:spChg>
        <pc:spChg chg="add mod">
          <ac:chgData name="内山 裕弥" userId="8d34b9d0-ec49-418d-b1de-019cf6b56da5" providerId="ADAL" clId="{154816C8-82C4-4E4B-ADDD-BBC9EE556CCD}" dt="2025-02-07T06:52:08.479" v="1770" actId="1076"/>
          <ac:spMkLst>
            <pc:docMk/>
            <pc:sldMk cId="2807815468" sldId="2147378693"/>
            <ac:spMk id="98" creationId="{F96A4FAA-8BC6-ACDA-9A48-2C955E618C39}"/>
          </ac:spMkLst>
        </pc:spChg>
        <pc:spChg chg="add mod">
          <ac:chgData name="内山 裕弥" userId="8d34b9d0-ec49-418d-b1de-019cf6b56da5" providerId="ADAL" clId="{154816C8-82C4-4E4B-ADDD-BBC9EE556CCD}" dt="2025-02-07T06:52:08.479" v="1770" actId="1076"/>
          <ac:spMkLst>
            <pc:docMk/>
            <pc:sldMk cId="2807815468" sldId="2147378693"/>
            <ac:spMk id="99" creationId="{677FBB95-C85F-129E-221F-CCED023067AB}"/>
          </ac:spMkLst>
        </pc:spChg>
        <pc:spChg chg="add mod">
          <ac:chgData name="内山 裕弥" userId="8d34b9d0-ec49-418d-b1de-019cf6b56da5" providerId="ADAL" clId="{154816C8-82C4-4E4B-ADDD-BBC9EE556CCD}" dt="2025-02-07T06:52:08.479" v="1770" actId="1076"/>
          <ac:spMkLst>
            <pc:docMk/>
            <pc:sldMk cId="2807815468" sldId="2147378693"/>
            <ac:spMk id="100" creationId="{792ED3B5-00B5-1B9D-E8C7-7E30A7FC9B67}"/>
          </ac:spMkLst>
        </pc:spChg>
        <pc:spChg chg="add mod">
          <ac:chgData name="内山 裕弥" userId="8d34b9d0-ec49-418d-b1de-019cf6b56da5" providerId="ADAL" clId="{154816C8-82C4-4E4B-ADDD-BBC9EE556CCD}" dt="2025-02-07T06:57:36.034" v="2994" actId="20577"/>
          <ac:spMkLst>
            <pc:docMk/>
            <pc:sldMk cId="2807815468" sldId="2147378693"/>
            <ac:spMk id="101" creationId="{E1C966D4-D0DE-6EFA-035B-F40658EB06CF}"/>
          </ac:spMkLst>
        </pc:spChg>
        <pc:grpChg chg="add mod">
          <ac:chgData name="内山 裕弥" userId="8d34b9d0-ec49-418d-b1de-019cf6b56da5" providerId="ADAL" clId="{154816C8-82C4-4E4B-ADDD-BBC9EE556CCD}" dt="2025-02-07T06:52:08.479" v="1770" actId="1076"/>
          <ac:grpSpMkLst>
            <pc:docMk/>
            <pc:sldMk cId="2807815468" sldId="2147378693"/>
            <ac:grpSpMk id="10" creationId="{FBAF55BB-E4B0-AE23-D5D2-827B5EBA3E3C}"/>
          </ac:grpSpMkLst>
        </pc:grpChg>
        <pc:grpChg chg="add mod">
          <ac:chgData name="内山 裕弥" userId="8d34b9d0-ec49-418d-b1de-019cf6b56da5" providerId="ADAL" clId="{154816C8-82C4-4E4B-ADDD-BBC9EE556CCD}" dt="2025-02-07T06:52:08.479" v="1770" actId="1076"/>
          <ac:grpSpMkLst>
            <pc:docMk/>
            <pc:sldMk cId="2807815468" sldId="2147378693"/>
            <ac:grpSpMk id="12" creationId="{DE9A25B3-25A2-B5BF-14C4-27AA8D366DE2}"/>
          </ac:grpSpMkLst>
        </pc:grpChg>
        <pc:grpChg chg="mod">
          <ac:chgData name="内山 裕弥" userId="8d34b9d0-ec49-418d-b1de-019cf6b56da5" providerId="ADAL" clId="{154816C8-82C4-4E4B-ADDD-BBC9EE556CCD}" dt="2025-02-07T06:49:06.139" v="1649" actId="164"/>
          <ac:grpSpMkLst>
            <pc:docMk/>
            <pc:sldMk cId="2807815468" sldId="2147378693"/>
            <ac:grpSpMk id="16" creationId="{08B3324E-91C1-4874-3F35-2817C2801105}"/>
          </ac:grpSpMkLst>
        </pc:grpChg>
        <pc:grpChg chg="add del mod">
          <ac:chgData name="内山 裕弥" userId="8d34b9d0-ec49-418d-b1de-019cf6b56da5" providerId="ADAL" clId="{154816C8-82C4-4E4B-ADDD-BBC9EE556CCD}" dt="2025-02-07T06:50:03.759" v="1663" actId="478"/>
          <ac:grpSpMkLst>
            <pc:docMk/>
            <pc:sldMk cId="2807815468" sldId="2147378693"/>
            <ac:grpSpMk id="26" creationId="{E23EE756-A55F-F850-FD0C-3B5A44165DD6}"/>
          </ac:grpSpMkLst>
        </pc:grpChg>
        <pc:grpChg chg="add del mod">
          <ac:chgData name="内山 裕弥" userId="8d34b9d0-ec49-418d-b1de-019cf6b56da5" providerId="ADAL" clId="{154816C8-82C4-4E4B-ADDD-BBC9EE556CCD}" dt="2025-02-07T06:50:03.759" v="1663" actId="478"/>
          <ac:grpSpMkLst>
            <pc:docMk/>
            <pc:sldMk cId="2807815468" sldId="2147378693"/>
            <ac:grpSpMk id="32" creationId="{754EE60D-039C-7251-B9E3-D2552C6D4A30}"/>
          </ac:grpSpMkLst>
        </pc:grpChg>
        <pc:grpChg chg="mod">
          <ac:chgData name="内山 裕弥" userId="8d34b9d0-ec49-418d-b1de-019cf6b56da5" providerId="ADAL" clId="{154816C8-82C4-4E4B-ADDD-BBC9EE556CCD}" dt="2025-02-07T06:49:37.603" v="1657" actId="571"/>
          <ac:grpSpMkLst>
            <pc:docMk/>
            <pc:sldMk cId="2807815468" sldId="2147378693"/>
            <ac:grpSpMk id="36" creationId="{49F39D85-A3F0-0EE5-DD8B-8F0C356116B8}"/>
          </ac:grpSpMkLst>
        </pc:grpChg>
        <pc:grpChg chg="add mod">
          <ac:chgData name="内山 裕弥" userId="8d34b9d0-ec49-418d-b1de-019cf6b56da5" providerId="ADAL" clId="{154816C8-82C4-4E4B-ADDD-BBC9EE556CCD}" dt="2025-02-07T06:50:00.250" v="1662" actId="571"/>
          <ac:grpSpMkLst>
            <pc:docMk/>
            <pc:sldMk cId="2807815468" sldId="2147378693"/>
            <ac:grpSpMk id="44" creationId="{83990A34-F6F1-907E-269A-0E1F23603A19}"/>
          </ac:grpSpMkLst>
        </pc:grpChg>
        <pc:grpChg chg="add mod">
          <ac:chgData name="内山 裕弥" userId="8d34b9d0-ec49-418d-b1de-019cf6b56da5" providerId="ADAL" clId="{154816C8-82C4-4E4B-ADDD-BBC9EE556CCD}" dt="2025-02-07T06:50:00.250" v="1662" actId="571"/>
          <ac:grpSpMkLst>
            <pc:docMk/>
            <pc:sldMk cId="2807815468" sldId="2147378693"/>
            <ac:grpSpMk id="50" creationId="{78B599B3-DE91-B076-501B-56FBDAD7DA95}"/>
          </ac:grpSpMkLst>
        </pc:grpChg>
        <pc:grpChg chg="mod">
          <ac:chgData name="内山 裕弥" userId="8d34b9d0-ec49-418d-b1de-019cf6b56da5" providerId="ADAL" clId="{154816C8-82C4-4E4B-ADDD-BBC9EE556CCD}" dt="2025-02-07T06:50:00.250" v="1662" actId="571"/>
          <ac:grpSpMkLst>
            <pc:docMk/>
            <pc:sldMk cId="2807815468" sldId="2147378693"/>
            <ac:grpSpMk id="54" creationId="{54CF1422-D5C4-8BAA-D5AF-41ED23CB1D3F}"/>
          </ac:grpSpMkLst>
        </pc:grpChg>
        <pc:grpChg chg="add mod">
          <ac:chgData name="内山 裕弥" userId="8d34b9d0-ec49-418d-b1de-019cf6b56da5" providerId="ADAL" clId="{154816C8-82C4-4E4B-ADDD-BBC9EE556CCD}" dt="2025-02-07T06:52:08.479" v="1770" actId="1076"/>
          <ac:grpSpMkLst>
            <pc:docMk/>
            <pc:sldMk cId="2807815468" sldId="2147378693"/>
            <ac:grpSpMk id="62" creationId="{32148F1B-F2CD-569D-6055-4366DB65509B}"/>
          </ac:grpSpMkLst>
        </pc:grpChg>
        <pc:grpChg chg="add mod">
          <ac:chgData name="内山 裕弥" userId="8d34b9d0-ec49-418d-b1de-019cf6b56da5" providerId="ADAL" clId="{154816C8-82C4-4E4B-ADDD-BBC9EE556CCD}" dt="2025-02-07T06:52:08.479" v="1770" actId="1076"/>
          <ac:grpSpMkLst>
            <pc:docMk/>
            <pc:sldMk cId="2807815468" sldId="2147378693"/>
            <ac:grpSpMk id="68" creationId="{EC9AA473-ED0E-44FE-78A7-001C26A58BF8}"/>
          </ac:grpSpMkLst>
        </pc:grpChg>
        <pc:grpChg chg="mod">
          <ac:chgData name="内山 裕弥" userId="8d34b9d0-ec49-418d-b1de-019cf6b56da5" providerId="ADAL" clId="{154816C8-82C4-4E4B-ADDD-BBC9EE556CCD}" dt="2025-02-07T06:50:23.546" v="1670" actId="571"/>
          <ac:grpSpMkLst>
            <pc:docMk/>
            <pc:sldMk cId="2807815468" sldId="2147378693"/>
            <ac:grpSpMk id="72" creationId="{F98FC4B4-907B-9AB1-5E5E-D7CE049F6B9B}"/>
          </ac:grpSpMkLst>
        </pc:grpChg>
        <pc:grpChg chg="add mod">
          <ac:chgData name="内山 裕弥" userId="8d34b9d0-ec49-418d-b1de-019cf6b56da5" providerId="ADAL" clId="{154816C8-82C4-4E4B-ADDD-BBC9EE556CCD}" dt="2025-02-07T06:52:08.479" v="1770" actId="1076"/>
          <ac:grpSpMkLst>
            <pc:docMk/>
            <pc:sldMk cId="2807815468" sldId="2147378693"/>
            <ac:grpSpMk id="80" creationId="{72475D61-7C98-64F9-5265-E5444D31E86A}"/>
          </ac:grpSpMkLst>
        </pc:grpChg>
        <pc:grpChg chg="add mod">
          <ac:chgData name="内山 裕弥" userId="8d34b9d0-ec49-418d-b1de-019cf6b56da5" providerId="ADAL" clId="{154816C8-82C4-4E4B-ADDD-BBC9EE556CCD}" dt="2025-02-07T06:57:04.243" v="2805" actId="1076"/>
          <ac:grpSpMkLst>
            <pc:docMk/>
            <pc:sldMk cId="2807815468" sldId="2147378693"/>
            <ac:grpSpMk id="86" creationId="{DA4A3C24-040A-3EFC-BA3E-412B0C9D6C6E}"/>
          </ac:grpSpMkLst>
        </pc:grpChg>
        <pc:grpChg chg="mod">
          <ac:chgData name="内山 裕弥" userId="8d34b9d0-ec49-418d-b1de-019cf6b56da5" providerId="ADAL" clId="{154816C8-82C4-4E4B-ADDD-BBC9EE556CCD}" dt="2025-02-07T06:50:26.833" v="1671" actId="571"/>
          <ac:grpSpMkLst>
            <pc:docMk/>
            <pc:sldMk cId="2807815468" sldId="2147378693"/>
            <ac:grpSpMk id="90" creationId="{9789092A-ADF8-8875-D849-6AA2B3E73981}"/>
          </ac:grpSpMkLst>
        </pc:grpChg>
        <pc:cxnChg chg="mod">
          <ac:chgData name="内山 裕弥" userId="8d34b9d0-ec49-418d-b1de-019cf6b56da5" providerId="ADAL" clId="{154816C8-82C4-4E4B-ADDD-BBC9EE556CCD}" dt="2025-02-07T06:49:06.139" v="1649" actId="164"/>
          <ac:cxnSpMkLst>
            <pc:docMk/>
            <pc:sldMk cId="2807815468" sldId="2147378693"/>
            <ac:cxnSpMk id="19" creationId="{E7C7F916-235D-983C-D6F4-0BA1A1C6781E}"/>
          </ac:cxnSpMkLst>
        </pc:cxnChg>
        <pc:cxnChg chg="mod">
          <ac:chgData name="内山 裕弥" userId="8d34b9d0-ec49-418d-b1de-019cf6b56da5" providerId="ADAL" clId="{154816C8-82C4-4E4B-ADDD-BBC9EE556CCD}" dt="2025-02-07T06:49:06.139" v="1649" actId="164"/>
          <ac:cxnSpMkLst>
            <pc:docMk/>
            <pc:sldMk cId="2807815468" sldId="2147378693"/>
            <ac:cxnSpMk id="21" creationId="{90FE5543-3C4B-40E6-C0AB-E10A0C3BC1C2}"/>
          </ac:cxnSpMkLst>
        </pc:cxnChg>
        <pc:cxnChg chg="mod">
          <ac:chgData name="内山 裕弥" userId="8d34b9d0-ec49-418d-b1de-019cf6b56da5" providerId="ADAL" clId="{154816C8-82C4-4E4B-ADDD-BBC9EE556CCD}" dt="2025-02-07T06:49:37.603" v="1657" actId="571"/>
          <ac:cxnSpMkLst>
            <pc:docMk/>
            <pc:sldMk cId="2807815468" sldId="2147378693"/>
            <ac:cxnSpMk id="38" creationId="{D7A5088A-E91E-28B9-7BAF-B6C1E5CBCFA9}"/>
          </ac:cxnSpMkLst>
        </pc:cxnChg>
        <pc:cxnChg chg="mod">
          <ac:chgData name="内山 裕弥" userId="8d34b9d0-ec49-418d-b1de-019cf6b56da5" providerId="ADAL" clId="{154816C8-82C4-4E4B-ADDD-BBC9EE556CCD}" dt="2025-02-07T06:49:37.603" v="1657" actId="571"/>
          <ac:cxnSpMkLst>
            <pc:docMk/>
            <pc:sldMk cId="2807815468" sldId="2147378693"/>
            <ac:cxnSpMk id="39" creationId="{58388AC1-5560-BA96-B94C-12E6922E310D}"/>
          </ac:cxnSpMkLst>
        </pc:cxnChg>
        <pc:cxnChg chg="mod">
          <ac:chgData name="内山 裕弥" userId="8d34b9d0-ec49-418d-b1de-019cf6b56da5" providerId="ADAL" clId="{154816C8-82C4-4E4B-ADDD-BBC9EE556CCD}" dt="2025-02-07T06:49:37.603" v="1657" actId="571"/>
          <ac:cxnSpMkLst>
            <pc:docMk/>
            <pc:sldMk cId="2807815468" sldId="2147378693"/>
            <ac:cxnSpMk id="41" creationId="{7ACF82C2-2CFF-067C-889D-6B80B66FCFDE}"/>
          </ac:cxnSpMkLst>
        </pc:cxnChg>
        <pc:cxnChg chg="mod">
          <ac:chgData name="内山 裕弥" userId="8d34b9d0-ec49-418d-b1de-019cf6b56da5" providerId="ADAL" clId="{154816C8-82C4-4E4B-ADDD-BBC9EE556CCD}" dt="2025-02-07T06:49:37.603" v="1657" actId="571"/>
          <ac:cxnSpMkLst>
            <pc:docMk/>
            <pc:sldMk cId="2807815468" sldId="2147378693"/>
            <ac:cxnSpMk id="42" creationId="{11D289F7-80D7-62F8-972E-59D85B6BB230}"/>
          </ac:cxnSpMkLst>
        </pc:cxnChg>
        <pc:cxnChg chg="mod">
          <ac:chgData name="内山 裕弥" userId="8d34b9d0-ec49-418d-b1de-019cf6b56da5" providerId="ADAL" clId="{154816C8-82C4-4E4B-ADDD-BBC9EE556CCD}" dt="2025-02-07T06:49:37.603" v="1657" actId="571"/>
          <ac:cxnSpMkLst>
            <pc:docMk/>
            <pc:sldMk cId="2807815468" sldId="2147378693"/>
            <ac:cxnSpMk id="43" creationId="{288E5313-5966-513D-FA8D-37A1EC270ADF}"/>
          </ac:cxnSpMkLst>
        </pc:cxnChg>
        <pc:cxnChg chg="mod">
          <ac:chgData name="内山 裕弥" userId="8d34b9d0-ec49-418d-b1de-019cf6b56da5" providerId="ADAL" clId="{154816C8-82C4-4E4B-ADDD-BBC9EE556CCD}" dt="2025-02-07T06:50:00.250" v="1662" actId="571"/>
          <ac:cxnSpMkLst>
            <pc:docMk/>
            <pc:sldMk cId="2807815468" sldId="2147378693"/>
            <ac:cxnSpMk id="56" creationId="{41E14AFD-A5C4-4B05-A53A-88812565D94D}"/>
          </ac:cxnSpMkLst>
        </pc:cxnChg>
        <pc:cxnChg chg="mod">
          <ac:chgData name="内山 裕弥" userId="8d34b9d0-ec49-418d-b1de-019cf6b56da5" providerId="ADAL" clId="{154816C8-82C4-4E4B-ADDD-BBC9EE556CCD}" dt="2025-02-07T06:50:00.250" v="1662" actId="571"/>
          <ac:cxnSpMkLst>
            <pc:docMk/>
            <pc:sldMk cId="2807815468" sldId="2147378693"/>
            <ac:cxnSpMk id="57" creationId="{886969B5-773C-FDAD-CBB7-7E48913458F4}"/>
          </ac:cxnSpMkLst>
        </pc:cxnChg>
        <pc:cxnChg chg="mod">
          <ac:chgData name="内山 裕弥" userId="8d34b9d0-ec49-418d-b1de-019cf6b56da5" providerId="ADAL" clId="{154816C8-82C4-4E4B-ADDD-BBC9EE556CCD}" dt="2025-02-07T06:50:00.250" v="1662" actId="571"/>
          <ac:cxnSpMkLst>
            <pc:docMk/>
            <pc:sldMk cId="2807815468" sldId="2147378693"/>
            <ac:cxnSpMk id="59" creationId="{748AC074-45CB-19AC-2974-BF59B7773988}"/>
          </ac:cxnSpMkLst>
        </pc:cxnChg>
        <pc:cxnChg chg="mod">
          <ac:chgData name="内山 裕弥" userId="8d34b9d0-ec49-418d-b1de-019cf6b56da5" providerId="ADAL" clId="{154816C8-82C4-4E4B-ADDD-BBC9EE556CCD}" dt="2025-02-07T06:50:00.250" v="1662" actId="571"/>
          <ac:cxnSpMkLst>
            <pc:docMk/>
            <pc:sldMk cId="2807815468" sldId="2147378693"/>
            <ac:cxnSpMk id="60" creationId="{408FB610-7D64-B799-2037-9E597E640488}"/>
          </ac:cxnSpMkLst>
        </pc:cxnChg>
        <pc:cxnChg chg="mod">
          <ac:chgData name="内山 裕弥" userId="8d34b9d0-ec49-418d-b1de-019cf6b56da5" providerId="ADAL" clId="{154816C8-82C4-4E4B-ADDD-BBC9EE556CCD}" dt="2025-02-07T06:50:00.250" v="1662" actId="571"/>
          <ac:cxnSpMkLst>
            <pc:docMk/>
            <pc:sldMk cId="2807815468" sldId="2147378693"/>
            <ac:cxnSpMk id="61" creationId="{E6B81B6C-F4C7-DF96-CAF7-F9044396F4DA}"/>
          </ac:cxnSpMkLst>
        </pc:cxnChg>
        <pc:cxnChg chg="mod">
          <ac:chgData name="内山 裕弥" userId="8d34b9d0-ec49-418d-b1de-019cf6b56da5" providerId="ADAL" clId="{154816C8-82C4-4E4B-ADDD-BBC9EE556CCD}" dt="2025-02-07T06:50:23.546" v="1670" actId="571"/>
          <ac:cxnSpMkLst>
            <pc:docMk/>
            <pc:sldMk cId="2807815468" sldId="2147378693"/>
            <ac:cxnSpMk id="74" creationId="{57FBA4DE-5E28-8287-B2DE-80DD15394B58}"/>
          </ac:cxnSpMkLst>
        </pc:cxnChg>
        <pc:cxnChg chg="mod">
          <ac:chgData name="内山 裕弥" userId="8d34b9d0-ec49-418d-b1de-019cf6b56da5" providerId="ADAL" clId="{154816C8-82C4-4E4B-ADDD-BBC9EE556CCD}" dt="2025-02-07T06:50:23.546" v="1670" actId="571"/>
          <ac:cxnSpMkLst>
            <pc:docMk/>
            <pc:sldMk cId="2807815468" sldId="2147378693"/>
            <ac:cxnSpMk id="75" creationId="{C77E21F4-C95D-6353-C439-E1C005A04274}"/>
          </ac:cxnSpMkLst>
        </pc:cxnChg>
        <pc:cxnChg chg="mod">
          <ac:chgData name="内山 裕弥" userId="8d34b9d0-ec49-418d-b1de-019cf6b56da5" providerId="ADAL" clId="{154816C8-82C4-4E4B-ADDD-BBC9EE556CCD}" dt="2025-02-07T06:50:23.546" v="1670" actId="571"/>
          <ac:cxnSpMkLst>
            <pc:docMk/>
            <pc:sldMk cId="2807815468" sldId="2147378693"/>
            <ac:cxnSpMk id="77" creationId="{AA056350-8AC9-2713-7475-13ABC01B4F40}"/>
          </ac:cxnSpMkLst>
        </pc:cxnChg>
        <pc:cxnChg chg="mod">
          <ac:chgData name="内山 裕弥" userId="8d34b9d0-ec49-418d-b1de-019cf6b56da5" providerId="ADAL" clId="{154816C8-82C4-4E4B-ADDD-BBC9EE556CCD}" dt="2025-02-07T06:50:23.546" v="1670" actId="571"/>
          <ac:cxnSpMkLst>
            <pc:docMk/>
            <pc:sldMk cId="2807815468" sldId="2147378693"/>
            <ac:cxnSpMk id="78" creationId="{A7255239-15B9-7B60-9EC2-7D4BB58554F7}"/>
          </ac:cxnSpMkLst>
        </pc:cxnChg>
        <pc:cxnChg chg="mod">
          <ac:chgData name="内山 裕弥" userId="8d34b9d0-ec49-418d-b1de-019cf6b56da5" providerId="ADAL" clId="{154816C8-82C4-4E4B-ADDD-BBC9EE556CCD}" dt="2025-02-07T06:50:23.546" v="1670" actId="571"/>
          <ac:cxnSpMkLst>
            <pc:docMk/>
            <pc:sldMk cId="2807815468" sldId="2147378693"/>
            <ac:cxnSpMk id="79" creationId="{EE91379F-71AC-4602-1EC0-EF8B33894B55}"/>
          </ac:cxnSpMkLst>
        </pc:cxnChg>
        <pc:cxnChg chg="mod">
          <ac:chgData name="内山 裕弥" userId="8d34b9d0-ec49-418d-b1de-019cf6b56da5" providerId="ADAL" clId="{154816C8-82C4-4E4B-ADDD-BBC9EE556CCD}" dt="2025-02-07T06:50:26.833" v="1671" actId="571"/>
          <ac:cxnSpMkLst>
            <pc:docMk/>
            <pc:sldMk cId="2807815468" sldId="2147378693"/>
            <ac:cxnSpMk id="92" creationId="{E92BC827-EABE-6102-3C7D-9A6036F7D40E}"/>
          </ac:cxnSpMkLst>
        </pc:cxnChg>
        <pc:cxnChg chg="mod">
          <ac:chgData name="内山 裕弥" userId="8d34b9d0-ec49-418d-b1de-019cf6b56da5" providerId="ADAL" clId="{154816C8-82C4-4E4B-ADDD-BBC9EE556CCD}" dt="2025-02-07T06:50:26.833" v="1671" actId="571"/>
          <ac:cxnSpMkLst>
            <pc:docMk/>
            <pc:sldMk cId="2807815468" sldId="2147378693"/>
            <ac:cxnSpMk id="93" creationId="{9BF2E7B7-F075-9744-A33B-137B00ABC96D}"/>
          </ac:cxnSpMkLst>
        </pc:cxnChg>
        <pc:cxnChg chg="mod">
          <ac:chgData name="内山 裕弥" userId="8d34b9d0-ec49-418d-b1de-019cf6b56da5" providerId="ADAL" clId="{154816C8-82C4-4E4B-ADDD-BBC9EE556CCD}" dt="2025-02-07T06:50:26.833" v="1671" actId="571"/>
          <ac:cxnSpMkLst>
            <pc:docMk/>
            <pc:sldMk cId="2807815468" sldId="2147378693"/>
            <ac:cxnSpMk id="95" creationId="{37BBD476-5CFC-0C07-085C-79CB28D8A685}"/>
          </ac:cxnSpMkLst>
        </pc:cxnChg>
        <pc:cxnChg chg="mod">
          <ac:chgData name="内山 裕弥" userId="8d34b9d0-ec49-418d-b1de-019cf6b56da5" providerId="ADAL" clId="{154816C8-82C4-4E4B-ADDD-BBC9EE556CCD}" dt="2025-02-07T06:50:26.833" v="1671" actId="571"/>
          <ac:cxnSpMkLst>
            <pc:docMk/>
            <pc:sldMk cId="2807815468" sldId="2147378693"/>
            <ac:cxnSpMk id="96" creationId="{5B8E2E58-6B75-5B68-38A9-844858570D7C}"/>
          </ac:cxnSpMkLst>
        </pc:cxnChg>
        <pc:cxnChg chg="del mod">
          <ac:chgData name="内山 裕弥" userId="8d34b9d0-ec49-418d-b1de-019cf6b56da5" providerId="ADAL" clId="{154816C8-82C4-4E4B-ADDD-BBC9EE556CCD}" dt="2025-02-07T06:57:05.495" v="2806" actId="21"/>
          <ac:cxnSpMkLst>
            <pc:docMk/>
            <pc:sldMk cId="2807815468" sldId="2147378693"/>
            <ac:cxnSpMk id="97" creationId="{8A2700C3-283C-C14A-10BD-11EFF9EF2061}"/>
          </ac:cxnSpMkLst>
        </pc:cxn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8:40.030" v="1640"/>
              <pc2:cmMkLst xmlns:pc2="http://schemas.microsoft.com/office/powerpoint/2019/9/main/command">
                <pc:docMk/>
                <pc:sldMk cId="2807815468" sldId="2147378693"/>
                <pc2:cmMk id="{43C4AD9C-A39F-4AB5-8E6D-BD89DBD01093}"/>
              </pc2:cmMkLst>
            </pc226:cmChg>
          </p:ext>
        </pc:extLst>
      </pc:sldChg>
      <pc:sldChg chg="modSp mod">
        <pc:chgData name="内山 裕弥" userId="8d34b9d0-ec49-418d-b1de-019cf6b56da5" providerId="ADAL" clId="{154816C8-82C4-4E4B-ADDD-BBC9EE556CCD}" dt="2025-02-07T06:57:13.749" v="2850" actId="27636"/>
        <pc:sldMkLst>
          <pc:docMk/>
          <pc:sldMk cId="1631142101" sldId="2147378694"/>
        </pc:sldMkLst>
        <pc:spChg chg="mod">
          <ac:chgData name="内山 裕弥" userId="8d34b9d0-ec49-418d-b1de-019cf6b56da5" providerId="ADAL" clId="{154816C8-82C4-4E4B-ADDD-BBC9EE556CCD}" dt="2025-02-07T06:57:13.749" v="2850" actId="27636"/>
          <ac:spMkLst>
            <pc:docMk/>
            <pc:sldMk cId="1631142101" sldId="2147378694"/>
            <ac:spMk id="8" creationId="{18A896CF-A1FA-6401-E928-F0D6723FDAA4}"/>
          </ac:spMkLst>
        </pc:spChg>
      </pc:sldChg>
      <pc:sldChg chg="modSp mod">
        <pc:chgData name="内山 裕弥" userId="8d34b9d0-ec49-418d-b1de-019cf6b56da5" providerId="ADAL" clId="{154816C8-82C4-4E4B-ADDD-BBC9EE556CCD}" dt="2025-02-06T06:24:08.160" v="128" actId="21"/>
        <pc:sldMkLst>
          <pc:docMk/>
          <pc:sldMk cId="444370572" sldId="2147378702"/>
        </pc:sldMkLst>
        <pc:spChg chg="mod">
          <ac:chgData name="内山 裕弥" userId="8d34b9d0-ec49-418d-b1de-019cf6b56da5" providerId="ADAL" clId="{154816C8-82C4-4E4B-ADDD-BBC9EE556CCD}" dt="2025-02-06T06:24:08.160" v="128" actId="21"/>
          <ac:spMkLst>
            <pc:docMk/>
            <pc:sldMk cId="444370572" sldId="2147378702"/>
            <ac:spMk id="9" creationId="{D22A0A06-D5A8-4A1A-B66F-2A8EDBD644F1}"/>
          </ac:spMkLst>
        </pc:spChg>
      </pc:sldChg>
      <pc:sldChg chg="modSp mod">
        <pc:chgData name="内山 裕弥" userId="8d34b9d0-ec49-418d-b1de-019cf6b56da5" providerId="ADAL" clId="{154816C8-82C4-4E4B-ADDD-BBC9EE556CCD}" dt="2025-02-07T06:57:13.699" v="2842" actId="27636"/>
        <pc:sldMkLst>
          <pc:docMk/>
          <pc:sldMk cId="112285639" sldId="2147378703"/>
        </pc:sldMkLst>
        <pc:spChg chg="mod">
          <ac:chgData name="内山 裕弥" userId="8d34b9d0-ec49-418d-b1de-019cf6b56da5" providerId="ADAL" clId="{154816C8-82C4-4E4B-ADDD-BBC9EE556CCD}" dt="2025-02-07T06:57:13.699" v="2842" actId="27636"/>
          <ac:spMkLst>
            <pc:docMk/>
            <pc:sldMk cId="112285639" sldId="2147378703"/>
            <ac:spMk id="2" creationId="{0E5D0AD9-2BA7-E85C-4211-2AC064C1CB7E}"/>
          </ac:spMkLst>
        </pc:spChg>
        <pc:spChg chg="mod">
          <ac:chgData name="内山 裕弥" userId="8d34b9d0-ec49-418d-b1de-019cf6b56da5" providerId="ADAL" clId="{154816C8-82C4-4E4B-ADDD-BBC9EE556CCD}" dt="2025-02-07T06:47:27.962" v="1624" actId="20577"/>
          <ac:spMkLst>
            <pc:docMk/>
            <pc:sldMk cId="112285639" sldId="2147378703"/>
            <ac:spMk id="4" creationId="{4F1B8C31-A2AA-E8B5-6842-B8CA68666E37}"/>
          </ac:spMkLst>
        </pc:spChg>
      </pc:sldChg>
      <pc:sldChg chg="modSp mod">
        <pc:chgData name="内山 裕弥" userId="8d34b9d0-ec49-418d-b1de-019cf6b56da5" providerId="ADAL" clId="{154816C8-82C4-4E4B-ADDD-BBC9EE556CCD}" dt="2025-02-07T06:57:13.428" v="2808" actId="27636"/>
        <pc:sldMkLst>
          <pc:docMk/>
          <pc:sldMk cId="936371591" sldId="2147378704"/>
        </pc:sldMkLst>
        <pc:spChg chg="mod">
          <ac:chgData name="内山 裕弥" userId="8d34b9d0-ec49-418d-b1de-019cf6b56da5" providerId="ADAL" clId="{154816C8-82C4-4E4B-ADDD-BBC9EE556CCD}" dt="2025-02-07T06:57:13.428" v="2808" actId="27636"/>
          <ac:spMkLst>
            <pc:docMk/>
            <pc:sldMk cId="936371591" sldId="2147378704"/>
            <ac:spMk id="9" creationId="{A480D1FA-7A9C-69C0-2BC3-1E986E802FD3}"/>
          </ac:spMkLst>
        </pc:spChg>
      </pc:sldChg>
      <pc:sldChg chg="modSp mod addCm delCm">
        <pc:chgData name="内山 裕弥" userId="8d34b9d0-ec49-418d-b1de-019cf6b56da5" providerId="ADAL" clId="{154816C8-82C4-4E4B-ADDD-BBC9EE556CCD}" dt="2025-02-07T06:57:13.529" v="2817" actId="27636"/>
        <pc:sldMkLst>
          <pc:docMk/>
          <pc:sldMk cId="3685116316" sldId="2147378709"/>
        </pc:sldMkLst>
        <pc:spChg chg="mod">
          <ac:chgData name="内山 裕弥" userId="8d34b9d0-ec49-418d-b1de-019cf6b56da5" providerId="ADAL" clId="{154816C8-82C4-4E4B-ADDD-BBC9EE556CCD}" dt="2025-02-07T06:57:13.529" v="2817" actId="27636"/>
          <ac:spMkLst>
            <pc:docMk/>
            <pc:sldMk cId="3685116316" sldId="2147378709"/>
            <ac:spMk id="11" creationId="{5B8ABDA1-3D2A-BE6F-2D47-4B44E4CE9142}"/>
          </ac:spMkLst>
        </pc:spChg>
        <pc:extLst>
          <p:ext xmlns:p="http://schemas.openxmlformats.org/presentationml/2006/main" uri="{D6D511B9-2390-475A-947B-AFAB55BFBCF1}">
            <pc226:cmChg xmlns:pc226="http://schemas.microsoft.com/office/powerpoint/2022/06/main/command" chg="add del">
              <pc226:chgData name="内山 裕弥" userId="8d34b9d0-ec49-418d-b1de-019cf6b56da5" providerId="ADAL" clId="{154816C8-82C4-4E4B-ADDD-BBC9EE556CCD}" dt="2025-02-06T05:58:03.109" v="17"/>
              <pc2:cmMkLst xmlns:pc2="http://schemas.microsoft.com/office/powerpoint/2019/9/main/command">
                <pc:docMk/>
                <pc:sldMk cId="3685116316" sldId="2147378709"/>
                <pc2:cmMk id="{0546C6D6-74B2-4DB4-8DCD-331FAC1E9233}"/>
              </pc2:cmMkLst>
            </pc226:cmChg>
          </p:ext>
        </pc:extLst>
      </pc:sldChg>
      <pc:sldChg chg="modSp mod">
        <pc:chgData name="内山 裕弥" userId="8d34b9d0-ec49-418d-b1de-019cf6b56da5" providerId="ADAL" clId="{154816C8-82C4-4E4B-ADDD-BBC9EE556CCD}" dt="2025-02-07T06:57:13.546" v="2820" actId="27636"/>
        <pc:sldMkLst>
          <pc:docMk/>
          <pc:sldMk cId="2249235288" sldId="2147378710"/>
        </pc:sldMkLst>
        <pc:spChg chg="mod">
          <ac:chgData name="内山 裕弥" userId="8d34b9d0-ec49-418d-b1de-019cf6b56da5" providerId="ADAL" clId="{154816C8-82C4-4E4B-ADDD-BBC9EE556CCD}" dt="2025-02-07T06:57:13.546" v="2820" actId="27636"/>
          <ac:spMkLst>
            <pc:docMk/>
            <pc:sldMk cId="2249235288" sldId="2147378710"/>
            <ac:spMk id="11" creationId="{5B8ABDA1-3D2A-BE6F-2D47-4B44E4CE9142}"/>
          </ac:spMkLst>
        </pc:spChg>
      </pc:sldChg>
      <pc:sldChg chg="modSp mod addCm">
        <pc:chgData name="内山 裕弥" userId="8d34b9d0-ec49-418d-b1de-019cf6b56da5" providerId="ADAL" clId="{154816C8-82C4-4E4B-ADDD-BBC9EE556CCD}" dt="2025-02-07T06:57:13.509" v="2815" actId="27636"/>
        <pc:sldMkLst>
          <pc:docMk/>
          <pc:sldMk cId="2848558883" sldId="2147378713"/>
        </pc:sldMkLst>
        <pc:spChg chg="mod">
          <ac:chgData name="内山 裕弥" userId="8d34b9d0-ec49-418d-b1de-019cf6b56da5" providerId="ADAL" clId="{154816C8-82C4-4E4B-ADDD-BBC9EE556CCD}" dt="2025-02-06T05:59:53.058" v="32" actId="20577"/>
          <ac:spMkLst>
            <pc:docMk/>
            <pc:sldMk cId="2848558883" sldId="2147378713"/>
            <ac:spMk id="4" creationId="{29DB748F-EFF5-4509-B381-6B8D73B31303}"/>
          </ac:spMkLst>
        </pc:spChg>
        <pc:spChg chg="mod">
          <ac:chgData name="内山 裕弥" userId="8d34b9d0-ec49-418d-b1de-019cf6b56da5" providerId="ADAL" clId="{154816C8-82C4-4E4B-ADDD-BBC9EE556CCD}" dt="2025-02-07T06:57:13.509" v="2815" actId="27636"/>
          <ac:spMkLst>
            <pc:docMk/>
            <pc:sldMk cId="2848558883" sldId="2147378713"/>
            <ac:spMk id="8" creationId="{9D610DBF-17F7-608B-8680-1CFA54E54E02}"/>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6T05:59:04.133" v="24"/>
              <pc2:cmMkLst xmlns:pc2="http://schemas.microsoft.com/office/powerpoint/2019/9/main/command">
                <pc:docMk/>
                <pc:sldMk cId="2848558883" sldId="2147378713"/>
                <pc2:cmMk id="{23F7B8DB-7C63-4858-99AA-7F159A9B9412}"/>
              </pc2:cmMkLst>
            </pc226:cmChg>
          </p:ext>
        </pc:extLst>
      </pc:sldChg>
      <pc:sldChg chg="modSp mod addCm delCm">
        <pc:chgData name="内山 裕弥" userId="8d34b9d0-ec49-418d-b1de-019cf6b56da5" providerId="ADAL" clId="{154816C8-82C4-4E4B-ADDD-BBC9EE556CCD}" dt="2025-02-07T06:57:13.452" v="2810" actId="27636"/>
        <pc:sldMkLst>
          <pc:docMk/>
          <pc:sldMk cId="3334367261" sldId="2147378714"/>
        </pc:sldMkLst>
        <pc:spChg chg="mod">
          <ac:chgData name="内山 裕弥" userId="8d34b9d0-ec49-418d-b1de-019cf6b56da5" providerId="ADAL" clId="{154816C8-82C4-4E4B-ADDD-BBC9EE556CCD}" dt="2025-02-07T06:57:13.452" v="2810" actId="27636"/>
          <ac:spMkLst>
            <pc:docMk/>
            <pc:sldMk cId="3334367261" sldId="2147378714"/>
            <ac:spMk id="8" creationId="{E5452BB1-3ED0-4261-B76D-A910259B86CD}"/>
          </ac:spMkLst>
        </pc:spChg>
        <pc:extLst>
          <p:ext xmlns:p="http://schemas.openxmlformats.org/presentationml/2006/main" uri="{D6D511B9-2390-475A-947B-AFAB55BFBCF1}">
            <pc226:cmChg xmlns:pc226="http://schemas.microsoft.com/office/powerpoint/2022/06/main/command" chg="add del">
              <pc226:chgData name="内山 裕弥" userId="8d34b9d0-ec49-418d-b1de-019cf6b56da5" providerId="ADAL" clId="{154816C8-82C4-4E4B-ADDD-BBC9EE556CCD}" dt="2025-02-06T05:58:03.109" v="17"/>
              <pc2:cmMkLst xmlns:pc2="http://schemas.microsoft.com/office/powerpoint/2019/9/main/command">
                <pc:docMk/>
                <pc:sldMk cId="3334367261" sldId="2147378714"/>
                <pc2:cmMk id="{4FA9AB52-CF2D-495E-88E6-23F778D8D45C}"/>
              </pc2:cmMkLst>
            </pc226:cmChg>
          </p:ext>
        </pc:extLst>
      </pc:sldChg>
      <pc:sldChg chg="modSp mod ord addCm">
        <pc:chgData name="内山 裕弥" userId="8d34b9d0-ec49-418d-b1de-019cf6b56da5" providerId="ADAL" clId="{154816C8-82C4-4E4B-ADDD-BBC9EE556CCD}" dt="2025-02-07T06:57:13.749" v="2849" actId="27636"/>
        <pc:sldMkLst>
          <pc:docMk/>
          <pc:sldMk cId="1575785639" sldId="2147378716"/>
        </pc:sldMkLst>
        <pc:spChg chg="mod">
          <ac:chgData name="内山 裕弥" userId="8d34b9d0-ec49-418d-b1de-019cf6b56da5" providerId="ADAL" clId="{154816C8-82C4-4E4B-ADDD-BBC9EE556CCD}" dt="2025-02-07T06:46:35.080" v="1607"/>
          <ac:spMkLst>
            <pc:docMk/>
            <pc:sldMk cId="1575785639" sldId="2147378716"/>
            <ac:spMk id="2" creationId="{CBF10691-58CC-75D5-EA23-B36D933D90D3}"/>
          </ac:spMkLst>
        </pc:spChg>
        <pc:spChg chg="mod">
          <ac:chgData name="内山 裕弥" userId="8d34b9d0-ec49-418d-b1de-019cf6b56da5" providerId="ADAL" clId="{154816C8-82C4-4E4B-ADDD-BBC9EE556CCD}" dt="2025-02-07T06:57:13.749" v="2849" actId="27636"/>
          <ac:spMkLst>
            <pc:docMk/>
            <pc:sldMk cId="1575785639" sldId="2147378716"/>
            <ac:spMk id="6" creationId="{71206BDE-1A08-08E6-655E-57D44EBA924B}"/>
          </ac:spMkLst>
        </pc:spChg>
        <pc:spChg chg="mod">
          <ac:chgData name="内山 裕弥" userId="8d34b9d0-ec49-418d-b1de-019cf6b56da5" providerId="ADAL" clId="{154816C8-82C4-4E4B-ADDD-BBC9EE556CCD}" dt="2025-02-07T06:46:39.490" v="1610" actId="20577"/>
          <ac:spMkLst>
            <pc:docMk/>
            <pc:sldMk cId="1575785639" sldId="2147378716"/>
            <ac:spMk id="9" creationId="{F7DA7227-3724-60C8-1F06-5A8A2F4AF1F8}"/>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7:43.573" v="1629"/>
              <pc2:cmMkLst xmlns:pc2="http://schemas.microsoft.com/office/powerpoint/2019/9/main/command">
                <pc:docMk/>
                <pc:sldMk cId="1575785639" sldId="2147378716"/>
                <pc2:cmMk id="{18AF660C-E2CB-42B4-9158-55D9ED8208B7}"/>
              </pc2:cmMkLst>
            </pc226:cmChg>
          </p:ext>
        </pc:extLst>
      </pc:sldChg>
      <pc:sldChg chg="modSp mod">
        <pc:chgData name="内山 裕弥" userId="8d34b9d0-ec49-418d-b1de-019cf6b56da5" providerId="ADAL" clId="{154816C8-82C4-4E4B-ADDD-BBC9EE556CCD}" dt="2025-02-07T06:57:13.706" v="2843" actId="27636"/>
        <pc:sldMkLst>
          <pc:docMk/>
          <pc:sldMk cId="1334307493" sldId="2147378717"/>
        </pc:sldMkLst>
        <pc:spChg chg="mod">
          <ac:chgData name="内山 裕弥" userId="8d34b9d0-ec49-418d-b1de-019cf6b56da5" providerId="ADAL" clId="{154816C8-82C4-4E4B-ADDD-BBC9EE556CCD}" dt="2025-02-07T06:57:13.706" v="2843" actId="27636"/>
          <ac:spMkLst>
            <pc:docMk/>
            <pc:sldMk cId="1334307493" sldId="2147378717"/>
            <ac:spMk id="2" creationId="{0E5D0AD9-2BA7-E85C-4211-2AC064C1CB7E}"/>
          </ac:spMkLst>
        </pc:spChg>
        <pc:spChg chg="mod">
          <ac:chgData name="内山 裕弥" userId="8d34b9d0-ec49-418d-b1de-019cf6b56da5" providerId="ADAL" clId="{154816C8-82C4-4E4B-ADDD-BBC9EE556CCD}" dt="2025-02-07T06:47:29.866" v="1626" actId="20577"/>
          <ac:spMkLst>
            <pc:docMk/>
            <pc:sldMk cId="1334307493" sldId="2147378717"/>
            <ac:spMk id="4" creationId="{4F1B8C31-A2AA-E8B5-6842-B8CA68666E37}"/>
          </ac:spMkLst>
        </pc:spChg>
      </pc:sldChg>
      <pc:sldChg chg="modSp mod">
        <pc:chgData name="内山 裕弥" userId="8d34b9d0-ec49-418d-b1de-019cf6b56da5" providerId="ADAL" clId="{154816C8-82C4-4E4B-ADDD-BBC9EE556CCD}" dt="2025-02-07T06:57:13.430" v="2809" actId="27636"/>
        <pc:sldMkLst>
          <pc:docMk/>
          <pc:sldMk cId="2574112575" sldId="2147378718"/>
        </pc:sldMkLst>
        <pc:spChg chg="mod">
          <ac:chgData name="内山 裕弥" userId="8d34b9d0-ec49-418d-b1de-019cf6b56da5" providerId="ADAL" clId="{154816C8-82C4-4E4B-ADDD-BBC9EE556CCD}" dt="2025-02-07T06:57:13.430" v="2809" actId="27636"/>
          <ac:spMkLst>
            <pc:docMk/>
            <pc:sldMk cId="2574112575" sldId="2147378718"/>
            <ac:spMk id="9" creationId="{A480D1FA-7A9C-69C0-2BC3-1E986E802FD3}"/>
          </ac:spMkLst>
        </pc:spChg>
      </pc:sldChg>
      <pc:sldChg chg="modSp mod delCm">
        <pc:chgData name="内山 裕弥" userId="8d34b9d0-ec49-418d-b1de-019cf6b56da5" providerId="ADAL" clId="{154816C8-82C4-4E4B-ADDD-BBC9EE556CCD}" dt="2025-02-06T06:22:33.392" v="127" actId="20577"/>
        <pc:sldMkLst>
          <pc:docMk/>
          <pc:sldMk cId="3448258732" sldId="2147378722"/>
        </pc:sldMkLst>
        <pc:spChg chg="mod">
          <ac:chgData name="内山 裕弥" userId="8d34b9d0-ec49-418d-b1de-019cf6b56da5" providerId="ADAL" clId="{154816C8-82C4-4E4B-ADDD-BBC9EE556CCD}" dt="2025-02-06T06:22:33.392" v="127" actId="20577"/>
          <ac:spMkLst>
            <pc:docMk/>
            <pc:sldMk cId="3448258732" sldId="2147378722"/>
            <ac:spMk id="10" creationId="{80E6EF29-A9F8-46B2-8DDE-5092A65E485F}"/>
          </ac:spMkLst>
        </pc:spChg>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448258732" sldId="2147378722"/>
                <pc2:cmMk id="{937D6578-3BB9-46B5-B6E5-27DA3A3B0A27}"/>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448258732" sldId="2147378722"/>
                <pc2:cmMk id="{39E4EB80-B43C-431F-8FF3-4A71F93B1568}"/>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448258732" sldId="2147378722"/>
                <pc2:cmMk id="{9823C489-EA8B-4909-AB0E-DC58679D75FD}"/>
              </pc2:cmMkLst>
            </pc226:cmChg>
          </p:ext>
        </pc:extLst>
      </pc:sldChg>
      <pc:sldChg chg="delCm">
        <pc:chgData name="内山 裕弥" userId="8d34b9d0-ec49-418d-b1de-019cf6b56da5" providerId="ADAL" clId="{154816C8-82C4-4E4B-ADDD-BBC9EE556CCD}" dt="2025-02-06T05:58:03.109" v="17"/>
        <pc:sldMkLst>
          <pc:docMk/>
          <pc:sldMk cId="1353841146" sldId="2147378723"/>
        </pc:sldMkLst>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1353841146" sldId="2147378723"/>
                <pc2:cmMk id="{CEE12A35-6292-48C3-8259-D3721C619490}"/>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1353841146" sldId="2147378723"/>
                <pc2:cmMk id="{ED708786-9D43-4DD6-8029-9FF2A10E3AC9}"/>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1353841146" sldId="2147378723"/>
                <pc2:cmMk id="{6FDCEED2-BE41-4DF6-9C4F-CEF72E4B8D9E}"/>
              </pc2:cmMkLst>
            </pc226:cmChg>
          </p:ext>
        </pc:extLst>
      </pc:sldChg>
      <pc:sldChg chg="delCm">
        <pc:chgData name="内山 裕弥" userId="8d34b9d0-ec49-418d-b1de-019cf6b56da5" providerId="ADAL" clId="{154816C8-82C4-4E4B-ADDD-BBC9EE556CCD}" dt="2025-02-06T05:58:03.109" v="17"/>
        <pc:sldMkLst>
          <pc:docMk/>
          <pc:sldMk cId="3748599133" sldId="2147378724"/>
        </pc:sldMkLst>
        <pc:extLst>
          <p:ext xmlns:p="http://schemas.openxmlformats.org/presentationml/2006/main" uri="{D6D511B9-2390-475A-947B-AFAB55BFBCF1}">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748599133" sldId="2147378724"/>
                <pc2:cmMk id="{3ECCBC82-BDD0-4451-A510-04C5494EDD4C}"/>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748599133" sldId="2147378724"/>
                <pc2:cmMk id="{048F56C4-2F03-4FA1-9110-36B612DCC18B}"/>
              </pc2:cmMkLst>
            </pc226:cmChg>
            <pc226:cmChg xmlns:pc226="http://schemas.microsoft.com/office/powerpoint/2022/06/main/command" chg="del">
              <pc226:chgData name="内山 裕弥" userId="8d34b9d0-ec49-418d-b1de-019cf6b56da5" providerId="ADAL" clId="{154816C8-82C4-4E4B-ADDD-BBC9EE556CCD}" dt="2025-02-06T05:58:03.109" v="17"/>
              <pc2:cmMkLst xmlns:pc2="http://schemas.microsoft.com/office/powerpoint/2019/9/main/command">
                <pc:docMk/>
                <pc:sldMk cId="3748599133" sldId="2147378724"/>
                <pc2:cmMk id="{DC6D3DCF-DB84-4449-AAAD-E3A403F8CFF0}"/>
              </pc2:cmMkLst>
            </pc226:cmChg>
          </p:ext>
        </pc:extLst>
      </pc:sldChg>
      <pc:sldChg chg="add">
        <pc:chgData name="内山 裕弥" userId="8d34b9d0-ec49-418d-b1de-019cf6b56da5" providerId="ADAL" clId="{154816C8-82C4-4E4B-ADDD-BBC9EE556CCD}" dt="2025-02-06T05:59:38.723" v="26" actId="2890"/>
        <pc:sldMkLst>
          <pc:docMk/>
          <pc:sldMk cId="2274346092" sldId="2147378725"/>
        </pc:sldMkLst>
      </pc:sldChg>
      <pc:sldChg chg="add del">
        <pc:chgData name="内山 裕弥" userId="8d34b9d0-ec49-418d-b1de-019cf6b56da5" providerId="ADAL" clId="{154816C8-82C4-4E4B-ADDD-BBC9EE556CCD}" dt="2025-02-06T06:00:48.125" v="36" actId="2890"/>
        <pc:sldMkLst>
          <pc:docMk/>
          <pc:sldMk cId="856863220" sldId="2147378726"/>
        </pc:sldMkLst>
      </pc:sldChg>
      <pc:sldChg chg="modSp mod">
        <pc:chgData name="内山 裕弥" userId="8d34b9d0-ec49-418d-b1de-019cf6b56da5" providerId="ADAL" clId="{154816C8-82C4-4E4B-ADDD-BBC9EE556CCD}" dt="2025-02-07T06:57:13.522" v="2816" actId="27636"/>
        <pc:sldMkLst>
          <pc:docMk/>
          <pc:sldMk cId="2425091294" sldId="2147378727"/>
        </pc:sldMkLst>
        <pc:spChg chg="mod">
          <ac:chgData name="内山 裕弥" userId="8d34b9d0-ec49-418d-b1de-019cf6b56da5" providerId="ADAL" clId="{154816C8-82C4-4E4B-ADDD-BBC9EE556CCD}" dt="2025-02-07T06:57:13.522" v="2816" actId="27636"/>
          <ac:spMkLst>
            <pc:docMk/>
            <pc:sldMk cId="2425091294" sldId="2147378727"/>
            <ac:spMk id="17" creationId="{ED5B4037-6A33-091F-CAB0-26A3BC43E5EE}"/>
          </ac:spMkLst>
        </pc:spChg>
      </pc:sldChg>
      <pc:sldChg chg="modSp mod">
        <pc:chgData name="内山 裕弥" userId="8d34b9d0-ec49-418d-b1de-019cf6b56da5" providerId="ADAL" clId="{154816C8-82C4-4E4B-ADDD-BBC9EE556CCD}" dt="2025-02-07T06:57:13.531" v="2818" actId="27636"/>
        <pc:sldMkLst>
          <pc:docMk/>
          <pc:sldMk cId="1108136930" sldId="2147378728"/>
        </pc:sldMkLst>
        <pc:spChg chg="mod">
          <ac:chgData name="内山 裕弥" userId="8d34b9d0-ec49-418d-b1de-019cf6b56da5" providerId="ADAL" clId="{154816C8-82C4-4E4B-ADDD-BBC9EE556CCD}" dt="2025-02-07T06:57:13.531" v="2818" actId="27636"/>
          <ac:spMkLst>
            <pc:docMk/>
            <pc:sldMk cId="1108136930" sldId="2147378728"/>
            <ac:spMk id="11" creationId="{5B8ABDA1-3D2A-BE6F-2D47-4B44E4CE9142}"/>
          </ac:spMkLst>
        </pc:spChg>
      </pc:sldChg>
      <pc:sldChg chg="modSp mod">
        <pc:chgData name="内山 裕弥" userId="8d34b9d0-ec49-418d-b1de-019cf6b56da5" providerId="ADAL" clId="{154816C8-82C4-4E4B-ADDD-BBC9EE556CCD}" dt="2025-02-07T06:57:13.542" v="2819" actId="27636"/>
        <pc:sldMkLst>
          <pc:docMk/>
          <pc:sldMk cId="2933890016" sldId="2147378729"/>
        </pc:sldMkLst>
        <pc:spChg chg="mod">
          <ac:chgData name="内山 裕弥" userId="8d34b9d0-ec49-418d-b1de-019cf6b56da5" providerId="ADAL" clId="{154816C8-82C4-4E4B-ADDD-BBC9EE556CCD}" dt="2025-02-07T06:57:13.542" v="2819" actId="27636"/>
          <ac:spMkLst>
            <pc:docMk/>
            <pc:sldMk cId="2933890016" sldId="2147378729"/>
            <ac:spMk id="11" creationId="{5B8ABDA1-3D2A-BE6F-2D47-4B44E4CE9142}"/>
          </ac:spMkLst>
        </pc:spChg>
      </pc:sldChg>
      <pc:sldChg chg="modSp mod">
        <pc:chgData name="内山 裕弥" userId="8d34b9d0-ec49-418d-b1de-019cf6b56da5" providerId="ADAL" clId="{154816C8-82C4-4E4B-ADDD-BBC9EE556CCD}" dt="2025-02-07T06:57:13.546" v="2821" actId="27636"/>
        <pc:sldMkLst>
          <pc:docMk/>
          <pc:sldMk cId="866572055" sldId="2147378731"/>
        </pc:sldMkLst>
        <pc:spChg chg="mod">
          <ac:chgData name="内山 裕弥" userId="8d34b9d0-ec49-418d-b1de-019cf6b56da5" providerId="ADAL" clId="{154816C8-82C4-4E4B-ADDD-BBC9EE556CCD}" dt="2025-02-07T06:57:13.546" v="2821" actId="27636"/>
          <ac:spMkLst>
            <pc:docMk/>
            <pc:sldMk cId="866572055" sldId="2147378731"/>
            <ac:spMk id="11" creationId="{5B8ABDA1-3D2A-BE6F-2D47-4B44E4CE9142}"/>
          </ac:spMkLst>
        </pc:spChg>
      </pc:sldChg>
      <pc:sldChg chg="modSp mod">
        <pc:chgData name="内山 裕弥" userId="8d34b9d0-ec49-418d-b1de-019cf6b56da5" providerId="ADAL" clId="{154816C8-82C4-4E4B-ADDD-BBC9EE556CCD}" dt="2025-02-07T06:57:13.557" v="2822" actId="27636"/>
        <pc:sldMkLst>
          <pc:docMk/>
          <pc:sldMk cId="2588649303" sldId="2147378732"/>
        </pc:sldMkLst>
        <pc:spChg chg="mod">
          <ac:chgData name="内山 裕弥" userId="8d34b9d0-ec49-418d-b1de-019cf6b56da5" providerId="ADAL" clId="{154816C8-82C4-4E4B-ADDD-BBC9EE556CCD}" dt="2025-02-07T06:57:13.557" v="2822" actId="27636"/>
          <ac:spMkLst>
            <pc:docMk/>
            <pc:sldMk cId="2588649303" sldId="2147378732"/>
            <ac:spMk id="11" creationId="{5B8ABDA1-3D2A-BE6F-2D47-4B44E4CE9142}"/>
          </ac:spMkLst>
        </pc:spChg>
      </pc:sldChg>
      <pc:sldChg chg="modSp mod">
        <pc:chgData name="内山 裕弥" userId="8d34b9d0-ec49-418d-b1de-019cf6b56da5" providerId="ADAL" clId="{154816C8-82C4-4E4B-ADDD-BBC9EE556CCD}" dt="2025-02-07T06:57:13.589" v="2826" actId="27636"/>
        <pc:sldMkLst>
          <pc:docMk/>
          <pc:sldMk cId="2642190918" sldId="2147378739"/>
        </pc:sldMkLst>
        <pc:spChg chg="mod">
          <ac:chgData name="内山 裕弥" userId="8d34b9d0-ec49-418d-b1de-019cf6b56da5" providerId="ADAL" clId="{154816C8-82C4-4E4B-ADDD-BBC9EE556CCD}" dt="2025-02-07T06:57:13.589" v="2826" actId="27636"/>
          <ac:spMkLst>
            <pc:docMk/>
            <pc:sldMk cId="2642190918" sldId="2147378739"/>
            <ac:spMk id="6" creationId="{71206BDE-1A08-08E6-655E-57D44EBA924B}"/>
          </ac:spMkLst>
        </pc:spChg>
      </pc:sldChg>
      <pc:sldChg chg="modSp mod addCm">
        <pc:chgData name="内山 裕弥" userId="8d34b9d0-ec49-418d-b1de-019cf6b56da5" providerId="ADAL" clId="{154816C8-82C4-4E4B-ADDD-BBC9EE556CCD}" dt="2025-02-07T05:45:45.754" v="452"/>
        <pc:sldMkLst>
          <pc:docMk/>
          <pc:sldMk cId="165971776" sldId="2147378740"/>
        </pc:sldMkLst>
        <pc:spChg chg="mod">
          <ac:chgData name="内山 裕弥" userId="8d34b9d0-ec49-418d-b1de-019cf6b56da5" providerId="ADAL" clId="{154816C8-82C4-4E4B-ADDD-BBC9EE556CCD}" dt="2025-02-07T05:42:30.198" v="298" actId="21"/>
          <ac:spMkLst>
            <pc:docMk/>
            <pc:sldMk cId="165971776" sldId="2147378740"/>
            <ac:spMk id="3" creationId="{D69F45AB-97DA-86D6-7B3F-F21CC23CCBBD}"/>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5:45.754" v="452"/>
              <pc2:cmMkLst xmlns:pc2="http://schemas.microsoft.com/office/powerpoint/2019/9/main/command">
                <pc:docMk/>
                <pc:sldMk cId="165971776" sldId="2147378740"/>
                <pc2:cmMk id="{26267A6C-3EDE-4890-84B7-42FE5DC3BD08}"/>
              </pc2:cmMkLst>
            </pc226:cmChg>
          </p:ext>
        </pc:extLst>
      </pc:sldChg>
      <pc:sldChg chg="modSp mod addCm">
        <pc:chgData name="内山 裕弥" userId="8d34b9d0-ec49-418d-b1de-019cf6b56da5" providerId="ADAL" clId="{154816C8-82C4-4E4B-ADDD-BBC9EE556CCD}" dt="2025-02-07T06:57:13.595" v="2827" actId="27636"/>
        <pc:sldMkLst>
          <pc:docMk/>
          <pc:sldMk cId="3556400781" sldId="2147378741"/>
        </pc:sldMkLst>
        <pc:spChg chg="mod">
          <ac:chgData name="内山 裕弥" userId="8d34b9d0-ec49-418d-b1de-019cf6b56da5" providerId="ADAL" clId="{154816C8-82C4-4E4B-ADDD-BBC9EE556CCD}" dt="2025-02-07T06:57:13.595" v="2827" actId="27636"/>
          <ac:spMkLst>
            <pc:docMk/>
            <pc:sldMk cId="3556400781" sldId="2147378741"/>
            <ac:spMk id="6" creationId="{85E02E86-1857-0430-484E-BB6E2039FE47}"/>
          </ac:spMkLst>
        </pc:spChg>
        <pc:graphicFrameChg chg="modGraphic">
          <ac:chgData name="内山 裕弥" userId="8d34b9d0-ec49-418d-b1de-019cf6b56da5" providerId="ADAL" clId="{154816C8-82C4-4E4B-ADDD-BBC9EE556CCD}" dt="2025-02-07T05:45:22.010" v="450" actId="20577"/>
          <ac:graphicFrameMkLst>
            <pc:docMk/>
            <pc:sldMk cId="3556400781" sldId="2147378741"/>
            <ac:graphicFrameMk id="3" creationId="{1E352AD7-4D05-33EE-61E0-3F07FA0F915F}"/>
          </ac:graphicFrameMkLst>
        </pc:graphicFrame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5:34.120" v="451"/>
              <pc2:cmMkLst xmlns:pc2="http://schemas.microsoft.com/office/powerpoint/2019/9/main/command">
                <pc:docMk/>
                <pc:sldMk cId="3556400781" sldId="2147378741"/>
                <pc2:cmMk id="{399B2814-BE3D-4650-98B5-90921052AAC8}"/>
              </pc2:cmMkLst>
            </pc226:cmChg>
          </p:ext>
        </pc:extLst>
      </pc:sldChg>
      <pc:sldChg chg="modSp mod addCm">
        <pc:chgData name="内山 裕弥" userId="8d34b9d0-ec49-418d-b1de-019cf6b56da5" providerId="ADAL" clId="{154816C8-82C4-4E4B-ADDD-BBC9EE556CCD}" dt="2025-02-07T06:57:13.624" v="2831" actId="27636"/>
        <pc:sldMkLst>
          <pc:docMk/>
          <pc:sldMk cId="4237138605" sldId="2147378742"/>
        </pc:sldMkLst>
        <pc:spChg chg="mod">
          <ac:chgData name="内山 裕弥" userId="8d34b9d0-ec49-418d-b1de-019cf6b56da5" providerId="ADAL" clId="{154816C8-82C4-4E4B-ADDD-BBC9EE556CCD}" dt="2025-02-07T05:47:49.759" v="472" actId="20577"/>
          <ac:spMkLst>
            <pc:docMk/>
            <pc:sldMk cId="4237138605" sldId="2147378742"/>
            <ac:spMk id="9" creationId="{D22A0A06-D5A8-4A1A-B66F-2A8EDBD644F1}"/>
          </ac:spMkLst>
        </pc:spChg>
        <pc:spChg chg="mod">
          <ac:chgData name="内山 裕弥" userId="8d34b9d0-ec49-418d-b1de-019cf6b56da5" providerId="ADAL" clId="{154816C8-82C4-4E4B-ADDD-BBC9EE556CCD}" dt="2025-02-07T06:57:13.624" v="2831" actId="27636"/>
          <ac:spMkLst>
            <pc:docMk/>
            <pc:sldMk cId="4237138605" sldId="2147378742"/>
            <ac:spMk id="17" creationId="{ED5B4037-6A33-091F-CAB0-26A3BC43E5EE}"/>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8:12.903" v="473"/>
              <pc2:cmMkLst xmlns:pc2="http://schemas.microsoft.com/office/powerpoint/2019/9/main/command">
                <pc:docMk/>
                <pc:sldMk cId="4237138605" sldId="2147378742"/>
                <pc2:cmMk id="{A009D21C-C179-4BF7-9895-B69F6E0AED87}"/>
              </pc2:cmMkLst>
            </pc226:cmChg>
            <pc226:cmChg xmlns:pc226="http://schemas.microsoft.com/office/powerpoint/2022/06/main/command" chg="add">
              <pc226:chgData name="内山 裕弥" userId="8d34b9d0-ec49-418d-b1de-019cf6b56da5" providerId="ADAL" clId="{154816C8-82C4-4E4B-ADDD-BBC9EE556CCD}" dt="2025-02-07T05:48:28.955" v="474"/>
              <pc2:cmMkLst xmlns:pc2="http://schemas.microsoft.com/office/powerpoint/2019/9/main/command">
                <pc:docMk/>
                <pc:sldMk cId="4237138605" sldId="2147378742"/>
                <pc2:cmMk id="{77004874-076B-4049-A0E0-7BA24B50A2A9}"/>
              </pc2:cmMkLst>
            </pc226:cmChg>
          </p:ext>
        </pc:extLst>
      </pc:sldChg>
      <pc:sldChg chg="modSp mod">
        <pc:chgData name="内山 裕弥" userId="8d34b9d0-ec49-418d-b1de-019cf6b56da5" providerId="ADAL" clId="{154816C8-82C4-4E4B-ADDD-BBC9EE556CCD}" dt="2025-02-07T06:57:13.640" v="2833" actId="27636"/>
        <pc:sldMkLst>
          <pc:docMk/>
          <pc:sldMk cId="3931455884" sldId="2147378743"/>
        </pc:sldMkLst>
        <pc:spChg chg="mod">
          <ac:chgData name="内山 裕弥" userId="8d34b9d0-ec49-418d-b1de-019cf6b56da5" providerId="ADAL" clId="{154816C8-82C4-4E4B-ADDD-BBC9EE556CCD}" dt="2025-02-07T06:45:07.799" v="1601"/>
          <ac:spMkLst>
            <pc:docMk/>
            <pc:sldMk cId="3931455884" sldId="2147378743"/>
            <ac:spMk id="9" creationId="{D22A0A06-D5A8-4A1A-B66F-2A8EDBD644F1}"/>
          </ac:spMkLst>
        </pc:spChg>
        <pc:spChg chg="mod">
          <ac:chgData name="内山 裕弥" userId="8d34b9d0-ec49-418d-b1de-019cf6b56da5" providerId="ADAL" clId="{154816C8-82C4-4E4B-ADDD-BBC9EE556CCD}" dt="2025-02-07T06:57:13.640" v="2833" actId="27636"/>
          <ac:spMkLst>
            <pc:docMk/>
            <pc:sldMk cId="3931455884" sldId="2147378743"/>
            <ac:spMk id="11" creationId="{5B8ABDA1-3D2A-BE6F-2D47-4B44E4CE9142}"/>
          </ac:spMkLst>
        </pc:spChg>
      </pc:sldChg>
      <pc:sldChg chg="modSp mod">
        <pc:chgData name="内山 裕弥" userId="8d34b9d0-ec49-418d-b1de-019cf6b56da5" providerId="ADAL" clId="{154816C8-82C4-4E4B-ADDD-BBC9EE556CCD}" dt="2025-02-07T06:57:13.630" v="2832" actId="27636"/>
        <pc:sldMkLst>
          <pc:docMk/>
          <pc:sldMk cId="2340429532" sldId="2147378744"/>
        </pc:sldMkLst>
        <pc:spChg chg="mod">
          <ac:chgData name="内山 裕弥" userId="8d34b9d0-ec49-418d-b1de-019cf6b56da5" providerId="ADAL" clId="{154816C8-82C4-4E4B-ADDD-BBC9EE556CCD}" dt="2025-02-07T06:45:05.042" v="1600"/>
          <ac:spMkLst>
            <pc:docMk/>
            <pc:sldMk cId="2340429532" sldId="2147378744"/>
            <ac:spMk id="9" creationId="{D22A0A06-D5A8-4A1A-B66F-2A8EDBD644F1}"/>
          </ac:spMkLst>
        </pc:spChg>
        <pc:spChg chg="mod">
          <ac:chgData name="内山 裕弥" userId="8d34b9d0-ec49-418d-b1de-019cf6b56da5" providerId="ADAL" clId="{154816C8-82C4-4E4B-ADDD-BBC9EE556CCD}" dt="2025-02-07T06:57:13.630" v="2832" actId="27636"/>
          <ac:spMkLst>
            <pc:docMk/>
            <pc:sldMk cId="2340429532" sldId="2147378744"/>
            <ac:spMk id="11" creationId="{5B8ABDA1-3D2A-BE6F-2D47-4B44E4CE9142}"/>
          </ac:spMkLst>
        </pc:spChg>
      </pc:sldChg>
      <pc:sldChg chg="modSp mod">
        <pc:chgData name="内山 裕弥" userId="8d34b9d0-ec49-418d-b1de-019cf6b56da5" providerId="ADAL" clId="{154816C8-82C4-4E4B-ADDD-BBC9EE556CCD}" dt="2025-02-07T06:45:10.050" v="1602"/>
        <pc:sldMkLst>
          <pc:docMk/>
          <pc:sldMk cId="2271814075" sldId="2147378745"/>
        </pc:sldMkLst>
        <pc:spChg chg="mod">
          <ac:chgData name="内山 裕弥" userId="8d34b9d0-ec49-418d-b1de-019cf6b56da5" providerId="ADAL" clId="{154816C8-82C4-4E4B-ADDD-BBC9EE556CCD}" dt="2025-02-07T06:45:10.050" v="1602"/>
          <ac:spMkLst>
            <pc:docMk/>
            <pc:sldMk cId="2271814075" sldId="2147378745"/>
            <ac:spMk id="9" creationId="{D22A0A06-D5A8-4A1A-B66F-2A8EDBD644F1}"/>
          </ac:spMkLst>
        </pc:spChg>
      </pc:sldChg>
      <pc:sldChg chg="addCm">
        <pc:chgData name="内山 裕弥" userId="8d34b9d0-ec49-418d-b1de-019cf6b56da5" providerId="ADAL" clId="{154816C8-82C4-4E4B-ADDD-BBC9EE556CCD}" dt="2025-02-07T06:45:25.260" v="1603"/>
        <pc:sldMkLst>
          <pc:docMk/>
          <pc:sldMk cId="478136210" sldId="2147378746"/>
        </pc:sldMkLst>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5:25.260" v="1603"/>
              <pc2:cmMkLst xmlns:pc2="http://schemas.microsoft.com/office/powerpoint/2019/9/main/command">
                <pc:docMk/>
                <pc:sldMk cId="478136210" sldId="2147378746"/>
                <pc2:cmMk id="{BE5279C2-6FB9-4789-8A4B-9B7D06857022}"/>
              </pc2:cmMkLst>
            </pc226:cmChg>
          </p:ext>
        </pc:extLst>
      </pc:sldChg>
      <pc:sldChg chg="modSp mod addCm">
        <pc:chgData name="内山 裕弥" userId="8d34b9d0-ec49-418d-b1de-019cf6b56da5" providerId="ADAL" clId="{154816C8-82C4-4E4B-ADDD-BBC9EE556CCD}" dt="2025-02-07T06:57:13.652" v="2835" actId="27636"/>
        <pc:sldMkLst>
          <pc:docMk/>
          <pc:sldMk cId="177420526" sldId="2147378748"/>
        </pc:sldMkLst>
        <pc:spChg chg="mod">
          <ac:chgData name="内山 裕弥" userId="8d34b9d0-ec49-418d-b1de-019cf6b56da5" providerId="ADAL" clId="{154816C8-82C4-4E4B-ADDD-BBC9EE556CCD}" dt="2025-02-07T06:57:13.652" v="2835" actId="27636"/>
          <ac:spMkLst>
            <pc:docMk/>
            <pc:sldMk cId="177420526" sldId="2147378748"/>
            <ac:spMk id="8" creationId="{E5452BB1-3ED0-4261-B76D-A910259B86CD}"/>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49:41.457" v="475"/>
              <pc2:cmMkLst xmlns:pc2="http://schemas.microsoft.com/office/powerpoint/2019/9/main/command">
                <pc:docMk/>
                <pc:sldMk cId="177420526" sldId="2147378748"/>
                <pc2:cmMk id="{B6A99A4A-1FF6-4BA3-9442-C5A0CBC5DA44}"/>
              </pc2:cmMkLst>
            </pc226:cmChg>
          </p:ext>
        </pc:extLst>
      </pc:sldChg>
      <pc:sldChg chg="modSp mod addCm">
        <pc:chgData name="内山 裕弥" userId="8d34b9d0-ec49-418d-b1de-019cf6b56da5" providerId="ADAL" clId="{154816C8-82C4-4E4B-ADDD-BBC9EE556CCD}" dt="2025-02-07T06:57:13.652" v="2836" actId="27636"/>
        <pc:sldMkLst>
          <pc:docMk/>
          <pc:sldMk cId="2929259541" sldId="2147378749"/>
        </pc:sldMkLst>
        <pc:spChg chg="mod">
          <ac:chgData name="内山 裕弥" userId="8d34b9d0-ec49-418d-b1de-019cf6b56da5" providerId="ADAL" clId="{154816C8-82C4-4E4B-ADDD-BBC9EE556CCD}" dt="2025-02-07T06:45:47.785" v="1604"/>
          <ac:spMkLst>
            <pc:docMk/>
            <pc:sldMk cId="2929259541" sldId="2147378749"/>
            <ac:spMk id="9" creationId="{D22A0A06-D5A8-4A1A-B66F-2A8EDBD644F1}"/>
          </ac:spMkLst>
        </pc:spChg>
        <pc:spChg chg="mod">
          <ac:chgData name="内山 裕弥" userId="8d34b9d0-ec49-418d-b1de-019cf6b56da5" providerId="ADAL" clId="{154816C8-82C4-4E4B-ADDD-BBC9EE556CCD}" dt="2025-02-07T06:57:13.652" v="2836" actId="27636"/>
          <ac:spMkLst>
            <pc:docMk/>
            <pc:sldMk cId="2929259541" sldId="2147378749"/>
            <ac:spMk id="10" creationId="{09B8CBA2-03F1-FCA3-5EF4-E163C51AD89A}"/>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5:50:03.080" v="476"/>
              <pc2:cmMkLst xmlns:pc2="http://schemas.microsoft.com/office/powerpoint/2019/9/main/command">
                <pc:docMk/>
                <pc:sldMk cId="2929259541" sldId="2147378749"/>
                <pc2:cmMk id="{C05411B0-08AD-4B5D-94B3-4EC875BC15B8}"/>
              </pc2:cmMkLst>
            </pc226:cmChg>
          </p:ext>
        </pc:extLst>
      </pc:sldChg>
      <pc:sldChg chg="modSp mod">
        <pc:chgData name="内山 裕弥" userId="8d34b9d0-ec49-418d-b1de-019cf6b56da5" providerId="ADAL" clId="{154816C8-82C4-4E4B-ADDD-BBC9EE556CCD}" dt="2025-02-07T06:57:13.706" v="2844" actId="27636"/>
        <pc:sldMkLst>
          <pc:docMk/>
          <pc:sldMk cId="4044403005" sldId="2147378750"/>
        </pc:sldMkLst>
        <pc:spChg chg="mod">
          <ac:chgData name="内山 裕弥" userId="8d34b9d0-ec49-418d-b1de-019cf6b56da5" providerId="ADAL" clId="{154816C8-82C4-4E4B-ADDD-BBC9EE556CCD}" dt="2025-02-07T06:47:31.749" v="1628" actId="20577"/>
          <ac:spMkLst>
            <pc:docMk/>
            <pc:sldMk cId="4044403005" sldId="2147378750"/>
            <ac:spMk id="4" creationId="{2C3BBDD6-C18E-A8D5-D35C-ABB97297C5DD}"/>
          </ac:spMkLst>
        </pc:spChg>
        <pc:spChg chg="mod">
          <ac:chgData name="内山 裕弥" userId="8d34b9d0-ec49-418d-b1de-019cf6b56da5" providerId="ADAL" clId="{154816C8-82C4-4E4B-ADDD-BBC9EE556CCD}" dt="2025-02-07T06:57:13.706" v="2844" actId="27636"/>
          <ac:spMkLst>
            <pc:docMk/>
            <pc:sldMk cId="4044403005" sldId="2147378750"/>
            <ac:spMk id="9" creationId="{43C330CB-8A4D-F4A2-AFFC-48CA4FB9C719}"/>
          </ac:spMkLst>
        </pc:spChg>
      </pc:sldChg>
      <pc:sldChg chg="modSp mod">
        <pc:chgData name="内山 裕弥" userId="8d34b9d0-ec49-418d-b1de-019cf6b56da5" providerId="ADAL" clId="{154816C8-82C4-4E4B-ADDD-BBC9EE556CCD}" dt="2025-02-07T06:57:13.652" v="2837" actId="27636"/>
        <pc:sldMkLst>
          <pc:docMk/>
          <pc:sldMk cId="1641424686" sldId="2147378751"/>
        </pc:sldMkLst>
        <pc:spChg chg="mod">
          <ac:chgData name="内山 裕弥" userId="8d34b9d0-ec49-418d-b1de-019cf6b56da5" providerId="ADAL" clId="{154816C8-82C4-4E4B-ADDD-BBC9EE556CCD}" dt="2025-02-07T06:57:13.652" v="2837" actId="27636"/>
          <ac:spMkLst>
            <pc:docMk/>
            <pc:sldMk cId="1641424686" sldId="2147378751"/>
            <ac:spMk id="6" creationId="{71206BDE-1A08-08E6-655E-57D44EBA924B}"/>
          </ac:spMkLst>
        </pc:spChg>
      </pc:sldChg>
      <pc:sldChg chg="modSp mod">
        <pc:chgData name="内山 裕弥" userId="8d34b9d0-ec49-418d-b1de-019cf6b56da5" providerId="ADAL" clId="{154816C8-82C4-4E4B-ADDD-BBC9EE556CCD}" dt="2025-02-07T06:47:10.860" v="1615" actId="20577"/>
        <pc:sldMkLst>
          <pc:docMk/>
          <pc:sldMk cId="7942078" sldId="2147378752"/>
        </pc:sldMkLst>
        <pc:spChg chg="mod">
          <ac:chgData name="内山 裕弥" userId="8d34b9d0-ec49-418d-b1de-019cf6b56da5" providerId="ADAL" clId="{154816C8-82C4-4E4B-ADDD-BBC9EE556CCD}" dt="2025-02-07T06:47:10.860" v="1615" actId="20577"/>
          <ac:spMkLst>
            <pc:docMk/>
            <pc:sldMk cId="7942078" sldId="2147378752"/>
            <ac:spMk id="9" creationId="{D22A0A06-D5A8-4A1A-B66F-2A8EDBD644F1}"/>
          </ac:spMkLst>
        </pc:spChg>
      </pc:sldChg>
      <pc:sldChg chg="modSp mod">
        <pc:chgData name="内山 裕弥" userId="8d34b9d0-ec49-418d-b1de-019cf6b56da5" providerId="ADAL" clId="{154816C8-82C4-4E4B-ADDD-BBC9EE556CCD}" dt="2025-02-07T06:57:13.669" v="2839" actId="27636"/>
        <pc:sldMkLst>
          <pc:docMk/>
          <pc:sldMk cId="3142788195" sldId="2147378754"/>
        </pc:sldMkLst>
        <pc:spChg chg="mod">
          <ac:chgData name="内山 裕弥" userId="8d34b9d0-ec49-418d-b1de-019cf6b56da5" providerId="ADAL" clId="{154816C8-82C4-4E4B-ADDD-BBC9EE556CCD}" dt="2025-02-07T06:57:13.669" v="2839" actId="27636"/>
          <ac:spMkLst>
            <pc:docMk/>
            <pc:sldMk cId="3142788195" sldId="2147378754"/>
            <ac:spMk id="6" creationId="{85E02E86-1857-0430-484E-BB6E2039FE47}"/>
          </ac:spMkLst>
        </pc:spChg>
        <pc:spChg chg="mod">
          <ac:chgData name="内山 裕弥" userId="8d34b9d0-ec49-418d-b1de-019cf6b56da5" providerId="ADAL" clId="{154816C8-82C4-4E4B-ADDD-BBC9EE556CCD}" dt="2025-02-07T06:47:12.233" v="1616" actId="20577"/>
          <ac:spMkLst>
            <pc:docMk/>
            <pc:sldMk cId="3142788195" sldId="2147378754"/>
            <ac:spMk id="9" creationId="{D22A0A06-D5A8-4A1A-B66F-2A8EDBD644F1}"/>
          </ac:spMkLst>
        </pc:spChg>
      </pc:sldChg>
      <pc:sldChg chg="addSp modSp mod addCm">
        <pc:chgData name="内山 裕弥" userId="8d34b9d0-ec49-418d-b1de-019cf6b56da5" providerId="ADAL" clId="{154816C8-82C4-4E4B-ADDD-BBC9EE556CCD}" dt="2025-02-07T06:57:13.683" v="2840" actId="27636"/>
        <pc:sldMkLst>
          <pc:docMk/>
          <pc:sldMk cId="3278106509" sldId="2147378755"/>
        </pc:sldMkLst>
        <pc:spChg chg="add mod">
          <ac:chgData name="内山 裕弥" userId="8d34b9d0-ec49-418d-b1de-019cf6b56da5" providerId="ADAL" clId="{154816C8-82C4-4E4B-ADDD-BBC9EE556CCD}" dt="2025-02-07T06:44:35.677" v="1598" actId="20577"/>
          <ac:spMkLst>
            <pc:docMk/>
            <pc:sldMk cId="3278106509" sldId="2147378755"/>
            <ac:spMk id="4" creationId="{9C70D182-E3ED-833A-2988-C7FDBE46B5C2}"/>
          </ac:spMkLst>
        </pc:spChg>
        <pc:spChg chg="mod">
          <ac:chgData name="内山 裕弥" userId="8d34b9d0-ec49-418d-b1de-019cf6b56da5" providerId="ADAL" clId="{154816C8-82C4-4E4B-ADDD-BBC9EE556CCD}" dt="2025-02-07T06:57:13.683" v="2840" actId="27636"/>
          <ac:spMkLst>
            <pc:docMk/>
            <pc:sldMk cId="3278106509" sldId="2147378755"/>
            <ac:spMk id="6" creationId="{B8A4D455-177B-0F48-C20A-E9924256F15C}"/>
          </ac:spMkLst>
        </pc:spChg>
        <pc:spChg chg="mod">
          <ac:chgData name="内山 裕弥" userId="8d34b9d0-ec49-418d-b1de-019cf6b56da5" providerId="ADAL" clId="{154816C8-82C4-4E4B-ADDD-BBC9EE556CCD}" dt="2025-02-07T06:47:14.614" v="1618" actId="20577"/>
          <ac:spMkLst>
            <pc:docMk/>
            <pc:sldMk cId="3278106509" sldId="2147378755"/>
            <ac:spMk id="9" creationId="{D22A0A06-D5A8-4A1A-B66F-2A8EDBD644F1}"/>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4:43.290" v="1599"/>
              <pc2:cmMkLst xmlns:pc2="http://schemas.microsoft.com/office/powerpoint/2019/9/main/command">
                <pc:docMk/>
                <pc:sldMk cId="3278106509" sldId="2147378755"/>
                <pc2:cmMk id="{FCCEA4C0-ACE5-42D5-86FE-18AC499EE7B6}"/>
              </pc2:cmMkLst>
            </pc226:cmChg>
          </p:ext>
        </pc:extLst>
      </pc:sldChg>
      <pc:sldChg chg="modSp mod">
        <pc:chgData name="内山 裕弥" userId="8d34b9d0-ec49-418d-b1de-019cf6b56da5" providerId="ADAL" clId="{154816C8-82C4-4E4B-ADDD-BBC9EE556CCD}" dt="2025-02-07T06:57:13.606" v="2828" actId="27636"/>
        <pc:sldMkLst>
          <pc:docMk/>
          <pc:sldMk cId="1359778448" sldId="2147378756"/>
        </pc:sldMkLst>
        <pc:spChg chg="mod">
          <ac:chgData name="内山 裕弥" userId="8d34b9d0-ec49-418d-b1de-019cf6b56da5" providerId="ADAL" clId="{154816C8-82C4-4E4B-ADDD-BBC9EE556CCD}" dt="2025-02-07T06:57:13.606" v="2828" actId="27636"/>
          <ac:spMkLst>
            <pc:docMk/>
            <pc:sldMk cId="1359778448" sldId="2147378756"/>
            <ac:spMk id="2" creationId="{0E5D0AD9-2BA7-E85C-4211-2AC064C1CB7E}"/>
          </ac:spMkLst>
        </pc:spChg>
      </pc:sldChg>
      <pc:sldChg chg="modSp mod">
        <pc:chgData name="内山 裕弥" userId="8d34b9d0-ec49-418d-b1de-019cf6b56da5" providerId="ADAL" clId="{154816C8-82C4-4E4B-ADDD-BBC9EE556CCD}" dt="2025-02-07T06:57:13.606" v="2829" actId="27636"/>
        <pc:sldMkLst>
          <pc:docMk/>
          <pc:sldMk cId="1460307593" sldId="2147378757"/>
        </pc:sldMkLst>
        <pc:spChg chg="mod">
          <ac:chgData name="内山 裕弥" userId="8d34b9d0-ec49-418d-b1de-019cf6b56da5" providerId="ADAL" clId="{154816C8-82C4-4E4B-ADDD-BBC9EE556CCD}" dt="2025-02-07T06:57:13.606" v="2829" actId="27636"/>
          <ac:spMkLst>
            <pc:docMk/>
            <pc:sldMk cId="1460307593" sldId="2147378757"/>
            <ac:spMk id="2" creationId="{0E5D0AD9-2BA7-E85C-4211-2AC064C1CB7E}"/>
          </ac:spMkLst>
        </pc:spChg>
      </pc:sldChg>
      <pc:sldChg chg="modSp mod">
        <pc:chgData name="内山 裕弥" userId="8d34b9d0-ec49-418d-b1de-019cf6b56da5" providerId="ADAL" clId="{154816C8-82C4-4E4B-ADDD-BBC9EE556CCD}" dt="2025-02-07T06:57:13.715" v="2845" actId="27636"/>
        <pc:sldMkLst>
          <pc:docMk/>
          <pc:sldMk cId="2766661592" sldId="2147378759"/>
        </pc:sldMkLst>
        <pc:spChg chg="mod">
          <ac:chgData name="内山 裕弥" userId="8d34b9d0-ec49-418d-b1de-019cf6b56da5" providerId="ADAL" clId="{154816C8-82C4-4E4B-ADDD-BBC9EE556CCD}" dt="2025-02-07T06:57:13.715" v="2845" actId="27636"/>
          <ac:spMkLst>
            <pc:docMk/>
            <pc:sldMk cId="2766661592" sldId="2147378759"/>
            <ac:spMk id="17" creationId="{ED5B4037-6A33-091F-CAB0-26A3BC43E5EE}"/>
          </ac:spMkLst>
        </pc:spChg>
      </pc:sldChg>
      <pc:sldChg chg="modSp mod">
        <pc:chgData name="内山 裕弥" userId="8d34b9d0-ec49-418d-b1de-019cf6b56da5" providerId="ADAL" clId="{154816C8-82C4-4E4B-ADDD-BBC9EE556CCD}" dt="2025-02-07T06:57:13.734" v="2847" actId="27636"/>
        <pc:sldMkLst>
          <pc:docMk/>
          <pc:sldMk cId="3009745310" sldId="2147378767"/>
        </pc:sldMkLst>
        <pc:spChg chg="mod">
          <ac:chgData name="内山 裕弥" userId="8d34b9d0-ec49-418d-b1de-019cf6b56da5" providerId="ADAL" clId="{154816C8-82C4-4E4B-ADDD-BBC9EE556CCD}" dt="2025-02-07T06:57:13.734" v="2847" actId="27636"/>
          <ac:spMkLst>
            <pc:docMk/>
            <pc:sldMk cId="3009745310" sldId="2147378767"/>
            <ac:spMk id="9" creationId="{43C330CB-8A4D-F4A2-AFFC-48CA4FB9C719}"/>
          </ac:spMkLst>
        </pc:spChg>
      </pc:sldChg>
      <pc:sldChg chg="modSp mod">
        <pc:chgData name="内山 裕弥" userId="8d34b9d0-ec49-418d-b1de-019cf6b56da5" providerId="ADAL" clId="{154816C8-82C4-4E4B-ADDD-BBC9EE556CCD}" dt="2025-02-07T06:57:13.744" v="2848" actId="27636"/>
        <pc:sldMkLst>
          <pc:docMk/>
          <pc:sldMk cId="1343814349" sldId="2147378768"/>
        </pc:sldMkLst>
        <pc:spChg chg="mod">
          <ac:chgData name="内山 裕弥" userId="8d34b9d0-ec49-418d-b1de-019cf6b56da5" providerId="ADAL" clId="{154816C8-82C4-4E4B-ADDD-BBC9EE556CCD}" dt="2025-02-07T06:57:13.744" v="2848" actId="27636"/>
          <ac:spMkLst>
            <pc:docMk/>
            <pc:sldMk cId="1343814349" sldId="2147378768"/>
            <ac:spMk id="6" creationId="{71206BDE-1A08-08E6-655E-57D44EBA924B}"/>
          </ac:spMkLst>
        </pc:spChg>
      </pc:sldChg>
      <pc:sldChg chg="modSp mod">
        <pc:chgData name="内山 裕弥" userId="8d34b9d0-ec49-418d-b1de-019cf6b56da5" providerId="ADAL" clId="{154816C8-82C4-4E4B-ADDD-BBC9EE556CCD}" dt="2025-02-07T06:57:13.715" v="2846" actId="27636"/>
        <pc:sldMkLst>
          <pc:docMk/>
          <pc:sldMk cId="4268087364" sldId="2147378769"/>
        </pc:sldMkLst>
        <pc:spChg chg="mod">
          <ac:chgData name="内山 裕弥" userId="8d34b9d0-ec49-418d-b1de-019cf6b56da5" providerId="ADAL" clId="{154816C8-82C4-4E4B-ADDD-BBC9EE556CCD}" dt="2025-02-07T06:57:13.715" v="2846" actId="27636"/>
          <ac:spMkLst>
            <pc:docMk/>
            <pc:sldMk cId="4268087364" sldId="2147378769"/>
            <ac:spMk id="17" creationId="{ED5B4037-6A33-091F-CAB0-26A3BC43E5EE}"/>
          </ac:spMkLst>
        </pc:spChg>
      </pc:sldChg>
      <pc:sldChg chg="modSp mod">
        <pc:chgData name="内山 裕弥" userId="8d34b9d0-ec49-418d-b1de-019cf6b56da5" providerId="ADAL" clId="{154816C8-82C4-4E4B-ADDD-BBC9EE556CCD}" dt="2025-02-07T06:57:13.643" v="2834" actId="27636"/>
        <pc:sldMkLst>
          <pc:docMk/>
          <pc:sldMk cId="2779406652" sldId="2147378770"/>
        </pc:sldMkLst>
        <pc:spChg chg="mod">
          <ac:chgData name="内山 裕弥" userId="8d34b9d0-ec49-418d-b1de-019cf6b56da5" providerId="ADAL" clId="{154816C8-82C4-4E4B-ADDD-BBC9EE556CCD}" dt="2025-02-07T06:57:13.643" v="2834" actId="27636"/>
          <ac:spMkLst>
            <pc:docMk/>
            <pc:sldMk cId="2779406652" sldId="2147378770"/>
            <ac:spMk id="7" creationId="{7F81DA45-2EDB-3376-10B4-C61FAB506B4F}"/>
          </ac:spMkLst>
        </pc:spChg>
      </pc:sldChg>
      <pc:sldChg chg="addSp delSp modSp add mod addCm">
        <pc:chgData name="内山 裕弥" userId="8d34b9d0-ec49-418d-b1de-019cf6b56da5" providerId="ADAL" clId="{154816C8-82C4-4E4B-ADDD-BBC9EE556CCD}" dt="2025-02-07T06:57:13.683" v="2841" actId="27636"/>
        <pc:sldMkLst>
          <pc:docMk/>
          <pc:sldMk cId="2192251413" sldId="2147483276"/>
        </pc:sldMkLst>
        <pc:spChg chg="mod">
          <ac:chgData name="内山 裕弥" userId="8d34b9d0-ec49-418d-b1de-019cf6b56da5" providerId="ADAL" clId="{154816C8-82C4-4E4B-ADDD-BBC9EE556CCD}" dt="2025-02-07T06:57:13.683" v="2841" actId="27636"/>
          <ac:spMkLst>
            <pc:docMk/>
            <pc:sldMk cId="2192251413" sldId="2147483276"/>
            <ac:spMk id="6" creationId="{B8A4D455-177B-0F48-C20A-E9924256F15C}"/>
          </ac:spMkLst>
        </pc:spChg>
        <pc:spChg chg="add mod ord">
          <ac:chgData name="内山 裕弥" userId="8d34b9d0-ec49-418d-b1de-019cf6b56da5" providerId="ADAL" clId="{154816C8-82C4-4E4B-ADDD-BBC9EE556CCD}" dt="2025-02-07T06:43:28.504" v="1251" actId="166"/>
          <ac:spMkLst>
            <pc:docMk/>
            <pc:sldMk cId="2192251413" sldId="2147483276"/>
            <ac:spMk id="8" creationId="{7C8E84C0-1CFB-1220-AA61-2E66130F5B32}"/>
          </ac:spMkLst>
        </pc:spChg>
        <pc:spChg chg="mod">
          <ac:chgData name="内山 裕弥" userId="8d34b9d0-ec49-418d-b1de-019cf6b56da5" providerId="ADAL" clId="{154816C8-82C4-4E4B-ADDD-BBC9EE556CCD}" dt="2025-02-07T06:47:25.203" v="1622" actId="20577"/>
          <ac:spMkLst>
            <pc:docMk/>
            <pc:sldMk cId="2192251413" sldId="2147483276"/>
            <ac:spMk id="9" creationId="{D22A0A06-D5A8-4A1A-B66F-2A8EDBD644F1}"/>
          </ac:spMkLst>
        </pc:spChg>
        <pc:graphicFrameChg chg="mod modGraphic">
          <ac:chgData name="内山 裕弥" userId="8d34b9d0-ec49-418d-b1de-019cf6b56da5" providerId="ADAL" clId="{154816C8-82C4-4E4B-ADDD-BBC9EE556CCD}" dt="2025-02-07T06:43:20.983" v="1248" actId="14100"/>
          <ac:graphicFrameMkLst>
            <pc:docMk/>
            <pc:sldMk cId="2192251413" sldId="2147483276"/>
            <ac:graphicFrameMk id="3" creationId="{B77AD93B-2184-6E7E-991B-6FFF513314DB}"/>
          </ac:graphicFrameMkLst>
        </pc:graphicFrameChg>
        <pc:graphicFrameChg chg="add del mod">
          <ac:chgData name="内山 裕弥" userId="8d34b9d0-ec49-418d-b1de-019cf6b56da5" providerId="ADAL" clId="{154816C8-82C4-4E4B-ADDD-BBC9EE556CCD}" dt="2025-02-07T06:43:17.068" v="1247" actId="21"/>
          <ac:graphicFrameMkLst>
            <pc:docMk/>
            <pc:sldMk cId="2192251413" sldId="2147483276"/>
            <ac:graphicFrameMk id="4" creationId="{52AA4510-4D17-8032-A114-D5F2B3CF41AB}"/>
          </ac:graphicFrameMkLst>
        </pc:graphicFrameChg>
        <pc:graphicFrameChg chg="add del mod">
          <ac:chgData name="内山 裕弥" userId="8d34b9d0-ec49-418d-b1de-019cf6b56da5" providerId="ADAL" clId="{154816C8-82C4-4E4B-ADDD-BBC9EE556CCD}" dt="2025-02-07T06:43:17.068" v="1247" actId="21"/>
          <ac:graphicFrameMkLst>
            <pc:docMk/>
            <pc:sldMk cId="2192251413" sldId="2147483276"/>
            <ac:graphicFrameMk id="7" creationId="{ECF1BDFC-9170-6CB8-2E0E-8D4FDE82587E}"/>
          </ac:graphicFrameMkLst>
        </pc:graphicFrameChg>
        <pc:graphicFrameChg chg="add mod">
          <ac:chgData name="内山 裕弥" userId="8d34b9d0-ec49-418d-b1de-019cf6b56da5" providerId="ADAL" clId="{154816C8-82C4-4E4B-ADDD-BBC9EE556CCD}" dt="2025-02-07T06:43:23.721" v="1249" actId="571"/>
          <ac:graphicFrameMkLst>
            <pc:docMk/>
            <pc:sldMk cId="2192251413" sldId="2147483276"/>
            <ac:graphicFrameMk id="10" creationId="{C5F6DA09-76D6-B10B-361F-04956F79EDE5}"/>
          </ac:graphicFrameMkLst>
        </pc:graphicFrameChg>
        <pc:graphicFrameChg chg="add mod">
          <ac:chgData name="内山 裕弥" userId="8d34b9d0-ec49-418d-b1de-019cf6b56da5" providerId="ADAL" clId="{154816C8-82C4-4E4B-ADDD-BBC9EE556CCD}" dt="2025-02-07T06:43:26.164" v="1250" actId="571"/>
          <ac:graphicFrameMkLst>
            <pc:docMk/>
            <pc:sldMk cId="2192251413" sldId="2147483276"/>
            <ac:graphicFrameMk id="11" creationId="{3F5ED731-1608-9D49-AA5B-4D22F31A1F6F}"/>
          </ac:graphicFrameMkLst>
        </pc:graphicFrame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27:20.027" v="512"/>
              <pc2:cmMkLst xmlns:pc2="http://schemas.microsoft.com/office/powerpoint/2019/9/main/command">
                <pc:docMk/>
                <pc:sldMk cId="2192251413" sldId="2147483276"/>
                <pc2:cmMk id="{284BFB41-0210-4B88-A047-2D8C351C36A9}"/>
              </pc2:cmMkLst>
            </pc226:cmChg>
          </p:ext>
        </pc:extLst>
      </pc:sldChg>
      <pc:sldChg chg="modSp add mod addCm">
        <pc:chgData name="内山 裕弥" userId="8d34b9d0-ec49-418d-b1de-019cf6b56da5" providerId="ADAL" clId="{154816C8-82C4-4E4B-ADDD-BBC9EE556CCD}" dt="2025-02-07T06:57:13.669" v="2838" actId="27636"/>
        <pc:sldMkLst>
          <pc:docMk/>
          <pc:sldMk cId="3516192024" sldId="2147483277"/>
        </pc:sldMkLst>
        <pc:spChg chg="mod">
          <ac:chgData name="内山 裕弥" userId="8d34b9d0-ec49-418d-b1de-019cf6b56da5" providerId="ADAL" clId="{154816C8-82C4-4E4B-ADDD-BBC9EE556CCD}" dt="2025-02-07T06:46:49.866" v="1612"/>
          <ac:spMkLst>
            <pc:docMk/>
            <pc:sldMk cId="3516192024" sldId="2147483277"/>
            <ac:spMk id="2" creationId="{CBF10691-58CC-75D5-EA23-B36D933D90D3}"/>
          </ac:spMkLst>
        </pc:spChg>
        <pc:spChg chg="mod">
          <ac:chgData name="内山 裕弥" userId="8d34b9d0-ec49-418d-b1de-019cf6b56da5" providerId="ADAL" clId="{154816C8-82C4-4E4B-ADDD-BBC9EE556CCD}" dt="2025-02-07T06:57:13.669" v="2838" actId="27636"/>
          <ac:spMkLst>
            <pc:docMk/>
            <pc:sldMk cId="3516192024" sldId="2147483277"/>
            <ac:spMk id="6" creationId="{71206BDE-1A08-08E6-655E-57D44EBA924B}"/>
          </ac:spMkLst>
        </pc:spChg>
        <pc:spChg chg="mod">
          <ac:chgData name="内山 裕弥" userId="8d34b9d0-ec49-418d-b1de-019cf6b56da5" providerId="ADAL" clId="{154816C8-82C4-4E4B-ADDD-BBC9EE556CCD}" dt="2025-02-07T06:46:53.212" v="1613" actId="20577"/>
          <ac:spMkLst>
            <pc:docMk/>
            <pc:sldMk cId="3516192024" sldId="2147483277"/>
            <ac:spMk id="9" creationId="{F7DA7227-3724-60C8-1F06-5A8A2F4AF1F8}"/>
          </ac:spMkLst>
        </pc:spChg>
        <pc:extLst>
          <p:ext xmlns:p="http://schemas.openxmlformats.org/presentationml/2006/main" uri="{D6D511B9-2390-475A-947B-AFAB55BFBCF1}">
            <pc226:cmChg xmlns:pc226="http://schemas.microsoft.com/office/powerpoint/2022/06/main/command" chg="add">
              <pc226:chgData name="内山 裕弥" userId="8d34b9d0-ec49-418d-b1de-019cf6b56da5" providerId="ADAL" clId="{154816C8-82C4-4E4B-ADDD-BBC9EE556CCD}" dt="2025-02-07T06:47:01.649" v="1614"/>
              <pc2:cmMkLst xmlns:pc2="http://schemas.microsoft.com/office/powerpoint/2019/9/main/command">
                <pc:docMk/>
                <pc:sldMk cId="3516192024" sldId="2147483277"/>
                <pc2:cmMk id="{426A4EFF-F30E-4A23-8C5F-F935F78456BA}"/>
              </pc2:cmMkLst>
            </pc226:cmChg>
          </p:ext>
        </pc:extLst>
      </pc:sldChg>
      <pc:sldMasterChg chg="modSldLayout">
        <pc:chgData name="内山 裕弥" userId="8d34b9d0-ec49-418d-b1de-019cf6b56da5" providerId="ADAL" clId="{154816C8-82C4-4E4B-ADDD-BBC9EE556CCD}" dt="2025-02-07T06:51:45.235" v="1764" actId="478"/>
        <pc:sldMasterMkLst>
          <pc:docMk/>
          <pc:sldMasterMk cId="2162003807" sldId="2147483755"/>
        </pc:sldMasterMkLst>
        <pc:sldLayoutChg chg="delSp mod">
          <pc:chgData name="内山 裕弥" userId="8d34b9d0-ec49-418d-b1de-019cf6b56da5" providerId="ADAL" clId="{154816C8-82C4-4E4B-ADDD-BBC9EE556CCD}" dt="2025-02-07T06:51:45.235" v="1764" actId="478"/>
          <pc:sldLayoutMkLst>
            <pc:docMk/>
            <pc:sldMasterMk cId="2162003807" sldId="2147483755"/>
            <pc:sldLayoutMk cId="3034404116" sldId="2147483761"/>
          </pc:sldLayoutMkLst>
          <pc:spChg chg="del">
            <ac:chgData name="内山 裕弥" userId="8d34b9d0-ec49-418d-b1de-019cf6b56da5" providerId="ADAL" clId="{154816C8-82C4-4E4B-ADDD-BBC9EE556CCD}" dt="2025-02-07T06:51:45.235" v="1764" actId="478"/>
            <ac:spMkLst>
              <pc:docMk/>
              <pc:sldMasterMk cId="2162003807" sldId="2147483755"/>
              <pc:sldLayoutMk cId="3034404116" sldId="2147483761"/>
              <ac:spMk id="8" creationId="{1F5D0AC9-20E5-44AB-A57F-159FD31A7C3F}"/>
            </ac:spMkLst>
          </pc:spChg>
        </pc:sldLayoutChg>
      </pc:sldMasterChg>
    </pc:docChg>
  </pc:docChgLst>
  <pc:docChgLst>
    <pc:chgData name="内山 裕弥" userId="8d34b9d0-ec49-418d-b1de-019cf6b56da5" providerId="ADAL" clId="{EE417D81-9D62-44B5-9A36-43CC1B66E142}"/>
    <pc:docChg chg="undo custSel addSld modSld delMainMaster modMainMaster addSection modSection">
      <pc:chgData name="内山 裕弥" userId="8d34b9d0-ec49-418d-b1de-019cf6b56da5" providerId="ADAL" clId="{EE417D81-9D62-44B5-9A36-43CC1B66E142}" dt="2024-07-19T11:18:22.167" v="10519" actId="14100"/>
      <pc:docMkLst>
        <pc:docMk/>
      </pc:docMkLst>
      <pc:sldChg chg="addSp delSp modSp mod chgLayout">
        <pc:chgData name="内山 裕弥" userId="8d34b9d0-ec49-418d-b1de-019cf6b56da5" providerId="ADAL" clId="{EE417D81-9D62-44B5-9A36-43CC1B66E142}" dt="2024-07-19T11:18:22.167" v="10519" actId="14100"/>
        <pc:sldMkLst>
          <pc:docMk/>
          <pc:sldMk cId="2355786622" sldId="2146847413"/>
        </pc:sldMkLst>
        <pc:spChg chg="mod ord">
          <ac:chgData name="内山 裕弥" userId="8d34b9d0-ec49-418d-b1de-019cf6b56da5" providerId="ADAL" clId="{EE417D81-9D62-44B5-9A36-43CC1B66E142}" dt="2024-07-19T11:15:31.518" v="10006" actId="207"/>
          <ac:spMkLst>
            <pc:docMk/>
            <pc:sldMk cId="2355786622" sldId="2146847413"/>
            <ac:spMk id="2" creationId="{1F2F2840-6B61-4DF2-B42A-EAA99F678FEE}"/>
          </ac:spMkLst>
        </pc:spChg>
        <pc:spChg chg="mod ord">
          <ac:chgData name="内山 裕弥" userId="8d34b9d0-ec49-418d-b1de-019cf6b56da5" providerId="ADAL" clId="{EE417D81-9D62-44B5-9A36-43CC1B66E142}" dt="2024-07-19T11:15:38.629" v="10007" actId="207"/>
          <ac:spMkLst>
            <pc:docMk/>
            <pc:sldMk cId="2355786622" sldId="2146847413"/>
            <ac:spMk id="3" creationId="{C57F1E1F-3521-45C1-9CD2-360C7A8ED649}"/>
          </ac:spMkLst>
        </pc:spChg>
        <pc:spChg chg="add del mod">
          <ac:chgData name="内山 裕弥" userId="8d34b9d0-ec49-418d-b1de-019cf6b56da5" providerId="ADAL" clId="{EE417D81-9D62-44B5-9A36-43CC1B66E142}" dt="2024-07-19T04:04:46.242" v="141" actId="21"/>
          <ac:spMkLst>
            <pc:docMk/>
            <pc:sldMk cId="2355786622" sldId="2146847413"/>
            <ac:spMk id="4" creationId="{DED48003-3CB7-EDBE-9AC0-7914BBD5B5A2}"/>
          </ac:spMkLst>
        </pc:spChg>
        <pc:spChg chg="mod ord">
          <ac:chgData name="内山 裕弥" userId="8d34b9d0-ec49-418d-b1de-019cf6b56da5" providerId="ADAL" clId="{EE417D81-9D62-44B5-9A36-43CC1B66E142}" dt="2024-07-19T11:15:28.803" v="10005" actId="207"/>
          <ac:spMkLst>
            <pc:docMk/>
            <pc:sldMk cId="2355786622" sldId="2146847413"/>
            <ac:spMk id="5" creationId="{9481A0E3-366D-4687-A4B2-6C58A1A7C6CC}"/>
          </ac:spMkLst>
        </pc:spChg>
        <pc:spChg chg="add mod">
          <ac:chgData name="内山 裕弥" userId="8d34b9d0-ec49-418d-b1de-019cf6b56da5" providerId="ADAL" clId="{EE417D81-9D62-44B5-9A36-43CC1B66E142}" dt="2024-07-19T11:18:22.167" v="10519" actId="14100"/>
          <ac:spMkLst>
            <pc:docMk/>
            <pc:sldMk cId="2355786622" sldId="2146847413"/>
            <ac:spMk id="8" creationId="{62B98AA6-9065-164D-2986-27FFD7882C1B}"/>
          </ac:spMkLst>
        </pc:spChg>
        <pc:picChg chg="add del mod">
          <ac:chgData name="内山 裕弥" userId="8d34b9d0-ec49-418d-b1de-019cf6b56da5" providerId="ADAL" clId="{EE417D81-9D62-44B5-9A36-43CC1B66E142}" dt="2024-07-19T04:04:46.242" v="141" actId="21"/>
          <ac:picMkLst>
            <pc:docMk/>
            <pc:sldMk cId="2355786622" sldId="2146847413"/>
            <ac:picMk id="7" creationId="{7B47AA47-9735-D8CB-A9C8-454567CF27D0}"/>
          </ac:picMkLst>
        </pc:picChg>
      </pc:sldChg>
      <pc:sldChg chg="addSp delSp modSp mod">
        <pc:chgData name="内山 裕弥" userId="8d34b9d0-ec49-418d-b1de-019cf6b56da5" providerId="ADAL" clId="{EE417D81-9D62-44B5-9A36-43CC1B66E142}" dt="2024-07-19T04:51:37.990" v="4768" actId="1076"/>
        <pc:sldMkLst>
          <pc:docMk/>
          <pc:sldMk cId="2852443830" sldId="2147378632"/>
        </pc:sldMkLst>
        <pc:spChg chg="add mod">
          <ac:chgData name="内山 裕弥" userId="8d34b9d0-ec49-418d-b1de-019cf6b56da5" providerId="ADAL" clId="{EE417D81-9D62-44B5-9A36-43CC1B66E142}" dt="2024-07-19T04:51:37.990" v="4768" actId="1076"/>
          <ac:spMkLst>
            <pc:docMk/>
            <pc:sldMk cId="2852443830" sldId="2147378632"/>
            <ac:spMk id="3" creationId="{17F7BD63-A43F-D667-8278-6E77C003EFBB}"/>
          </ac:spMkLst>
        </pc:spChg>
        <pc:spChg chg="del mod">
          <ac:chgData name="内山 裕弥" userId="8d34b9d0-ec49-418d-b1de-019cf6b56da5" providerId="ADAL" clId="{EE417D81-9D62-44B5-9A36-43CC1B66E142}" dt="2024-07-19T04:51:34.780" v="4767" actId="21"/>
          <ac:spMkLst>
            <pc:docMk/>
            <pc:sldMk cId="2852443830" sldId="2147378632"/>
            <ac:spMk id="4" creationId="{54D1E966-F06A-4384-EB57-E91592F612E9}"/>
          </ac:spMkLst>
        </pc:spChg>
        <pc:spChg chg="mod">
          <ac:chgData name="内山 裕弥" userId="8d34b9d0-ec49-418d-b1de-019cf6b56da5" providerId="ADAL" clId="{EE417D81-9D62-44B5-9A36-43CC1B66E142}" dt="2024-07-19T04:51:13.145" v="4745"/>
          <ac:spMkLst>
            <pc:docMk/>
            <pc:sldMk cId="2852443830" sldId="2147378632"/>
            <ac:spMk id="7" creationId="{7F81DA45-2EDB-3376-10B4-C61FAB506B4F}"/>
          </ac:spMkLst>
        </pc:spChg>
      </pc:sldChg>
      <pc:sldChg chg="modSp mod">
        <pc:chgData name="内山 裕弥" userId="8d34b9d0-ec49-418d-b1de-019cf6b56da5" providerId="ADAL" clId="{EE417D81-9D62-44B5-9A36-43CC1B66E142}" dt="2024-07-19T11:16:57.311" v="10084" actId="20577"/>
        <pc:sldMkLst>
          <pc:docMk/>
          <pc:sldMk cId="1869527861" sldId="2147378640"/>
        </pc:sldMkLst>
        <pc:spChg chg="mod">
          <ac:chgData name="内山 裕弥" userId="8d34b9d0-ec49-418d-b1de-019cf6b56da5" providerId="ADAL" clId="{EE417D81-9D62-44B5-9A36-43CC1B66E142}" dt="2024-07-19T04:40:15.538" v="3988" actId="14100"/>
          <ac:spMkLst>
            <pc:docMk/>
            <pc:sldMk cId="1869527861" sldId="2147378640"/>
            <ac:spMk id="9" creationId="{67FD600D-F712-D335-9DCD-5DDA57077E60}"/>
          </ac:spMkLst>
        </pc:spChg>
        <pc:spChg chg="mod">
          <ac:chgData name="内山 裕弥" userId="8d34b9d0-ec49-418d-b1de-019cf6b56da5" providerId="ADAL" clId="{EE417D81-9D62-44B5-9A36-43CC1B66E142}" dt="2024-07-19T11:16:57.311" v="10084" actId="20577"/>
          <ac:spMkLst>
            <pc:docMk/>
            <pc:sldMk cId="1869527861" sldId="2147378640"/>
            <ac:spMk id="10" creationId="{80E6EF29-A9F8-46B2-8DDE-5092A65E485F}"/>
          </ac:spMkLst>
        </pc:spChg>
      </pc:sldChg>
      <pc:sldChg chg="modSp mod">
        <pc:chgData name="内山 裕弥" userId="8d34b9d0-ec49-418d-b1de-019cf6b56da5" providerId="ADAL" clId="{EE417D81-9D62-44B5-9A36-43CC1B66E142}" dt="2024-07-19T11:16:26.199" v="10062" actId="20577"/>
        <pc:sldMkLst>
          <pc:docMk/>
          <pc:sldMk cId="2854292604" sldId="2147378652"/>
        </pc:sldMkLst>
        <pc:spChg chg="mod">
          <ac:chgData name="内山 裕弥" userId="8d34b9d0-ec49-418d-b1de-019cf6b56da5" providerId="ADAL" clId="{EE417D81-9D62-44B5-9A36-43CC1B66E142}" dt="2024-07-19T04:40:25.916" v="3993" actId="1076"/>
          <ac:spMkLst>
            <pc:docMk/>
            <pc:sldMk cId="2854292604" sldId="2147378652"/>
            <ac:spMk id="9" creationId="{6DCCCEAA-508F-3EF7-C914-6C10291DD5BF}"/>
          </ac:spMkLst>
        </pc:spChg>
        <pc:spChg chg="mod">
          <ac:chgData name="内山 裕弥" userId="8d34b9d0-ec49-418d-b1de-019cf6b56da5" providerId="ADAL" clId="{EE417D81-9D62-44B5-9A36-43CC1B66E142}" dt="2024-07-19T11:16:26.199" v="10062" actId="20577"/>
          <ac:spMkLst>
            <pc:docMk/>
            <pc:sldMk cId="2854292604" sldId="2147378652"/>
            <ac:spMk id="10" creationId="{3FBABAD3-5FB4-0114-9B7B-795B1762F04A}"/>
          </ac:spMkLst>
        </pc:spChg>
      </pc:sldChg>
      <pc:sldChg chg="addSp delSp modSp mod">
        <pc:chgData name="内山 裕弥" userId="8d34b9d0-ec49-418d-b1de-019cf6b56da5" providerId="ADAL" clId="{EE417D81-9D62-44B5-9A36-43CC1B66E142}" dt="2024-07-19T11:16:18.998" v="10048" actId="20577"/>
        <pc:sldMkLst>
          <pc:docMk/>
          <pc:sldMk cId="1245055399" sldId="2147378653"/>
        </pc:sldMkLst>
        <pc:spChg chg="add del">
          <ac:chgData name="内山 裕弥" userId="8d34b9d0-ec49-418d-b1de-019cf6b56da5" providerId="ADAL" clId="{EE417D81-9D62-44B5-9A36-43CC1B66E142}" dt="2024-07-19T11:16:14.681" v="10033" actId="22"/>
          <ac:spMkLst>
            <pc:docMk/>
            <pc:sldMk cId="1245055399" sldId="2147378653"/>
            <ac:spMk id="4" creationId="{738DE78E-E50E-5A87-F1BE-28816A3F14C6}"/>
          </ac:spMkLst>
        </pc:spChg>
        <pc:spChg chg="add del">
          <ac:chgData name="内山 裕弥" userId="8d34b9d0-ec49-418d-b1de-019cf6b56da5" providerId="ADAL" clId="{EE417D81-9D62-44B5-9A36-43CC1B66E142}" dt="2024-07-19T11:16:15.794" v="10035" actId="22"/>
          <ac:spMkLst>
            <pc:docMk/>
            <pc:sldMk cId="1245055399" sldId="2147378653"/>
            <ac:spMk id="6" creationId="{F648AF59-6C65-903E-7F5A-DD12983A2099}"/>
          </ac:spMkLst>
        </pc:spChg>
        <pc:spChg chg="mod">
          <ac:chgData name="内山 裕弥" userId="8d34b9d0-ec49-418d-b1de-019cf6b56da5" providerId="ADAL" clId="{EE417D81-9D62-44B5-9A36-43CC1B66E142}" dt="2024-07-19T04:57:55.065" v="5532" actId="1076"/>
          <ac:spMkLst>
            <pc:docMk/>
            <pc:sldMk cId="1245055399" sldId="2147378653"/>
            <ac:spMk id="9" creationId="{B79A90FB-8F87-BD8C-CDDB-781282C516A5}"/>
          </ac:spMkLst>
        </pc:spChg>
        <pc:spChg chg="mod">
          <ac:chgData name="内山 裕弥" userId="8d34b9d0-ec49-418d-b1de-019cf6b56da5" providerId="ADAL" clId="{EE417D81-9D62-44B5-9A36-43CC1B66E142}" dt="2024-07-19T11:16:18.998" v="10048" actId="20577"/>
          <ac:spMkLst>
            <pc:docMk/>
            <pc:sldMk cId="1245055399" sldId="2147378653"/>
            <ac:spMk id="10" creationId="{F4A72386-C363-032B-B0E0-9FB1031C9979}"/>
          </ac:spMkLst>
        </pc:spChg>
      </pc:sldChg>
      <pc:sldChg chg="modSp mod">
        <pc:chgData name="内山 裕弥" userId="8d34b9d0-ec49-418d-b1de-019cf6b56da5" providerId="ADAL" clId="{EE417D81-9D62-44B5-9A36-43CC1B66E142}" dt="2024-07-19T11:16:47.229" v="10070" actId="1076"/>
        <pc:sldMkLst>
          <pc:docMk/>
          <pc:sldMk cId="1786860980" sldId="2147378654"/>
        </pc:sldMkLst>
        <pc:spChg chg="mod">
          <ac:chgData name="内山 裕弥" userId="8d34b9d0-ec49-418d-b1de-019cf6b56da5" providerId="ADAL" clId="{EE417D81-9D62-44B5-9A36-43CC1B66E142}" dt="2024-07-19T11:16:47.229" v="10070" actId="1076"/>
          <ac:spMkLst>
            <pc:docMk/>
            <pc:sldMk cId="1786860980" sldId="2147378654"/>
            <ac:spMk id="9" creationId="{78D88DDB-A6F4-93E9-67F8-646493CF2FF7}"/>
          </ac:spMkLst>
        </pc:spChg>
        <pc:spChg chg="mod">
          <ac:chgData name="内山 裕弥" userId="8d34b9d0-ec49-418d-b1de-019cf6b56da5" providerId="ADAL" clId="{EE417D81-9D62-44B5-9A36-43CC1B66E142}" dt="2024-07-19T11:16:43.320" v="10069" actId="20577"/>
          <ac:spMkLst>
            <pc:docMk/>
            <pc:sldMk cId="1786860980" sldId="2147378654"/>
            <ac:spMk id="10" creationId="{C1084721-7EDF-0DAE-BBA0-0ED1A14E3AE7}"/>
          </ac:spMkLst>
        </pc:spChg>
      </pc:sldChg>
      <pc:sldChg chg="modSp mod">
        <pc:chgData name="内山 裕弥" userId="8d34b9d0-ec49-418d-b1de-019cf6b56da5" providerId="ADAL" clId="{EE417D81-9D62-44B5-9A36-43CC1B66E142}" dt="2024-07-19T04:10:18.205" v="258" actId="14734"/>
        <pc:sldMkLst>
          <pc:docMk/>
          <pc:sldMk cId="1132711422" sldId="2147378657"/>
        </pc:sldMkLst>
        <pc:graphicFrameChg chg="modGraphic">
          <ac:chgData name="内山 裕弥" userId="8d34b9d0-ec49-418d-b1de-019cf6b56da5" providerId="ADAL" clId="{EE417D81-9D62-44B5-9A36-43CC1B66E142}" dt="2024-07-19T04:10:18.205" v="258" actId="14734"/>
          <ac:graphicFrameMkLst>
            <pc:docMk/>
            <pc:sldMk cId="1132711422" sldId="2147378657"/>
            <ac:graphicFrameMk id="13" creationId="{6B84DF48-8B2E-7483-E19E-A4C36C91AA03}"/>
          </ac:graphicFrameMkLst>
        </pc:graphicFrameChg>
      </pc:sldChg>
      <pc:sldChg chg="addSp modSp mod">
        <pc:chgData name="内山 裕弥" userId="8d34b9d0-ec49-418d-b1de-019cf6b56da5" providerId="ADAL" clId="{EE417D81-9D62-44B5-9A36-43CC1B66E142}" dt="2024-07-19T04:19:42.051" v="922" actId="20577"/>
        <pc:sldMkLst>
          <pc:docMk/>
          <pc:sldMk cId="2948473411" sldId="2147378680"/>
        </pc:sldMkLst>
        <pc:spChg chg="mod">
          <ac:chgData name="内山 裕弥" userId="8d34b9d0-ec49-418d-b1de-019cf6b56da5" providerId="ADAL" clId="{EE417D81-9D62-44B5-9A36-43CC1B66E142}" dt="2024-07-19T04:18:43.349" v="746" actId="1076"/>
          <ac:spMkLst>
            <pc:docMk/>
            <pc:sldMk cId="2948473411" sldId="2147378680"/>
            <ac:spMk id="7" creationId="{BC211F3A-D242-7373-8291-F217BC706F6C}"/>
          </ac:spMkLst>
        </pc:spChg>
        <pc:spChg chg="mod">
          <ac:chgData name="内山 裕弥" userId="8d34b9d0-ec49-418d-b1de-019cf6b56da5" providerId="ADAL" clId="{EE417D81-9D62-44B5-9A36-43CC1B66E142}" dt="2024-07-19T04:15:00.878" v="351" actId="1076"/>
          <ac:spMkLst>
            <pc:docMk/>
            <pc:sldMk cId="2948473411" sldId="2147378680"/>
            <ac:spMk id="8" creationId="{57C4ADC8-1E9A-3990-E8C9-6E4184E05599}"/>
          </ac:spMkLst>
        </pc:spChg>
        <pc:spChg chg="mod">
          <ac:chgData name="内山 裕弥" userId="8d34b9d0-ec49-418d-b1de-019cf6b56da5" providerId="ADAL" clId="{EE417D81-9D62-44B5-9A36-43CC1B66E142}" dt="2024-07-19T04:14:46.465" v="349" actId="404"/>
          <ac:spMkLst>
            <pc:docMk/>
            <pc:sldMk cId="2948473411" sldId="2147378680"/>
            <ac:spMk id="10" creationId="{28CF45C0-4247-EF18-C203-ADFA691CEF61}"/>
          </ac:spMkLst>
        </pc:spChg>
        <pc:spChg chg="mod">
          <ac:chgData name="内山 裕弥" userId="8d34b9d0-ec49-418d-b1de-019cf6b56da5" providerId="ADAL" clId="{EE417D81-9D62-44B5-9A36-43CC1B66E142}" dt="2024-07-19T04:15:17.427" v="355" actId="21"/>
          <ac:spMkLst>
            <pc:docMk/>
            <pc:sldMk cId="2948473411" sldId="2147378680"/>
            <ac:spMk id="12" creationId="{ED568297-6BE7-885A-589B-885678064B91}"/>
          </ac:spMkLst>
        </pc:spChg>
        <pc:spChg chg="add mod">
          <ac:chgData name="内山 裕弥" userId="8d34b9d0-ec49-418d-b1de-019cf6b56da5" providerId="ADAL" clId="{EE417D81-9D62-44B5-9A36-43CC1B66E142}" dt="2024-07-19T04:18:47.576" v="747"/>
          <ac:spMkLst>
            <pc:docMk/>
            <pc:sldMk cId="2948473411" sldId="2147378680"/>
            <ac:spMk id="14" creationId="{C5AE03D3-7F7A-F51B-E6D0-B212D7BC9438}"/>
          </ac:spMkLst>
        </pc:spChg>
        <pc:spChg chg="add mod">
          <ac:chgData name="内山 裕弥" userId="8d34b9d0-ec49-418d-b1de-019cf6b56da5" providerId="ADAL" clId="{EE417D81-9D62-44B5-9A36-43CC1B66E142}" dt="2024-07-19T04:19:23.248" v="832" actId="20577"/>
          <ac:spMkLst>
            <pc:docMk/>
            <pc:sldMk cId="2948473411" sldId="2147378680"/>
            <ac:spMk id="15" creationId="{66FA0C50-D6E3-F885-BF2A-13158B2BEF9D}"/>
          </ac:spMkLst>
        </pc:spChg>
        <pc:spChg chg="add mod">
          <ac:chgData name="内山 裕弥" userId="8d34b9d0-ec49-418d-b1de-019cf6b56da5" providerId="ADAL" clId="{EE417D81-9D62-44B5-9A36-43CC1B66E142}" dt="2024-07-19T04:19:42.051" v="922" actId="20577"/>
          <ac:spMkLst>
            <pc:docMk/>
            <pc:sldMk cId="2948473411" sldId="2147378680"/>
            <ac:spMk id="16" creationId="{54E39AEB-AFC8-8038-0F64-A8ED1F9F246A}"/>
          </ac:spMkLst>
        </pc:spChg>
        <pc:grpChg chg="add mod">
          <ac:chgData name="内山 裕弥" userId="8d34b9d0-ec49-418d-b1de-019cf6b56da5" providerId="ADAL" clId="{EE417D81-9D62-44B5-9A36-43CC1B66E142}" dt="2024-07-19T04:15:00.878" v="351" actId="1076"/>
          <ac:grpSpMkLst>
            <pc:docMk/>
            <pc:sldMk cId="2948473411" sldId="2147378680"/>
            <ac:grpSpMk id="3" creationId="{E30EFB46-2249-4389-3DF3-FEAEF8770046}"/>
          </ac:grpSpMkLst>
        </pc:grpChg>
        <pc:grpChg chg="mod">
          <ac:chgData name="内山 裕弥" userId="8d34b9d0-ec49-418d-b1de-019cf6b56da5" providerId="ADAL" clId="{EE417D81-9D62-44B5-9A36-43CC1B66E142}" dt="2024-07-19T04:15:00.878" v="351" actId="1076"/>
          <ac:grpSpMkLst>
            <pc:docMk/>
            <pc:sldMk cId="2948473411" sldId="2147378680"/>
            <ac:grpSpMk id="4" creationId="{B6388F1D-16DF-539B-B4B9-E9558C59B409}"/>
          </ac:grpSpMkLst>
        </pc:grpChg>
        <pc:grpChg chg="mod">
          <ac:chgData name="内山 裕弥" userId="8d34b9d0-ec49-418d-b1de-019cf6b56da5" providerId="ADAL" clId="{EE417D81-9D62-44B5-9A36-43CC1B66E142}" dt="2024-07-19T04:15:00.878" v="351" actId="1076"/>
          <ac:grpSpMkLst>
            <pc:docMk/>
            <pc:sldMk cId="2948473411" sldId="2147378680"/>
            <ac:grpSpMk id="6" creationId="{80216175-DE75-DF2F-D622-563F97C284CD}"/>
          </ac:grpSpMkLst>
        </pc:grpChg>
        <pc:cxnChg chg="mod">
          <ac:chgData name="内山 裕弥" userId="8d34b9d0-ec49-418d-b1de-019cf6b56da5" providerId="ADAL" clId="{EE417D81-9D62-44B5-9A36-43CC1B66E142}" dt="2024-07-19T04:15:00.878" v="351" actId="1076"/>
          <ac:cxnSpMkLst>
            <pc:docMk/>
            <pc:sldMk cId="2948473411" sldId="2147378680"/>
            <ac:cxnSpMk id="11" creationId="{2F583047-B675-76FE-6BB4-1B0EE0DEA009}"/>
          </ac:cxnSpMkLst>
        </pc:cxnChg>
        <pc:cxnChg chg="mod">
          <ac:chgData name="内山 裕弥" userId="8d34b9d0-ec49-418d-b1de-019cf6b56da5" providerId="ADAL" clId="{EE417D81-9D62-44B5-9A36-43CC1B66E142}" dt="2024-07-19T04:15:00.878" v="351" actId="1076"/>
          <ac:cxnSpMkLst>
            <pc:docMk/>
            <pc:sldMk cId="2948473411" sldId="2147378680"/>
            <ac:cxnSpMk id="13" creationId="{7730E106-5A99-0E88-94C7-CE870A82BC70}"/>
          </ac:cxnSpMkLst>
        </pc:cxnChg>
      </pc:sldChg>
      <pc:sldChg chg="addSp modSp mod">
        <pc:chgData name="内山 裕弥" userId="8d34b9d0-ec49-418d-b1de-019cf6b56da5" providerId="ADAL" clId="{EE417D81-9D62-44B5-9A36-43CC1B66E142}" dt="2024-07-19T04:18:37.528" v="745" actId="20577"/>
        <pc:sldMkLst>
          <pc:docMk/>
          <pc:sldMk cId="2708077593" sldId="2147378681"/>
        </pc:sldMkLst>
        <pc:spChg chg="mod">
          <ac:chgData name="内山 裕弥" userId="8d34b9d0-ec49-418d-b1de-019cf6b56da5" providerId="ADAL" clId="{EE417D81-9D62-44B5-9A36-43CC1B66E142}" dt="2024-07-19T04:18:20.430" v="689" actId="1076"/>
          <ac:spMkLst>
            <pc:docMk/>
            <pc:sldMk cId="2708077593" sldId="2147378681"/>
            <ac:spMk id="6" creationId="{A9577F56-3CCF-E475-2E51-B70DEBE9BC60}"/>
          </ac:spMkLst>
        </pc:spChg>
        <pc:spChg chg="mod">
          <ac:chgData name="内山 裕弥" userId="8d34b9d0-ec49-418d-b1de-019cf6b56da5" providerId="ADAL" clId="{EE417D81-9D62-44B5-9A36-43CC1B66E142}" dt="2024-07-19T04:16:26.352" v="379" actId="21"/>
          <ac:spMkLst>
            <pc:docMk/>
            <pc:sldMk cId="2708077593" sldId="2147378681"/>
            <ac:spMk id="8" creationId="{95ACE118-4131-DE79-F02F-66722864A02D}"/>
          </ac:spMkLst>
        </pc:spChg>
        <pc:spChg chg="mod">
          <ac:chgData name="内山 裕弥" userId="8d34b9d0-ec49-418d-b1de-019cf6b56da5" providerId="ADAL" clId="{EE417D81-9D62-44B5-9A36-43CC1B66E142}" dt="2024-07-19T04:15:37.846" v="359" actId="21"/>
          <ac:spMkLst>
            <pc:docMk/>
            <pc:sldMk cId="2708077593" sldId="2147378681"/>
            <ac:spMk id="9" creationId="{D22A0A06-D5A8-4A1A-B66F-2A8EDBD644F1}"/>
          </ac:spMkLst>
        </pc:spChg>
        <pc:spChg chg="mod">
          <ac:chgData name="内山 裕弥" userId="8d34b9d0-ec49-418d-b1de-019cf6b56da5" providerId="ADAL" clId="{EE417D81-9D62-44B5-9A36-43CC1B66E142}" dt="2024-07-19T04:15:49.859" v="364"/>
          <ac:spMkLst>
            <pc:docMk/>
            <pc:sldMk cId="2708077593" sldId="2147378681"/>
            <ac:spMk id="11" creationId="{5B8ABDA1-3D2A-BE6F-2D47-4B44E4CE9142}"/>
          </ac:spMkLst>
        </pc:spChg>
        <pc:spChg chg="mod">
          <ac:chgData name="内山 裕弥" userId="8d34b9d0-ec49-418d-b1de-019cf6b56da5" providerId="ADAL" clId="{EE417D81-9D62-44B5-9A36-43CC1B66E142}" dt="2024-07-19T04:16:09.935" v="378" actId="20577"/>
          <ac:spMkLst>
            <pc:docMk/>
            <pc:sldMk cId="2708077593" sldId="2147378681"/>
            <ac:spMk id="12" creationId="{0885EF34-1A86-AA39-1A1A-5F99ABF6B7EF}"/>
          </ac:spMkLst>
        </pc:spChg>
        <pc:spChg chg="add mod ord">
          <ac:chgData name="内山 裕弥" userId="8d34b9d0-ec49-418d-b1de-019cf6b56da5" providerId="ADAL" clId="{EE417D81-9D62-44B5-9A36-43CC1B66E142}" dt="2024-07-19T04:18:27.796" v="693" actId="1076"/>
          <ac:spMkLst>
            <pc:docMk/>
            <pc:sldMk cId="2708077593" sldId="2147378681"/>
            <ac:spMk id="14" creationId="{BA7FA382-9723-883E-C088-B51E896148CC}"/>
          </ac:spMkLst>
        </pc:spChg>
        <pc:spChg chg="add mod">
          <ac:chgData name="内山 裕弥" userId="8d34b9d0-ec49-418d-b1de-019cf6b56da5" providerId="ADAL" clId="{EE417D81-9D62-44B5-9A36-43CC1B66E142}" dt="2024-07-19T04:18:16.391" v="687" actId="20577"/>
          <ac:spMkLst>
            <pc:docMk/>
            <pc:sldMk cId="2708077593" sldId="2147378681"/>
            <ac:spMk id="15" creationId="{0C0D5913-6E2D-E5DB-60D1-B3AF669AED14}"/>
          </ac:spMkLst>
        </pc:spChg>
        <pc:spChg chg="add mod">
          <ac:chgData name="内山 裕弥" userId="8d34b9d0-ec49-418d-b1de-019cf6b56da5" providerId="ADAL" clId="{EE417D81-9D62-44B5-9A36-43CC1B66E142}" dt="2024-07-19T04:18:37.528" v="745" actId="20577"/>
          <ac:spMkLst>
            <pc:docMk/>
            <pc:sldMk cId="2708077593" sldId="2147378681"/>
            <ac:spMk id="16" creationId="{E2145D0B-66EB-0BA6-624D-9BC1846E3715}"/>
          </ac:spMkLst>
        </pc:spChg>
        <pc:grpChg chg="add mod">
          <ac:chgData name="内山 裕弥" userId="8d34b9d0-ec49-418d-b1de-019cf6b56da5" providerId="ADAL" clId="{EE417D81-9D62-44B5-9A36-43CC1B66E142}" dt="2024-07-19T04:16:05.602" v="366" actId="1076"/>
          <ac:grpSpMkLst>
            <pc:docMk/>
            <pc:sldMk cId="2708077593" sldId="2147378681"/>
            <ac:grpSpMk id="3" creationId="{EBC23DA4-F36B-555D-CA5C-39F94E08823F}"/>
          </ac:grpSpMkLst>
        </pc:grpChg>
        <pc:grpChg chg="mod">
          <ac:chgData name="内山 裕弥" userId="8d34b9d0-ec49-418d-b1de-019cf6b56da5" providerId="ADAL" clId="{EE417D81-9D62-44B5-9A36-43CC1B66E142}" dt="2024-07-19T04:16:05.602" v="366" actId="1076"/>
          <ac:grpSpMkLst>
            <pc:docMk/>
            <pc:sldMk cId="2708077593" sldId="2147378681"/>
            <ac:grpSpMk id="4" creationId="{182836E8-0A6C-6508-BE54-D9FA5966D104}"/>
          </ac:grpSpMkLst>
        </pc:grpChg>
        <pc:grpChg chg="mod">
          <ac:chgData name="内山 裕弥" userId="8d34b9d0-ec49-418d-b1de-019cf6b56da5" providerId="ADAL" clId="{EE417D81-9D62-44B5-9A36-43CC1B66E142}" dt="2024-07-19T04:16:05.602" v="366" actId="1076"/>
          <ac:grpSpMkLst>
            <pc:docMk/>
            <pc:sldMk cId="2708077593" sldId="2147378681"/>
            <ac:grpSpMk id="7" creationId="{2FB98B28-3911-4D54-DF63-480395E4E9E6}"/>
          </ac:grpSpMkLst>
        </pc:grpChg>
        <pc:cxnChg chg="mod">
          <ac:chgData name="内山 裕弥" userId="8d34b9d0-ec49-418d-b1de-019cf6b56da5" providerId="ADAL" clId="{EE417D81-9D62-44B5-9A36-43CC1B66E142}" dt="2024-07-19T04:16:05.602" v="366" actId="1076"/>
          <ac:cxnSpMkLst>
            <pc:docMk/>
            <pc:sldMk cId="2708077593" sldId="2147378681"/>
            <ac:cxnSpMk id="10" creationId="{EEF86A98-39B5-3E9C-8313-F6410191C7AD}"/>
          </ac:cxnSpMkLst>
        </pc:cxnChg>
        <pc:cxnChg chg="mod">
          <ac:chgData name="内山 裕弥" userId="8d34b9d0-ec49-418d-b1de-019cf6b56da5" providerId="ADAL" clId="{EE417D81-9D62-44B5-9A36-43CC1B66E142}" dt="2024-07-19T04:16:05.602" v="366" actId="1076"/>
          <ac:cxnSpMkLst>
            <pc:docMk/>
            <pc:sldMk cId="2708077593" sldId="2147378681"/>
            <ac:cxnSpMk id="13" creationId="{819B2E49-17B8-3727-8812-69FD5702E69C}"/>
          </ac:cxnSpMkLst>
        </pc:cxnChg>
      </pc:sldChg>
      <pc:sldChg chg="addSp modSp mod">
        <pc:chgData name="内山 裕弥" userId="8d34b9d0-ec49-418d-b1de-019cf6b56da5" providerId="ADAL" clId="{EE417D81-9D62-44B5-9A36-43CC1B66E142}" dt="2024-07-19T04:30:59.359" v="2661" actId="20577"/>
        <pc:sldMkLst>
          <pc:docMk/>
          <pc:sldMk cId="2629355078" sldId="2147378682"/>
        </pc:sldMkLst>
        <pc:spChg chg="mod">
          <ac:chgData name="内山 裕弥" userId="8d34b9d0-ec49-418d-b1de-019cf6b56da5" providerId="ADAL" clId="{EE417D81-9D62-44B5-9A36-43CC1B66E142}" dt="2024-07-19T04:29:27.775" v="2364"/>
          <ac:spMkLst>
            <pc:docMk/>
            <pc:sldMk cId="2629355078" sldId="2147378682"/>
            <ac:spMk id="6" creationId="{B97F009E-BC8C-AB2A-B2E1-25D733E4B178}"/>
          </ac:spMkLst>
        </pc:spChg>
        <pc:spChg chg="mod">
          <ac:chgData name="内山 裕弥" userId="8d34b9d0-ec49-418d-b1de-019cf6b56da5" providerId="ADAL" clId="{EE417D81-9D62-44B5-9A36-43CC1B66E142}" dt="2024-07-19T04:30:51.017" v="2641" actId="21"/>
          <ac:spMkLst>
            <pc:docMk/>
            <pc:sldMk cId="2629355078" sldId="2147378682"/>
            <ac:spMk id="7" creationId="{45EA7D70-5CA6-D453-2EFC-52642E09B3DC}"/>
          </ac:spMkLst>
        </pc:spChg>
        <pc:spChg chg="mod">
          <ac:chgData name="内山 裕弥" userId="8d34b9d0-ec49-418d-b1de-019cf6b56da5" providerId="ADAL" clId="{EE417D81-9D62-44B5-9A36-43CC1B66E142}" dt="2024-07-19T04:29:41.316" v="2366" actId="1076"/>
          <ac:spMkLst>
            <pc:docMk/>
            <pc:sldMk cId="2629355078" sldId="2147378682"/>
            <ac:spMk id="10" creationId="{C62006B4-6E2D-0E4F-98BD-E04EC6E6BBB0}"/>
          </ac:spMkLst>
        </pc:spChg>
        <pc:spChg chg="mod">
          <ac:chgData name="内山 裕弥" userId="8d34b9d0-ec49-418d-b1de-019cf6b56da5" providerId="ADAL" clId="{EE417D81-9D62-44B5-9A36-43CC1B66E142}" dt="2024-07-19T04:29:41.316" v="2366" actId="1076"/>
          <ac:spMkLst>
            <pc:docMk/>
            <pc:sldMk cId="2629355078" sldId="2147378682"/>
            <ac:spMk id="12" creationId="{F11E7E97-245A-D7F7-36C0-68CB910C05C1}"/>
          </ac:spMkLst>
        </pc:spChg>
        <pc:spChg chg="add mod">
          <ac:chgData name="内山 裕弥" userId="8d34b9d0-ec49-418d-b1de-019cf6b56da5" providerId="ADAL" clId="{EE417D81-9D62-44B5-9A36-43CC1B66E142}" dt="2024-07-19T04:29:44.192" v="2367" actId="1076"/>
          <ac:spMkLst>
            <pc:docMk/>
            <pc:sldMk cId="2629355078" sldId="2147378682"/>
            <ac:spMk id="14" creationId="{B9F3B646-3966-B82B-45E7-9F03CD875178}"/>
          </ac:spMkLst>
        </pc:spChg>
        <pc:spChg chg="add mod">
          <ac:chgData name="内山 裕弥" userId="8d34b9d0-ec49-418d-b1de-019cf6b56da5" providerId="ADAL" clId="{EE417D81-9D62-44B5-9A36-43CC1B66E142}" dt="2024-07-19T04:30:49.095" v="2640" actId="20577"/>
          <ac:spMkLst>
            <pc:docMk/>
            <pc:sldMk cId="2629355078" sldId="2147378682"/>
            <ac:spMk id="15" creationId="{FDA5823E-4462-D120-D102-5D7BCDCD50D7}"/>
          </ac:spMkLst>
        </pc:spChg>
        <pc:spChg chg="add mod">
          <ac:chgData name="内山 裕弥" userId="8d34b9d0-ec49-418d-b1de-019cf6b56da5" providerId="ADAL" clId="{EE417D81-9D62-44B5-9A36-43CC1B66E142}" dt="2024-07-19T04:30:59.359" v="2661" actId="20577"/>
          <ac:spMkLst>
            <pc:docMk/>
            <pc:sldMk cId="2629355078" sldId="2147378682"/>
            <ac:spMk id="16" creationId="{8F702987-7030-AB85-CCC8-911F98E01691}"/>
          </ac:spMkLst>
        </pc:spChg>
        <pc:grpChg chg="add mod">
          <ac:chgData name="内山 裕弥" userId="8d34b9d0-ec49-418d-b1de-019cf6b56da5" providerId="ADAL" clId="{EE417D81-9D62-44B5-9A36-43CC1B66E142}" dt="2024-07-19T04:29:41.316" v="2366" actId="1076"/>
          <ac:grpSpMkLst>
            <pc:docMk/>
            <pc:sldMk cId="2629355078" sldId="2147378682"/>
            <ac:grpSpMk id="3" creationId="{1BE8033C-A7B3-5961-A594-9CD86954FA2B}"/>
          </ac:grpSpMkLst>
        </pc:grpChg>
        <pc:grpChg chg="mod">
          <ac:chgData name="内山 裕弥" userId="8d34b9d0-ec49-418d-b1de-019cf6b56da5" providerId="ADAL" clId="{EE417D81-9D62-44B5-9A36-43CC1B66E142}" dt="2024-07-19T04:29:41.316" v="2366" actId="1076"/>
          <ac:grpSpMkLst>
            <pc:docMk/>
            <pc:sldMk cId="2629355078" sldId="2147378682"/>
            <ac:grpSpMk id="4" creationId="{7812F0ED-4843-A988-DB74-685513EF3A17}"/>
          </ac:grpSpMkLst>
        </pc:grpChg>
        <pc:grpChg chg="mod">
          <ac:chgData name="内山 裕弥" userId="8d34b9d0-ec49-418d-b1de-019cf6b56da5" providerId="ADAL" clId="{EE417D81-9D62-44B5-9A36-43CC1B66E142}" dt="2024-07-19T04:29:41.316" v="2366" actId="1076"/>
          <ac:grpSpMkLst>
            <pc:docMk/>
            <pc:sldMk cId="2629355078" sldId="2147378682"/>
            <ac:grpSpMk id="8" creationId="{C9F4060C-6E60-74B0-BA37-DFFB7605BE81}"/>
          </ac:grpSpMkLst>
        </pc:grpChg>
        <pc:cxnChg chg="mod">
          <ac:chgData name="内山 裕弥" userId="8d34b9d0-ec49-418d-b1de-019cf6b56da5" providerId="ADAL" clId="{EE417D81-9D62-44B5-9A36-43CC1B66E142}" dt="2024-07-19T04:29:41.316" v="2366" actId="1076"/>
          <ac:cxnSpMkLst>
            <pc:docMk/>
            <pc:sldMk cId="2629355078" sldId="2147378682"/>
            <ac:cxnSpMk id="11" creationId="{64B5E149-669F-4D0F-12C5-3052CD24513C}"/>
          </ac:cxnSpMkLst>
        </pc:cxnChg>
        <pc:cxnChg chg="mod">
          <ac:chgData name="内山 裕弥" userId="8d34b9d0-ec49-418d-b1de-019cf6b56da5" providerId="ADAL" clId="{EE417D81-9D62-44B5-9A36-43CC1B66E142}" dt="2024-07-19T04:29:41.316" v="2366" actId="1076"/>
          <ac:cxnSpMkLst>
            <pc:docMk/>
            <pc:sldMk cId="2629355078" sldId="2147378682"/>
            <ac:cxnSpMk id="13" creationId="{F9D827AE-7DB6-8B95-3FEA-062DF43E1AE4}"/>
          </ac:cxnSpMkLst>
        </pc:cxnChg>
      </pc:sldChg>
      <pc:sldChg chg="addSp modSp mod">
        <pc:chgData name="内山 裕弥" userId="8d34b9d0-ec49-418d-b1de-019cf6b56da5" providerId="ADAL" clId="{EE417D81-9D62-44B5-9A36-43CC1B66E142}" dt="2024-07-19T04:38:45.073" v="3769" actId="1076"/>
        <pc:sldMkLst>
          <pc:docMk/>
          <pc:sldMk cId="228645798" sldId="2147378683"/>
        </pc:sldMkLst>
        <pc:spChg chg="mod">
          <ac:chgData name="内山 裕弥" userId="8d34b9d0-ec49-418d-b1de-019cf6b56da5" providerId="ADAL" clId="{EE417D81-9D62-44B5-9A36-43CC1B66E142}" dt="2024-07-19T04:32:14.124" v="2663" actId="1076"/>
          <ac:spMkLst>
            <pc:docMk/>
            <pc:sldMk cId="228645798" sldId="2147378683"/>
            <ac:spMk id="6" creationId="{9E4631E7-964D-E009-B2BB-C8E7CB208D67}"/>
          </ac:spMkLst>
        </pc:spChg>
        <pc:spChg chg="add mod">
          <ac:chgData name="内山 裕弥" userId="8d34b9d0-ec49-418d-b1de-019cf6b56da5" providerId="ADAL" clId="{EE417D81-9D62-44B5-9A36-43CC1B66E142}" dt="2024-07-19T04:38:45.073" v="3769" actId="1076"/>
          <ac:spMkLst>
            <pc:docMk/>
            <pc:sldMk cId="228645798" sldId="2147378683"/>
            <ac:spMk id="7" creationId="{44C5D2AE-5A67-8B16-4D64-05BEA1BC14F5}"/>
          </ac:spMkLst>
        </pc:spChg>
        <pc:spChg chg="mod">
          <ac:chgData name="内山 裕弥" userId="8d34b9d0-ec49-418d-b1de-019cf6b56da5" providerId="ADAL" clId="{EE417D81-9D62-44B5-9A36-43CC1B66E142}" dt="2024-07-19T04:32:19.766" v="2666"/>
          <ac:spMkLst>
            <pc:docMk/>
            <pc:sldMk cId="228645798" sldId="2147378683"/>
            <ac:spMk id="8" creationId="{9D610DBF-17F7-608B-8680-1CFA54E54E02}"/>
          </ac:spMkLst>
        </pc:spChg>
        <pc:graphicFrameChg chg="add mod modGraphic">
          <ac:chgData name="内山 裕弥" userId="8d34b9d0-ec49-418d-b1de-019cf6b56da5" providerId="ADAL" clId="{EE417D81-9D62-44B5-9A36-43CC1B66E142}" dt="2024-07-19T04:34:31.234" v="2703" actId="20577"/>
          <ac:graphicFrameMkLst>
            <pc:docMk/>
            <pc:sldMk cId="228645798" sldId="2147378683"/>
            <ac:graphicFrameMk id="2" creationId="{11947C01-3F25-5707-DF65-95146B28736C}"/>
          </ac:graphicFrameMkLst>
        </pc:graphicFrameChg>
      </pc:sldChg>
      <pc:sldChg chg="addSp delSp modSp mod">
        <pc:chgData name="内山 裕弥" userId="8d34b9d0-ec49-418d-b1de-019cf6b56da5" providerId="ADAL" clId="{EE417D81-9D62-44B5-9A36-43CC1B66E142}" dt="2024-07-19T04:52:21.968" v="4789" actId="478"/>
        <pc:sldMkLst>
          <pc:docMk/>
          <pc:sldMk cId="239223960" sldId="2147378686"/>
        </pc:sldMkLst>
        <pc:spChg chg="add mod">
          <ac:chgData name="内山 裕弥" userId="8d34b9d0-ec49-418d-b1de-019cf6b56da5" providerId="ADAL" clId="{EE417D81-9D62-44B5-9A36-43CC1B66E142}" dt="2024-07-19T04:45:16.890" v="4215" actId="20577"/>
          <ac:spMkLst>
            <pc:docMk/>
            <pc:sldMk cId="239223960" sldId="2147378686"/>
            <ac:spMk id="4" creationId="{2D9DF4BF-A6B4-F174-8EB6-98CC10E01A36}"/>
          </ac:spMkLst>
        </pc:spChg>
        <pc:spChg chg="del">
          <ac:chgData name="内山 裕弥" userId="8d34b9d0-ec49-418d-b1de-019cf6b56da5" providerId="ADAL" clId="{EE417D81-9D62-44B5-9A36-43CC1B66E142}" dt="2024-07-19T04:52:21.968" v="4789" actId="478"/>
          <ac:spMkLst>
            <pc:docMk/>
            <pc:sldMk cId="239223960" sldId="2147378686"/>
            <ac:spMk id="7" creationId="{A0503B66-1299-571B-996C-A6BEA9AA3FFB}"/>
          </ac:spMkLst>
        </pc:spChg>
        <pc:spChg chg="mod">
          <ac:chgData name="内山 裕弥" userId="8d34b9d0-ec49-418d-b1de-019cf6b56da5" providerId="ADAL" clId="{EE417D81-9D62-44B5-9A36-43CC1B66E142}" dt="2024-07-19T04:45:35.946" v="4227" actId="20577"/>
          <ac:spMkLst>
            <pc:docMk/>
            <pc:sldMk cId="239223960" sldId="2147378686"/>
            <ac:spMk id="9" creationId="{D22A0A06-D5A8-4A1A-B66F-2A8EDBD644F1}"/>
          </ac:spMkLst>
        </pc:spChg>
      </pc:sldChg>
      <pc:sldChg chg="addSp delSp modSp mod">
        <pc:chgData name="内山 裕弥" userId="8d34b9d0-ec49-418d-b1de-019cf6b56da5" providerId="ADAL" clId="{EE417D81-9D62-44B5-9A36-43CC1B66E142}" dt="2024-07-19T04:52:10.730" v="4788" actId="20577"/>
        <pc:sldMkLst>
          <pc:docMk/>
          <pc:sldMk cId="1260276570" sldId="2147378687"/>
        </pc:sldMkLst>
        <pc:spChg chg="add mod">
          <ac:chgData name="内山 裕弥" userId="8d34b9d0-ec49-418d-b1de-019cf6b56da5" providerId="ADAL" clId="{EE417D81-9D62-44B5-9A36-43CC1B66E142}" dt="2024-07-19T04:52:10.730" v="4788" actId="20577"/>
          <ac:spMkLst>
            <pc:docMk/>
            <pc:sldMk cId="1260276570" sldId="2147378687"/>
            <ac:spMk id="4" creationId="{D6454845-5FE2-027E-0CD4-E44F5E629B84}"/>
          </ac:spMkLst>
        </pc:spChg>
        <pc:spChg chg="del mod">
          <ac:chgData name="内山 裕弥" userId="8d34b9d0-ec49-418d-b1de-019cf6b56da5" providerId="ADAL" clId="{EE417D81-9D62-44B5-9A36-43CC1B66E142}" dt="2024-07-19T04:52:07.340" v="4776"/>
          <ac:spMkLst>
            <pc:docMk/>
            <pc:sldMk cId="1260276570" sldId="2147378687"/>
            <ac:spMk id="7" creationId="{7254BB2F-820A-1FB9-0276-6C0E17A84BB6}"/>
          </ac:spMkLst>
        </pc:spChg>
      </pc:sldChg>
      <pc:sldChg chg="addSp delSp modSp mod">
        <pc:chgData name="内山 裕弥" userId="8d34b9d0-ec49-418d-b1de-019cf6b56da5" providerId="ADAL" clId="{EE417D81-9D62-44B5-9A36-43CC1B66E142}" dt="2024-07-19T04:52:30.092" v="4793"/>
        <pc:sldMkLst>
          <pc:docMk/>
          <pc:sldMk cId="2452595465" sldId="2147378688"/>
        </pc:sldMkLst>
        <pc:spChg chg="add mod">
          <ac:chgData name="内山 裕弥" userId="8d34b9d0-ec49-418d-b1de-019cf6b56da5" providerId="ADAL" clId="{EE417D81-9D62-44B5-9A36-43CC1B66E142}" dt="2024-07-19T04:48:38.407" v="4504" actId="571"/>
          <ac:spMkLst>
            <pc:docMk/>
            <pc:sldMk cId="2452595465" sldId="2147378688"/>
            <ac:spMk id="6" creationId="{2AB6F1E6-91CA-D8FD-88C2-44C55B9F5357}"/>
          </ac:spMkLst>
        </pc:spChg>
        <pc:spChg chg="add mod">
          <ac:chgData name="内山 裕弥" userId="8d34b9d0-ec49-418d-b1de-019cf6b56da5" providerId="ADAL" clId="{EE417D81-9D62-44B5-9A36-43CC1B66E142}" dt="2024-07-19T04:50:19.064" v="4724" actId="20577"/>
          <ac:spMkLst>
            <pc:docMk/>
            <pc:sldMk cId="2452595465" sldId="2147378688"/>
            <ac:spMk id="7" creationId="{24582205-39DE-FABD-CB90-9C30FEE43071}"/>
          </ac:spMkLst>
        </pc:spChg>
        <pc:spChg chg="mod">
          <ac:chgData name="内山 裕弥" userId="8d34b9d0-ec49-418d-b1de-019cf6b56da5" providerId="ADAL" clId="{EE417D81-9D62-44B5-9A36-43CC1B66E142}" dt="2024-07-19T04:50:46.576" v="4741" actId="20577"/>
          <ac:spMkLst>
            <pc:docMk/>
            <pc:sldMk cId="2452595465" sldId="2147378688"/>
            <ac:spMk id="9" creationId="{D22A0A06-D5A8-4A1A-B66F-2A8EDBD644F1}"/>
          </ac:spMkLst>
        </pc:spChg>
        <pc:spChg chg="mod">
          <ac:chgData name="内山 裕弥" userId="8d34b9d0-ec49-418d-b1de-019cf6b56da5" providerId="ADAL" clId="{EE417D81-9D62-44B5-9A36-43CC1B66E142}" dt="2024-07-19T04:52:30.092" v="4793"/>
          <ac:spMkLst>
            <pc:docMk/>
            <pc:sldMk cId="2452595465" sldId="2147378688"/>
            <ac:spMk id="10" creationId="{09B8CBA2-03F1-FCA3-5EF4-E163C51AD89A}"/>
          </ac:spMkLst>
        </pc:spChg>
        <pc:spChg chg="del mod">
          <ac:chgData name="内山 裕弥" userId="8d34b9d0-ec49-418d-b1de-019cf6b56da5" providerId="ADAL" clId="{EE417D81-9D62-44B5-9A36-43CC1B66E142}" dt="2024-07-19T04:49:32.545" v="4545" actId="21"/>
          <ac:spMkLst>
            <pc:docMk/>
            <pc:sldMk cId="2452595465" sldId="2147378688"/>
            <ac:spMk id="11" creationId="{DF311CC2-C502-8448-4552-A080BA91D47C}"/>
          </ac:spMkLst>
        </pc:spChg>
        <pc:graphicFrameChg chg="add mod ord modGraphic">
          <ac:chgData name="内山 裕弥" userId="8d34b9d0-ec49-418d-b1de-019cf6b56da5" providerId="ADAL" clId="{EE417D81-9D62-44B5-9A36-43CC1B66E142}" dt="2024-07-19T04:49:19.289" v="4538" actId="207"/>
          <ac:graphicFrameMkLst>
            <pc:docMk/>
            <pc:sldMk cId="2452595465" sldId="2147378688"/>
            <ac:graphicFrameMk id="3" creationId="{5CD75058-DF54-3019-BEEC-A9CC2112B9F4}"/>
          </ac:graphicFrameMkLst>
        </pc:graphicFrameChg>
        <pc:picChg chg="add mod ord">
          <ac:chgData name="内山 裕弥" userId="8d34b9d0-ec49-418d-b1de-019cf6b56da5" providerId="ADAL" clId="{EE417D81-9D62-44B5-9A36-43CC1B66E142}" dt="2024-07-19T04:48:53.351" v="4509" actId="1076"/>
          <ac:picMkLst>
            <pc:docMk/>
            <pc:sldMk cId="2452595465" sldId="2147378688"/>
            <ac:picMk id="4" creationId="{CB67C656-701C-590D-31B0-33A764E6E23A}"/>
          </ac:picMkLst>
        </pc:picChg>
      </pc:sldChg>
      <pc:sldChg chg="addSp delSp modSp mod">
        <pc:chgData name="内山 裕弥" userId="8d34b9d0-ec49-418d-b1de-019cf6b56da5" providerId="ADAL" clId="{EE417D81-9D62-44B5-9A36-43CC1B66E142}" dt="2024-07-19T04:55:16.873" v="5290" actId="14100"/>
        <pc:sldMkLst>
          <pc:docMk/>
          <pc:sldMk cId="64176771" sldId="2147378692"/>
        </pc:sldMkLst>
        <pc:spChg chg="add mod">
          <ac:chgData name="内山 裕弥" userId="8d34b9d0-ec49-418d-b1de-019cf6b56da5" providerId="ADAL" clId="{EE417D81-9D62-44B5-9A36-43CC1B66E142}" dt="2024-07-19T04:55:16.873" v="5290" actId="14100"/>
          <ac:spMkLst>
            <pc:docMk/>
            <pc:sldMk cId="64176771" sldId="2147378692"/>
            <ac:spMk id="6" creationId="{8F5B53A2-0EF1-F8B6-B41F-2E779B30F578}"/>
          </ac:spMkLst>
        </pc:spChg>
        <pc:spChg chg="del mod">
          <ac:chgData name="内山 裕弥" userId="8d34b9d0-ec49-418d-b1de-019cf6b56da5" providerId="ADAL" clId="{EE417D81-9D62-44B5-9A36-43CC1B66E142}" dt="2024-07-19T04:52:44.439" v="4800" actId="478"/>
          <ac:spMkLst>
            <pc:docMk/>
            <pc:sldMk cId="64176771" sldId="2147378692"/>
            <ac:spMk id="8" creationId="{430BEB5D-C083-5408-ED88-6B0F9B1E1A27}"/>
          </ac:spMkLst>
        </pc:spChg>
        <pc:spChg chg="mod">
          <ac:chgData name="内山 裕弥" userId="8d34b9d0-ec49-418d-b1de-019cf6b56da5" providerId="ADAL" clId="{EE417D81-9D62-44B5-9A36-43CC1B66E142}" dt="2024-07-19T04:52:33.540" v="4796"/>
          <ac:spMkLst>
            <pc:docMk/>
            <pc:sldMk cId="64176771" sldId="2147378692"/>
            <ac:spMk id="9" creationId="{43C330CB-8A4D-F4A2-AFFC-48CA4FB9C719}"/>
          </ac:spMkLst>
        </pc:spChg>
        <pc:graphicFrameChg chg="mod">
          <ac:chgData name="内山 裕弥" userId="8d34b9d0-ec49-418d-b1de-019cf6b56da5" providerId="ADAL" clId="{EE417D81-9D62-44B5-9A36-43CC1B66E142}" dt="2024-07-19T04:52:58.261" v="4804" actId="21"/>
          <ac:graphicFrameMkLst>
            <pc:docMk/>
            <pc:sldMk cId="64176771" sldId="2147378692"/>
            <ac:graphicFrameMk id="2" creationId="{12ACD507-CDCD-7967-B093-33A8EA8B50AD}"/>
          </ac:graphicFrameMkLst>
        </pc:graphicFrameChg>
      </pc:sldChg>
      <pc:sldChg chg="addSp delSp modSp mod">
        <pc:chgData name="内山 裕弥" userId="8d34b9d0-ec49-418d-b1de-019cf6b56da5" providerId="ADAL" clId="{EE417D81-9D62-44B5-9A36-43CC1B66E142}" dt="2024-07-19T04:57:15.553" v="5488"/>
        <pc:sldMkLst>
          <pc:docMk/>
          <pc:sldMk cId="2807815468" sldId="2147378693"/>
        </pc:sldMkLst>
        <pc:spChg chg="del mod">
          <ac:chgData name="内山 裕弥" userId="8d34b9d0-ec49-418d-b1de-019cf6b56da5" providerId="ADAL" clId="{EE417D81-9D62-44B5-9A36-43CC1B66E142}" dt="2024-07-19T04:55:48.187" v="5298" actId="478"/>
          <ac:spMkLst>
            <pc:docMk/>
            <pc:sldMk cId="2807815468" sldId="2147378693"/>
            <ac:spMk id="3" creationId="{E8307DE4-B685-8681-C06A-AB760B5D189C}"/>
          </ac:spMkLst>
        </pc:spChg>
        <pc:spChg chg="add mod">
          <ac:chgData name="内山 裕弥" userId="8d34b9d0-ec49-418d-b1de-019cf6b56da5" providerId="ADAL" clId="{EE417D81-9D62-44B5-9A36-43CC1B66E142}" dt="2024-07-19T04:56:50.855" v="5486" actId="1076"/>
          <ac:spMkLst>
            <pc:docMk/>
            <pc:sldMk cId="2807815468" sldId="2147378693"/>
            <ac:spMk id="6" creationId="{AB16B992-8FEA-2524-9080-25C00B9EB250}"/>
          </ac:spMkLst>
        </pc:spChg>
        <pc:spChg chg="mod">
          <ac:chgData name="内山 裕弥" userId="8d34b9d0-ec49-418d-b1de-019cf6b56da5" providerId="ADAL" clId="{EE417D81-9D62-44B5-9A36-43CC1B66E142}" dt="2024-07-19T04:55:39.513" v="5293"/>
          <ac:spMkLst>
            <pc:docMk/>
            <pc:sldMk cId="2807815468" sldId="2147378693"/>
            <ac:spMk id="7" creationId="{AB44C853-6597-563E-FBB5-333EA802200B}"/>
          </ac:spMkLst>
        </pc:spChg>
        <pc:spChg chg="del mod">
          <ac:chgData name="内山 裕弥" userId="8d34b9d0-ec49-418d-b1de-019cf6b56da5" providerId="ADAL" clId="{EE417D81-9D62-44B5-9A36-43CC1B66E142}" dt="2024-07-19T04:57:15.553" v="5488"/>
          <ac:spMkLst>
            <pc:docMk/>
            <pc:sldMk cId="2807815468" sldId="2147378693"/>
            <ac:spMk id="10" creationId="{0A97D34E-723F-105C-1855-E9ECCA44243E}"/>
          </ac:spMkLst>
        </pc:spChg>
      </pc:sldChg>
      <pc:sldChg chg="addSp delSp modSp mod">
        <pc:chgData name="内山 裕弥" userId="8d34b9d0-ec49-418d-b1de-019cf6b56da5" providerId="ADAL" clId="{EE417D81-9D62-44B5-9A36-43CC1B66E142}" dt="2024-07-19T04:57:37.529" v="5527" actId="20577"/>
        <pc:sldMkLst>
          <pc:docMk/>
          <pc:sldMk cId="1631142101" sldId="2147378694"/>
        </pc:sldMkLst>
        <pc:spChg chg="del mod">
          <ac:chgData name="内山 裕弥" userId="8d34b9d0-ec49-418d-b1de-019cf6b56da5" providerId="ADAL" clId="{EE417D81-9D62-44B5-9A36-43CC1B66E142}" dt="2024-07-19T04:57:24.846" v="5492" actId="478"/>
          <ac:spMkLst>
            <pc:docMk/>
            <pc:sldMk cId="1631142101" sldId="2147378694"/>
            <ac:spMk id="2" creationId="{89151AD2-4460-53D9-CF93-F29025E96346}"/>
          </ac:spMkLst>
        </pc:spChg>
        <pc:spChg chg="add mod">
          <ac:chgData name="内山 裕弥" userId="8d34b9d0-ec49-418d-b1de-019cf6b56da5" providerId="ADAL" clId="{EE417D81-9D62-44B5-9A36-43CC1B66E142}" dt="2024-07-19T04:57:37.529" v="5527" actId="20577"/>
          <ac:spMkLst>
            <pc:docMk/>
            <pc:sldMk cId="1631142101" sldId="2147378694"/>
            <ac:spMk id="6" creationId="{7CABF31E-164B-05A5-D57B-0E33F4E31404}"/>
          </ac:spMkLst>
        </pc:spChg>
      </pc:sldChg>
      <pc:sldChg chg="addSp delSp modSp mod">
        <pc:chgData name="内山 裕弥" userId="8d34b9d0-ec49-418d-b1de-019cf6b56da5" providerId="ADAL" clId="{EE417D81-9D62-44B5-9A36-43CC1B66E142}" dt="2024-07-19T05:03:21.617" v="6084" actId="1076"/>
        <pc:sldMkLst>
          <pc:docMk/>
          <pc:sldMk cId="3347821416" sldId="2147378698"/>
        </pc:sldMkLst>
        <pc:spChg chg="del mod">
          <ac:chgData name="内山 裕弥" userId="8d34b9d0-ec49-418d-b1de-019cf6b56da5" providerId="ADAL" clId="{EE417D81-9D62-44B5-9A36-43CC1B66E142}" dt="2024-07-19T05:02:56.206" v="6082"/>
          <ac:spMkLst>
            <pc:docMk/>
            <pc:sldMk cId="3347821416" sldId="2147378698"/>
            <ac:spMk id="3" creationId="{E4C1F0CA-D59B-2839-1212-A75A55E2548A}"/>
          </ac:spMkLst>
        </pc:spChg>
        <pc:spChg chg="add mod">
          <ac:chgData name="内山 裕弥" userId="8d34b9d0-ec49-418d-b1de-019cf6b56da5" providerId="ADAL" clId="{EE417D81-9D62-44B5-9A36-43CC1B66E142}" dt="2024-07-19T05:02:55.229" v="6080" actId="14100"/>
          <ac:spMkLst>
            <pc:docMk/>
            <pc:sldMk cId="3347821416" sldId="2147378698"/>
            <ac:spMk id="4" creationId="{9986CF63-9F4F-EEC8-16B1-03EAAE162369}"/>
          </ac:spMkLst>
        </pc:spChg>
        <pc:spChg chg="add del mod">
          <ac:chgData name="内山 裕弥" userId="8d34b9d0-ec49-418d-b1de-019cf6b56da5" providerId="ADAL" clId="{EE417D81-9D62-44B5-9A36-43CC1B66E142}" dt="2024-07-19T05:00:26.679" v="5535"/>
          <ac:spMkLst>
            <pc:docMk/>
            <pc:sldMk cId="3347821416" sldId="2147378698"/>
            <ac:spMk id="8" creationId="{10850209-BC14-80A2-9241-693DF7731108}"/>
          </ac:spMkLst>
        </pc:spChg>
        <pc:spChg chg="add del mod">
          <ac:chgData name="内山 裕弥" userId="8d34b9d0-ec49-418d-b1de-019cf6b56da5" providerId="ADAL" clId="{EE417D81-9D62-44B5-9A36-43CC1B66E142}" dt="2024-07-19T05:00:26.679" v="5535"/>
          <ac:spMkLst>
            <pc:docMk/>
            <pc:sldMk cId="3347821416" sldId="2147378698"/>
            <ac:spMk id="10" creationId="{D11ED487-10C7-E53A-50E8-CFB4020373F2}"/>
          </ac:spMkLst>
        </pc:spChg>
        <pc:spChg chg="add del mod">
          <ac:chgData name="内山 裕弥" userId="8d34b9d0-ec49-418d-b1de-019cf6b56da5" providerId="ADAL" clId="{EE417D81-9D62-44B5-9A36-43CC1B66E142}" dt="2024-07-19T05:00:26.679" v="5535"/>
          <ac:spMkLst>
            <pc:docMk/>
            <pc:sldMk cId="3347821416" sldId="2147378698"/>
            <ac:spMk id="11" creationId="{7E57F75D-03E0-04CB-EE12-D8D89AF01E36}"/>
          </ac:spMkLst>
        </pc:spChg>
        <pc:spChg chg="add del mod">
          <ac:chgData name="内山 裕弥" userId="8d34b9d0-ec49-418d-b1de-019cf6b56da5" providerId="ADAL" clId="{EE417D81-9D62-44B5-9A36-43CC1B66E142}" dt="2024-07-19T05:00:26.679" v="5535"/>
          <ac:spMkLst>
            <pc:docMk/>
            <pc:sldMk cId="3347821416" sldId="2147378698"/>
            <ac:spMk id="12" creationId="{53CE6DB2-FD6C-4895-1172-6B277E743F46}"/>
          </ac:spMkLst>
        </pc:spChg>
        <pc:spChg chg="add del mod">
          <ac:chgData name="内山 裕弥" userId="8d34b9d0-ec49-418d-b1de-019cf6b56da5" providerId="ADAL" clId="{EE417D81-9D62-44B5-9A36-43CC1B66E142}" dt="2024-07-19T05:00:26.679" v="5535"/>
          <ac:spMkLst>
            <pc:docMk/>
            <pc:sldMk cId="3347821416" sldId="2147378698"/>
            <ac:spMk id="13" creationId="{DF642EF6-485D-3E6D-63A0-ED65955BB237}"/>
          </ac:spMkLst>
        </pc:spChg>
        <pc:spChg chg="add del mod">
          <ac:chgData name="内山 裕弥" userId="8d34b9d0-ec49-418d-b1de-019cf6b56da5" providerId="ADAL" clId="{EE417D81-9D62-44B5-9A36-43CC1B66E142}" dt="2024-07-19T05:00:26.679" v="5535"/>
          <ac:spMkLst>
            <pc:docMk/>
            <pc:sldMk cId="3347821416" sldId="2147378698"/>
            <ac:spMk id="14" creationId="{EDF095BF-916A-884A-1729-9BCC9B47FE66}"/>
          </ac:spMkLst>
        </pc:spChg>
        <pc:spChg chg="add del mod">
          <ac:chgData name="内山 裕弥" userId="8d34b9d0-ec49-418d-b1de-019cf6b56da5" providerId="ADAL" clId="{EE417D81-9D62-44B5-9A36-43CC1B66E142}" dt="2024-07-19T05:00:26.679" v="5535"/>
          <ac:spMkLst>
            <pc:docMk/>
            <pc:sldMk cId="3347821416" sldId="2147378698"/>
            <ac:spMk id="15" creationId="{FD26CC9E-922F-ABFD-4077-1B58694529FA}"/>
          </ac:spMkLst>
        </pc:spChg>
        <pc:spChg chg="add del mod">
          <ac:chgData name="内山 裕弥" userId="8d34b9d0-ec49-418d-b1de-019cf6b56da5" providerId="ADAL" clId="{EE417D81-9D62-44B5-9A36-43CC1B66E142}" dt="2024-07-19T05:00:26.679" v="5535"/>
          <ac:spMkLst>
            <pc:docMk/>
            <pc:sldMk cId="3347821416" sldId="2147378698"/>
            <ac:spMk id="16" creationId="{605D5B5D-4CCE-314B-389E-0912DAAB0EE3}"/>
          </ac:spMkLst>
        </pc:spChg>
        <pc:spChg chg="add del mod">
          <ac:chgData name="内山 裕弥" userId="8d34b9d0-ec49-418d-b1de-019cf6b56da5" providerId="ADAL" clId="{EE417D81-9D62-44B5-9A36-43CC1B66E142}" dt="2024-07-19T05:00:26.679" v="5535"/>
          <ac:spMkLst>
            <pc:docMk/>
            <pc:sldMk cId="3347821416" sldId="2147378698"/>
            <ac:spMk id="17" creationId="{033A359F-D397-CCDF-C294-AC0DC004E79E}"/>
          </ac:spMkLst>
        </pc:spChg>
        <pc:spChg chg="add del mod">
          <ac:chgData name="内山 裕弥" userId="8d34b9d0-ec49-418d-b1de-019cf6b56da5" providerId="ADAL" clId="{EE417D81-9D62-44B5-9A36-43CC1B66E142}" dt="2024-07-19T05:00:26.679" v="5535"/>
          <ac:spMkLst>
            <pc:docMk/>
            <pc:sldMk cId="3347821416" sldId="2147378698"/>
            <ac:spMk id="18" creationId="{179511B3-E629-9D8E-EB81-11377F6F7AC2}"/>
          </ac:spMkLst>
        </pc:spChg>
        <pc:spChg chg="add del mod">
          <ac:chgData name="内山 裕弥" userId="8d34b9d0-ec49-418d-b1de-019cf6b56da5" providerId="ADAL" clId="{EE417D81-9D62-44B5-9A36-43CC1B66E142}" dt="2024-07-19T05:00:26.679" v="5535"/>
          <ac:spMkLst>
            <pc:docMk/>
            <pc:sldMk cId="3347821416" sldId="2147378698"/>
            <ac:spMk id="20" creationId="{4F22A7EE-C394-063E-9275-46FA505BB679}"/>
          </ac:spMkLst>
        </pc:spChg>
        <pc:spChg chg="add del mod">
          <ac:chgData name="内山 裕弥" userId="8d34b9d0-ec49-418d-b1de-019cf6b56da5" providerId="ADAL" clId="{EE417D81-9D62-44B5-9A36-43CC1B66E142}" dt="2024-07-19T05:00:26.679" v="5535"/>
          <ac:spMkLst>
            <pc:docMk/>
            <pc:sldMk cId="3347821416" sldId="2147378698"/>
            <ac:spMk id="21" creationId="{DCB0DA9C-6F8E-5F96-16BA-C7378A439A28}"/>
          </ac:spMkLst>
        </pc:spChg>
        <pc:spChg chg="add del mod">
          <ac:chgData name="内山 裕弥" userId="8d34b9d0-ec49-418d-b1de-019cf6b56da5" providerId="ADAL" clId="{EE417D81-9D62-44B5-9A36-43CC1B66E142}" dt="2024-07-19T05:00:26.679" v="5535"/>
          <ac:spMkLst>
            <pc:docMk/>
            <pc:sldMk cId="3347821416" sldId="2147378698"/>
            <ac:spMk id="22" creationId="{0A09B8A7-EE59-D587-7C3B-9CD3A7CACFC9}"/>
          </ac:spMkLst>
        </pc:spChg>
        <pc:spChg chg="add del mod">
          <ac:chgData name="内山 裕弥" userId="8d34b9d0-ec49-418d-b1de-019cf6b56da5" providerId="ADAL" clId="{EE417D81-9D62-44B5-9A36-43CC1B66E142}" dt="2024-07-19T05:00:26.679" v="5535"/>
          <ac:spMkLst>
            <pc:docMk/>
            <pc:sldMk cId="3347821416" sldId="2147378698"/>
            <ac:spMk id="23" creationId="{7B1B94A6-037F-541B-C1CA-11FC394C1BAA}"/>
          </ac:spMkLst>
        </pc:spChg>
        <pc:spChg chg="add del mod">
          <ac:chgData name="内山 裕弥" userId="8d34b9d0-ec49-418d-b1de-019cf6b56da5" providerId="ADAL" clId="{EE417D81-9D62-44B5-9A36-43CC1B66E142}" dt="2024-07-19T05:00:26.679" v="5535"/>
          <ac:spMkLst>
            <pc:docMk/>
            <pc:sldMk cId="3347821416" sldId="2147378698"/>
            <ac:spMk id="24" creationId="{84AD3BF2-C8BC-6F5E-ECD4-D14FC70A4E56}"/>
          </ac:spMkLst>
        </pc:spChg>
        <pc:spChg chg="add del mod">
          <ac:chgData name="内山 裕弥" userId="8d34b9d0-ec49-418d-b1de-019cf6b56da5" providerId="ADAL" clId="{EE417D81-9D62-44B5-9A36-43CC1B66E142}" dt="2024-07-19T05:00:26.679" v="5535"/>
          <ac:spMkLst>
            <pc:docMk/>
            <pc:sldMk cId="3347821416" sldId="2147378698"/>
            <ac:spMk id="25" creationId="{71795CF2-B2F4-882D-9BC1-8C8ACF0C1176}"/>
          </ac:spMkLst>
        </pc:spChg>
        <pc:spChg chg="add del mod">
          <ac:chgData name="内山 裕弥" userId="8d34b9d0-ec49-418d-b1de-019cf6b56da5" providerId="ADAL" clId="{EE417D81-9D62-44B5-9A36-43CC1B66E142}" dt="2024-07-19T05:00:26.679" v="5535"/>
          <ac:spMkLst>
            <pc:docMk/>
            <pc:sldMk cId="3347821416" sldId="2147378698"/>
            <ac:spMk id="26" creationId="{6FC8CC88-D648-1762-1436-1E68A7D86EFB}"/>
          </ac:spMkLst>
        </pc:spChg>
        <pc:spChg chg="add del mod">
          <ac:chgData name="内山 裕弥" userId="8d34b9d0-ec49-418d-b1de-019cf6b56da5" providerId="ADAL" clId="{EE417D81-9D62-44B5-9A36-43CC1B66E142}" dt="2024-07-19T05:00:26.679" v="5535"/>
          <ac:spMkLst>
            <pc:docMk/>
            <pc:sldMk cId="3347821416" sldId="2147378698"/>
            <ac:spMk id="28" creationId="{32CD005A-3CEB-5916-4C52-EF8A8192FB4F}"/>
          </ac:spMkLst>
        </pc:spChg>
        <pc:spChg chg="add del mod">
          <ac:chgData name="内山 裕弥" userId="8d34b9d0-ec49-418d-b1de-019cf6b56da5" providerId="ADAL" clId="{EE417D81-9D62-44B5-9A36-43CC1B66E142}" dt="2024-07-19T05:00:26.679" v="5535"/>
          <ac:spMkLst>
            <pc:docMk/>
            <pc:sldMk cId="3347821416" sldId="2147378698"/>
            <ac:spMk id="29" creationId="{E9487253-4F33-A3CD-AB96-2FB2B74D3EF8}"/>
          </ac:spMkLst>
        </pc:spChg>
        <pc:spChg chg="add del mod">
          <ac:chgData name="内山 裕弥" userId="8d34b9d0-ec49-418d-b1de-019cf6b56da5" providerId="ADAL" clId="{EE417D81-9D62-44B5-9A36-43CC1B66E142}" dt="2024-07-19T05:00:26.679" v="5535"/>
          <ac:spMkLst>
            <pc:docMk/>
            <pc:sldMk cId="3347821416" sldId="2147378698"/>
            <ac:spMk id="30" creationId="{5B5C74CE-776E-6797-07A1-AE8B13A3C91F}"/>
          </ac:spMkLst>
        </pc:spChg>
        <pc:picChg chg="add del mod">
          <ac:chgData name="内山 裕弥" userId="8d34b9d0-ec49-418d-b1de-019cf6b56da5" providerId="ADAL" clId="{EE417D81-9D62-44B5-9A36-43CC1B66E142}" dt="2024-07-19T05:00:26.679" v="5535"/>
          <ac:picMkLst>
            <pc:docMk/>
            <pc:sldMk cId="3347821416" sldId="2147378698"/>
            <ac:picMk id="7" creationId="{BDBBA593-FC21-2E8C-0F76-016C3ADE0546}"/>
          </ac:picMkLst>
        </pc:picChg>
        <pc:picChg chg="add mod ord">
          <ac:chgData name="内山 裕弥" userId="8d34b9d0-ec49-418d-b1de-019cf6b56da5" providerId="ADAL" clId="{EE417D81-9D62-44B5-9A36-43CC1B66E142}" dt="2024-07-19T05:03:21.617" v="6084" actId="1076"/>
          <ac:picMkLst>
            <pc:docMk/>
            <pc:sldMk cId="3347821416" sldId="2147378698"/>
            <ac:picMk id="31" creationId="{16020430-00B1-287F-A924-BAA06D233495}"/>
          </ac:picMkLst>
        </pc:picChg>
        <pc:cxnChg chg="add del mod">
          <ac:chgData name="内山 裕弥" userId="8d34b9d0-ec49-418d-b1de-019cf6b56da5" providerId="ADAL" clId="{EE417D81-9D62-44B5-9A36-43CC1B66E142}" dt="2024-07-19T05:00:26.679" v="5535"/>
          <ac:cxnSpMkLst>
            <pc:docMk/>
            <pc:sldMk cId="3347821416" sldId="2147378698"/>
            <ac:cxnSpMk id="19" creationId="{84609300-97FD-ED0F-EE1A-28F74A42B3DF}"/>
          </ac:cxnSpMkLst>
        </pc:cxnChg>
        <pc:cxnChg chg="add del mod">
          <ac:chgData name="内山 裕弥" userId="8d34b9d0-ec49-418d-b1de-019cf6b56da5" providerId="ADAL" clId="{EE417D81-9D62-44B5-9A36-43CC1B66E142}" dt="2024-07-19T05:00:26.679" v="5535"/>
          <ac:cxnSpMkLst>
            <pc:docMk/>
            <pc:sldMk cId="3347821416" sldId="2147378698"/>
            <ac:cxnSpMk id="27" creationId="{971825AC-523F-5A0C-45DB-E4D85E2068C1}"/>
          </ac:cxnSpMkLst>
        </pc:cxnChg>
      </pc:sldChg>
      <pc:sldChg chg="addSp delSp modSp mod">
        <pc:chgData name="内山 裕弥" userId="8d34b9d0-ec49-418d-b1de-019cf6b56da5" providerId="ADAL" clId="{EE417D81-9D62-44B5-9A36-43CC1B66E142}" dt="2024-07-19T05:13:20.285" v="7533" actId="207"/>
        <pc:sldMkLst>
          <pc:docMk/>
          <pc:sldMk cId="190838501" sldId="2147378699"/>
        </pc:sldMkLst>
        <pc:spChg chg="add mod">
          <ac:chgData name="内山 裕弥" userId="8d34b9d0-ec49-418d-b1de-019cf6b56da5" providerId="ADAL" clId="{EE417D81-9D62-44B5-9A36-43CC1B66E142}" dt="2024-07-19T05:13:14.230" v="7518" actId="20577"/>
          <ac:spMkLst>
            <pc:docMk/>
            <pc:sldMk cId="190838501" sldId="2147378699"/>
            <ac:spMk id="3" creationId="{C3720E54-FD1F-DDED-C885-DFDBDFBC33BD}"/>
          </ac:spMkLst>
        </pc:spChg>
        <pc:spChg chg="mod">
          <ac:chgData name="内山 裕弥" userId="8d34b9d0-ec49-418d-b1de-019cf6b56da5" providerId="ADAL" clId="{EE417D81-9D62-44B5-9A36-43CC1B66E142}" dt="2024-07-19T05:13:20.285" v="7533" actId="207"/>
          <ac:spMkLst>
            <pc:docMk/>
            <pc:sldMk cId="190838501" sldId="2147378699"/>
            <ac:spMk id="7" creationId="{58DA3483-121F-7012-3B2F-2B488EE5EECD}"/>
          </ac:spMkLst>
        </pc:spChg>
        <pc:spChg chg="del mod">
          <ac:chgData name="内山 裕弥" userId="8d34b9d0-ec49-418d-b1de-019cf6b56da5" providerId="ADAL" clId="{EE417D81-9D62-44B5-9A36-43CC1B66E142}" dt="2024-07-19T05:09:12.033" v="6729"/>
          <ac:spMkLst>
            <pc:docMk/>
            <pc:sldMk cId="190838501" sldId="2147378699"/>
            <ac:spMk id="13" creationId="{820553A6-BC6E-8438-3B81-A49B23C28ABF}"/>
          </ac:spMkLst>
        </pc:spChg>
        <pc:graphicFrameChg chg="mod modGraphic">
          <ac:chgData name="内山 裕弥" userId="8d34b9d0-ec49-418d-b1de-019cf6b56da5" providerId="ADAL" clId="{EE417D81-9D62-44B5-9A36-43CC1B66E142}" dt="2024-07-19T05:11:43.411" v="7391" actId="207"/>
          <ac:graphicFrameMkLst>
            <pc:docMk/>
            <pc:sldMk cId="190838501" sldId="2147378699"/>
            <ac:graphicFrameMk id="2" creationId="{5E62C5DD-8E38-39C6-A171-A79017DD18C4}"/>
          </ac:graphicFrameMkLst>
        </pc:graphicFrameChg>
      </pc:sldChg>
      <pc:sldChg chg="addSp delSp modSp mod">
        <pc:chgData name="内山 裕弥" userId="8d34b9d0-ec49-418d-b1de-019cf6b56da5" providerId="ADAL" clId="{EE417D81-9D62-44B5-9A36-43CC1B66E142}" dt="2024-07-19T05:16:18.080" v="7641" actId="1076"/>
        <pc:sldMkLst>
          <pc:docMk/>
          <pc:sldMk cId="959679513" sldId="2147378701"/>
        </pc:sldMkLst>
        <pc:spChg chg="add mod">
          <ac:chgData name="内山 裕弥" userId="8d34b9d0-ec49-418d-b1de-019cf6b56da5" providerId="ADAL" clId="{EE417D81-9D62-44B5-9A36-43CC1B66E142}" dt="2024-07-19T05:16:18.080" v="7641" actId="1076"/>
          <ac:spMkLst>
            <pc:docMk/>
            <pc:sldMk cId="959679513" sldId="2147378701"/>
            <ac:spMk id="4" creationId="{C0D0AFEB-3FED-E797-776D-18785F5B85FD}"/>
          </ac:spMkLst>
        </pc:spChg>
        <pc:spChg chg="del mod">
          <ac:chgData name="内山 裕弥" userId="8d34b9d0-ec49-418d-b1de-019cf6b56da5" providerId="ADAL" clId="{EE417D81-9D62-44B5-9A36-43CC1B66E142}" dt="2024-07-19T05:14:15.842" v="7538" actId="478"/>
          <ac:spMkLst>
            <pc:docMk/>
            <pc:sldMk cId="959679513" sldId="2147378701"/>
            <ac:spMk id="8" creationId="{71D39E2A-2214-4448-8774-2A3AB120A9B7}"/>
          </ac:spMkLst>
        </pc:spChg>
        <pc:graphicFrameChg chg="mod modGraphic">
          <ac:chgData name="内山 裕弥" userId="8d34b9d0-ec49-418d-b1de-019cf6b56da5" providerId="ADAL" clId="{EE417D81-9D62-44B5-9A36-43CC1B66E142}" dt="2024-07-19T05:16:13.158" v="7638" actId="20577"/>
          <ac:graphicFrameMkLst>
            <pc:docMk/>
            <pc:sldMk cId="959679513" sldId="2147378701"/>
            <ac:graphicFrameMk id="3" creationId="{1E352AD7-4D05-33EE-61E0-3F07FA0F915F}"/>
          </ac:graphicFrameMkLst>
        </pc:graphicFrameChg>
      </pc:sldChg>
      <pc:sldChg chg="addSp delSp modSp mod">
        <pc:chgData name="内山 裕弥" userId="8d34b9d0-ec49-418d-b1de-019cf6b56da5" providerId="ADAL" clId="{EE417D81-9D62-44B5-9A36-43CC1B66E142}" dt="2024-07-19T05:19:27.007" v="8095" actId="20577"/>
        <pc:sldMkLst>
          <pc:docMk/>
          <pc:sldMk cId="444370572" sldId="2147378702"/>
        </pc:sldMkLst>
        <pc:spChg chg="add mod">
          <ac:chgData name="内山 裕弥" userId="8d34b9d0-ec49-418d-b1de-019cf6b56da5" providerId="ADAL" clId="{EE417D81-9D62-44B5-9A36-43CC1B66E142}" dt="2024-07-19T05:19:05.543" v="8049" actId="14100"/>
          <ac:spMkLst>
            <pc:docMk/>
            <pc:sldMk cId="444370572" sldId="2147378702"/>
            <ac:spMk id="3" creationId="{85ECF3D7-D949-2422-CEE1-82F658C4178F}"/>
          </ac:spMkLst>
        </pc:spChg>
        <pc:spChg chg="del mod">
          <ac:chgData name="内山 裕弥" userId="8d34b9d0-ec49-418d-b1de-019cf6b56da5" providerId="ADAL" clId="{EE417D81-9D62-44B5-9A36-43CC1B66E142}" dt="2024-07-19T05:18:05.485" v="7726" actId="21"/>
          <ac:spMkLst>
            <pc:docMk/>
            <pc:sldMk cId="444370572" sldId="2147378702"/>
            <ac:spMk id="8" creationId="{D1777F5A-ADD4-8079-B2FB-C275A4CB4350}"/>
          </ac:spMkLst>
        </pc:spChg>
        <pc:graphicFrameChg chg="mod modGraphic">
          <ac:chgData name="内山 裕弥" userId="8d34b9d0-ec49-418d-b1de-019cf6b56da5" providerId="ADAL" clId="{EE417D81-9D62-44B5-9A36-43CC1B66E142}" dt="2024-07-19T05:19:27.007" v="8095" actId="20577"/>
          <ac:graphicFrameMkLst>
            <pc:docMk/>
            <pc:sldMk cId="444370572" sldId="2147378702"/>
            <ac:graphicFrameMk id="4" creationId="{07092873-AD2F-3B69-2A42-020154D983DE}"/>
          </ac:graphicFrameMkLst>
        </pc:graphicFrameChg>
      </pc:sldChg>
      <pc:sldChg chg="addSp delSp modSp mod">
        <pc:chgData name="内山 裕弥" userId="8d34b9d0-ec49-418d-b1de-019cf6b56da5" providerId="ADAL" clId="{EE417D81-9D62-44B5-9A36-43CC1B66E142}" dt="2024-07-19T05:22:18.048" v="8393"/>
        <pc:sldMkLst>
          <pc:docMk/>
          <pc:sldMk cId="112285639" sldId="2147378703"/>
        </pc:sldMkLst>
        <pc:spChg chg="del mod">
          <ac:chgData name="内山 裕弥" userId="8d34b9d0-ec49-418d-b1de-019cf6b56da5" providerId="ADAL" clId="{EE417D81-9D62-44B5-9A36-43CC1B66E142}" dt="2024-07-19T05:22:18.048" v="8393"/>
          <ac:spMkLst>
            <pc:docMk/>
            <pc:sldMk cId="112285639" sldId="2147378703"/>
            <ac:spMk id="7" creationId="{13123BD9-EA94-41EC-E2B6-C4AA60DA2C07}"/>
          </ac:spMkLst>
        </pc:spChg>
        <pc:spChg chg="add del mod">
          <ac:chgData name="内山 裕弥" userId="8d34b9d0-ec49-418d-b1de-019cf6b56da5" providerId="ADAL" clId="{EE417D81-9D62-44B5-9A36-43CC1B66E142}" dt="2024-07-19T05:19:50.668" v="8097"/>
          <ac:spMkLst>
            <pc:docMk/>
            <pc:sldMk cId="112285639" sldId="2147378703"/>
            <ac:spMk id="10" creationId="{06B428BC-EDB0-FF3F-A46F-A836AB048221}"/>
          </ac:spMkLst>
        </pc:spChg>
        <pc:spChg chg="add del mod">
          <ac:chgData name="内山 裕弥" userId="8d34b9d0-ec49-418d-b1de-019cf6b56da5" providerId="ADAL" clId="{EE417D81-9D62-44B5-9A36-43CC1B66E142}" dt="2024-07-19T05:19:50.668" v="8097"/>
          <ac:spMkLst>
            <pc:docMk/>
            <pc:sldMk cId="112285639" sldId="2147378703"/>
            <ac:spMk id="11" creationId="{32FF2880-52F8-A9D6-6DD5-99362CFABE2B}"/>
          </ac:spMkLst>
        </pc:spChg>
        <pc:spChg chg="add mod">
          <ac:chgData name="内山 裕弥" userId="8d34b9d0-ec49-418d-b1de-019cf6b56da5" providerId="ADAL" clId="{EE417D81-9D62-44B5-9A36-43CC1B66E142}" dt="2024-07-19T05:22:17.024" v="8391" actId="20577"/>
          <ac:spMkLst>
            <pc:docMk/>
            <pc:sldMk cId="112285639" sldId="2147378703"/>
            <ac:spMk id="13" creationId="{ED88E5C2-1CEC-3507-1A41-A32A9F740D09}"/>
          </ac:spMkLst>
        </pc:spChg>
        <pc:picChg chg="add del mod">
          <ac:chgData name="内山 裕弥" userId="8d34b9d0-ec49-418d-b1de-019cf6b56da5" providerId="ADAL" clId="{EE417D81-9D62-44B5-9A36-43CC1B66E142}" dt="2024-07-19T05:19:50.668" v="8097"/>
          <ac:picMkLst>
            <pc:docMk/>
            <pc:sldMk cId="112285639" sldId="2147378703"/>
            <ac:picMk id="5" creationId="{FE1A3A15-8A01-4080-FA18-22D1F9F0DEA5}"/>
          </ac:picMkLst>
        </pc:picChg>
        <pc:picChg chg="add del mod">
          <ac:chgData name="内山 裕弥" userId="8d34b9d0-ec49-418d-b1de-019cf6b56da5" providerId="ADAL" clId="{EE417D81-9D62-44B5-9A36-43CC1B66E142}" dt="2024-07-19T05:19:50.668" v="8097"/>
          <ac:picMkLst>
            <pc:docMk/>
            <pc:sldMk cId="112285639" sldId="2147378703"/>
            <ac:picMk id="8" creationId="{0466BE76-ED4C-E34B-64FC-482178DB1F72}"/>
          </ac:picMkLst>
        </pc:picChg>
        <pc:picChg chg="add del mod">
          <ac:chgData name="内山 裕弥" userId="8d34b9d0-ec49-418d-b1de-019cf6b56da5" providerId="ADAL" clId="{EE417D81-9D62-44B5-9A36-43CC1B66E142}" dt="2024-07-19T05:19:50.668" v="8097"/>
          <ac:picMkLst>
            <pc:docMk/>
            <pc:sldMk cId="112285639" sldId="2147378703"/>
            <ac:picMk id="9" creationId="{6E359903-7DE7-9141-4BE4-332E4020187F}"/>
          </ac:picMkLst>
        </pc:picChg>
        <pc:picChg chg="add mod ord">
          <ac:chgData name="内山 裕弥" userId="8d34b9d0-ec49-418d-b1de-019cf6b56da5" providerId="ADAL" clId="{EE417D81-9D62-44B5-9A36-43CC1B66E142}" dt="2024-07-19T05:19:54.057" v="8100" actId="167"/>
          <ac:picMkLst>
            <pc:docMk/>
            <pc:sldMk cId="112285639" sldId="2147378703"/>
            <ac:picMk id="12" creationId="{920D49B5-780A-0B0E-081E-8188B35BACC6}"/>
          </ac:picMkLst>
        </pc:picChg>
      </pc:sldChg>
      <pc:sldChg chg="addSp delSp modSp mod">
        <pc:chgData name="内山 裕弥" userId="8d34b9d0-ec49-418d-b1de-019cf6b56da5" providerId="ADAL" clId="{EE417D81-9D62-44B5-9A36-43CC1B66E142}" dt="2024-07-19T05:40:12.134" v="8590" actId="20577"/>
        <pc:sldMkLst>
          <pc:docMk/>
          <pc:sldMk cId="936371591" sldId="2147378704"/>
        </pc:sldMkLst>
        <pc:spChg chg="del mod">
          <ac:chgData name="内山 裕弥" userId="8d34b9d0-ec49-418d-b1de-019cf6b56da5" providerId="ADAL" clId="{EE417D81-9D62-44B5-9A36-43CC1B66E142}" dt="2024-07-19T05:39:54.075" v="8569" actId="478"/>
          <ac:spMkLst>
            <pc:docMk/>
            <pc:sldMk cId="936371591" sldId="2147378704"/>
            <ac:spMk id="6" creationId="{EE1A8DD0-7861-68AD-CE1F-C58C26FB75A7}"/>
          </ac:spMkLst>
        </pc:spChg>
        <pc:spChg chg="add mod">
          <ac:chgData name="内山 裕弥" userId="8d34b9d0-ec49-418d-b1de-019cf6b56da5" providerId="ADAL" clId="{EE417D81-9D62-44B5-9A36-43CC1B66E142}" dt="2024-07-19T05:40:12.134" v="8590" actId="20577"/>
          <ac:spMkLst>
            <pc:docMk/>
            <pc:sldMk cId="936371591" sldId="2147378704"/>
            <ac:spMk id="7" creationId="{91D9460F-1390-32F5-1B0E-70693C6D1EFA}"/>
          </ac:spMkLst>
        </pc:spChg>
      </pc:sldChg>
      <pc:sldChg chg="addSp delSp modSp mod">
        <pc:chgData name="内山 裕弥" userId="8d34b9d0-ec49-418d-b1de-019cf6b56da5" providerId="ADAL" clId="{EE417D81-9D62-44B5-9A36-43CC1B66E142}" dt="2024-07-19T11:09:42.960" v="9176" actId="20577"/>
        <pc:sldMkLst>
          <pc:docMk/>
          <pc:sldMk cId="439687747" sldId="2147378705"/>
        </pc:sldMkLst>
        <pc:spChg chg="del mod">
          <ac:chgData name="内山 裕弥" userId="8d34b9d0-ec49-418d-b1de-019cf6b56da5" providerId="ADAL" clId="{EE417D81-9D62-44B5-9A36-43CC1B66E142}" dt="2024-07-19T05:44:40.672" v="8797" actId="478"/>
          <ac:spMkLst>
            <pc:docMk/>
            <pc:sldMk cId="439687747" sldId="2147378705"/>
            <ac:spMk id="6" creationId="{51E1427A-1AD7-A39D-51B3-B200A147782B}"/>
          </ac:spMkLst>
        </pc:spChg>
        <pc:spChg chg="mod">
          <ac:chgData name="内山 裕弥" userId="8d34b9d0-ec49-418d-b1de-019cf6b56da5" providerId="ADAL" clId="{EE417D81-9D62-44B5-9A36-43CC1B66E142}" dt="2024-07-19T05:44:33.761" v="8792" actId="1076"/>
          <ac:spMkLst>
            <pc:docMk/>
            <pc:sldMk cId="439687747" sldId="2147378705"/>
            <ac:spMk id="8" creationId="{38333055-868E-3B45-D1A3-9ED0F6B26E6C}"/>
          </ac:spMkLst>
        </pc:spChg>
        <pc:spChg chg="add mod">
          <ac:chgData name="内山 裕弥" userId="8d34b9d0-ec49-418d-b1de-019cf6b56da5" providerId="ADAL" clId="{EE417D81-9D62-44B5-9A36-43CC1B66E142}" dt="2024-07-19T11:09:42.960" v="9176" actId="20577"/>
          <ac:spMkLst>
            <pc:docMk/>
            <pc:sldMk cId="439687747" sldId="2147378705"/>
            <ac:spMk id="11" creationId="{1A8F0DD0-8F45-CA15-6129-E1D2CD076C53}"/>
          </ac:spMkLst>
        </pc:spChg>
        <pc:grpChg chg="add mod">
          <ac:chgData name="内山 裕弥" userId="8d34b9d0-ec49-418d-b1de-019cf6b56da5" providerId="ADAL" clId="{EE417D81-9D62-44B5-9A36-43CC1B66E142}" dt="2024-07-19T05:44:33.761" v="8792" actId="1076"/>
          <ac:grpSpMkLst>
            <pc:docMk/>
            <pc:sldMk cId="439687747" sldId="2147378705"/>
            <ac:grpSpMk id="7" creationId="{C704F631-0929-C676-BDD4-CB82AEA6081F}"/>
          </ac:grpSpMkLst>
        </pc:grpChg>
        <pc:graphicFrameChg chg="add mod modGraphic">
          <ac:chgData name="内山 裕弥" userId="8d34b9d0-ec49-418d-b1de-019cf6b56da5" providerId="ADAL" clId="{EE417D81-9D62-44B5-9A36-43CC1B66E142}" dt="2024-07-19T11:07:07.167" v="9021" actId="207"/>
          <ac:graphicFrameMkLst>
            <pc:docMk/>
            <pc:sldMk cId="439687747" sldId="2147378705"/>
            <ac:graphicFrameMk id="2" creationId="{D78F7A95-31FB-06D3-5B63-5BEDF8ABCBC0}"/>
          </ac:graphicFrameMkLst>
        </pc:graphicFrameChg>
        <pc:cxnChg chg="mod">
          <ac:chgData name="内山 裕弥" userId="8d34b9d0-ec49-418d-b1de-019cf6b56da5" providerId="ADAL" clId="{EE417D81-9D62-44B5-9A36-43CC1B66E142}" dt="2024-07-19T05:44:33.761" v="8792" actId="1076"/>
          <ac:cxnSpMkLst>
            <pc:docMk/>
            <pc:sldMk cId="439687747" sldId="2147378705"/>
            <ac:cxnSpMk id="10" creationId="{6735B9E2-CEAA-B979-67C8-2554417B1CDE}"/>
          </ac:cxnSpMkLst>
        </pc:cxnChg>
      </pc:sldChg>
      <pc:sldChg chg="addSp modSp mod">
        <pc:chgData name="内山 裕弥" userId="8d34b9d0-ec49-418d-b1de-019cf6b56da5" providerId="ADAL" clId="{EE417D81-9D62-44B5-9A36-43CC1B66E142}" dt="2024-07-19T11:08:38.293" v="9124" actId="20577"/>
        <pc:sldMkLst>
          <pc:docMk/>
          <pc:sldMk cId="1075793544" sldId="2147378706"/>
        </pc:sldMkLst>
        <pc:spChg chg="mod">
          <ac:chgData name="内山 裕弥" userId="8d34b9d0-ec49-418d-b1de-019cf6b56da5" providerId="ADAL" clId="{EE417D81-9D62-44B5-9A36-43CC1B66E142}" dt="2024-07-19T11:07:24.040" v="9024" actId="1076"/>
          <ac:spMkLst>
            <pc:docMk/>
            <pc:sldMk cId="1075793544" sldId="2147378706"/>
            <ac:spMk id="6" creationId="{9FFD2353-EF62-BFA0-5B44-F7ABF536D584}"/>
          </ac:spMkLst>
        </pc:spChg>
        <pc:spChg chg="add mod">
          <ac:chgData name="内山 裕弥" userId="8d34b9d0-ec49-418d-b1de-019cf6b56da5" providerId="ADAL" clId="{EE417D81-9D62-44B5-9A36-43CC1B66E142}" dt="2024-07-19T11:08:23.418" v="9065" actId="14100"/>
          <ac:spMkLst>
            <pc:docMk/>
            <pc:sldMk cId="1075793544" sldId="2147378706"/>
            <ac:spMk id="8" creationId="{01D4BCA7-C89A-20E2-6428-C51A003E8B36}"/>
          </ac:spMkLst>
        </pc:spChg>
        <pc:spChg chg="add mod">
          <ac:chgData name="内山 裕弥" userId="8d34b9d0-ec49-418d-b1de-019cf6b56da5" providerId="ADAL" clId="{EE417D81-9D62-44B5-9A36-43CC1B66E142}" dt="2024-07-19T11:07:24.040" v="9024" actId="1076"/>
          <ac:spMkLst>
            <pc:docMk/>
            <pc:sldMk cId="1075793544" sldId="2147378706"/>
            <ac:spMk id="10" creationId="{C6836692-CDAE-C475-A8B0-1602682A1D72}"/>
          </ac:spMkLst>
        </pc:spChg>
        <pc:spChg chg="add mod">
          <ac:chgData name="内山 裕弥" userId="8d34b9d0-ec49-418d-b1de-019cf6b56da5" providerId="ADAL" clId="{EE417D81-9D62-44B5-9A36-43CC1B66E142}" dt="2024-07-19T11:08:23.418" v="9065" actId="14100"/>
          <ac:spMkLst>
            <pc:docMk/>
            <pc:sldMk cId="1075793544" sldId="2147378706"/>
            <ac:spMk id="11" creationId="{F671E48A-0AEB-34DC-C9B0-947ACB9BE53F}"/>
          </ac:spMkLst>
        </pc:spChg>
        <pc:spChg chg="add mod">
          <ac:chgData name="内山 裕弥" userId="8d34b9d0-ec49-418d-b1de-019cf6b56da5" providerId="ADAL" clId="{EE417D81-9D62-44B5-9A36-43CC1B66E142}" dt="2024-07-19T11:07:24.040" v="9024" actId="1076"/>
          <ac:spMkLst>
            <pc:docMk/>
            <pc:sldMk cId="1075793544" sldId="2147378706"/>
            <ac:spMk id="12" creationId="{F1215F89-A0A0-AB28-F8E7-84581D64B7EE}"/>
          </ac:spMkLst>
        </pc:spChg>
        <pc:spChg chg="add mod">
          <ac:chgData name="内山 裕弥" userId="8d34b9d0-ec49-418d-b1de-019cf6b56da5" providerId="ADAL" clId="{EE417D81-9D62-44B5-9A36-43CC1B66E142}" dt="2024-07-19T11:08:23.418" v="9065" actId="14100"/>
          <ac:spMkLst>
            <pc:docMk/>
            <pc:sldMk cId="1075793544" sldId="2147378706"/>
            <ac:spMk id="13" creationId="{DD2FC9B4-133C-45AC-F63A-4DA5444194C1}"/>
          </ac:spMkLst>
        </pc:spChg>
        <pc:spChg chg="add mod">
          <ac:chgData name="内山 裕弥" userId="8d34b9d0-ec49-418d-b1de-019cf6b56da5" providerId="ADAL" clId="{EE417D81-9D62-44B5-9A36-43CC1B66E142}" dt="2024-07-19T11:07:24.040" v="9024" actId="1076"/>
          <ac:spMkLst>
            <pc:docMk/>
            <pc:sldMk cId="1075793544" sldId="2147378706"/>
            <ac:spMk id="14" creationId="{85688145-F176-E15B-9ADA-FF1D4E4EAD73}"/>
          </ac:spMkLst>
        </pc:spChg>
        <pc:spChg chg="add mod">
          <ac:chgData name="内山 裕弥" userId="8d34b9d0-ec49-418d-b1de-019cf6b56da5" providerId="ADAL" clId="{EE417D81-9D62-44B5-9A36-43CC1B66E142}" dt="2024-07-19T11:08:23.418" v="9065" actId="14100"/>
          <ac:spMkLst>
            <pc:docMk/>
            <pc:sldMk cId="1075793544" sldId="2147378706"/>
            <ac:spMk id="15" creationId="{9CA01B65-AA7F-E153-53A0-22F4C72906C9}"/>
          </ac:spMkLst>
        </pc:spChg>
        <pc:spChg chg="add mod">
          <ac:chgData name="内山 裕弥" userId="8d34b9d0-ec49-418d-b1de-019cf6b56da5" providerId="ADAL" clId="{EE417D81-9D62-44B5-9A36-43CC1B66E142}" dt="2024-07-19T11:07:24.040" v="9024" actId="1076"/>
          <ac:spMkLst>
            <pc:docMk/>
            <pc:sldMk cId="1075793544" sldId="2147378706"/>
            <ac:spMk id="16" creationId="{4ED0277C-A056-D022-829C-561BA5F238E4}"/>
          </ac:spMkLst>
        </pc:spChg>
        <pc:spChg chg="add mod">
          <ac:chgData name="内山 裕弥" userId="8d34b9d0-ec49-418d-b1de-019cf6b56da5" providerId="ADAL" clId="{EE417D81-9D62-44B5-9A36-43CC1B66E142}" dt="2024-07-19T11:08:23.418" v="9065" actId="14100"/>
          <ac:spMkLst>
            <pc:docMk/>
            <pc:sldMk cId="1075793544" sldId="2147378706"/>
            <ac:spMk id="20" creationId="{E8836C59-B8B6-C85D-E010-EBC8663348AC}"/>
          </ac:spMkLst>
        </pc:spChg>
        <pc:spChg chg="add mod">
          <ac:chgData name="内山 裕弥" userId="8d34b9d0-ec49-418d-b1de-019cf6b56da5" providerId="ADAL" clId="{EE417D81-9D62-44B5-9A36-43CC1B66E142}" dt="2024-07-19T11:07:24.040" v="9024" actId="1076"/>
          <ac:spMkLst>
            <pc:docMk/>
            <pc:sldMk cId="1075793544" sldId="2147378706"/>
            <ac:spMk id="21" creationId="{8B2388F4-8880-EE2F-03BB-997FC1E6C222}"/>
          </ac:spMkLst>
        </pc:spChg>
        <pc:spChg chg="add mod">
          <ac:chgData name="内山 裕弥" userId="8d34b9d0-ec49-418d-b1de-019cf6b56da5" providerId="ADAL" clId="{EE417D81-9D62-44B5-9A36-43CC1B66E142}" dt="2024-07-19T11:08:23.418" v="9065" actId="14100"/>
          <ac:spMkLst>
            <pc:docMk/>
            <pc:sldMk cId="1075793544" sldId="2147378706"/>
            <ac:spMk id="22" creationId="{9D9B6B73-E941-4FB2-6F67-6D2282E2F654}"/>
          </ac:spMkLst>
        </pc:spChg>
        <pc:spChg chg="add mod">
          <ac:chgData name="内山 裕弥" userId="8d34b9d0-ec49-418d-b1de-019cf6b56da5" providerId="ADAL" clId="{EE417D81-9D62-44B5-9A36-43CC1B66E142}" dt="2024-07-19T11:07:24.040" v="9024" actId="1076"/>
          <ac:spMkLst>
            <pc:docMk/>
            <pc:sldMk cId="1075793544" sldId="2147378706"/>
            <ac:spMk id="23" creationId="{40803D02-B102-890E-D54A-16FBEA6E318B}"/>
          </ac:spMkLst>
        </pc:spChg>
        <pc:spChg chg="add mod">
          <ac:chgData name="内山 裕弥" userId="8d34b9d0-ec49-418d-b1de-019cf6b56da5" providerId="ADAL" clId="{EE417D81-9D62-44B5-9A36-43CC1B66E142}" dt="2024-07-19T11:08:23.418" v="9065" actId="14100"/>
          <ac:spMkLst>
            <pc:docMk/>
            <pc:sldMk cId="1075793544" sldId="2147378706"/>
            <ac:spMk id="24" creationId="{282F57DD-EF41-A330-6783-2B46B29B454B}"/>
          </ac:spMkLst>
        </pc:spChg>
        <pc:spChg chg="add mod">
          <ac:chgData name="内山 裕弥" userId="8d34b9d0-ec49-418d-b1de-019cf6b56da5" providerId="ADAL" clId="{EE417D81-9D62-44B5-9A36-43CC1B66E142}" dt="2024-07-19T11:07:24.040" v="9024" actId="1076"/>
          <ac:spMkLst>
            <pc:docMk/>
            <pc:sldMk cId="1075793544" sldId="2147378706"/>
            <ac:spMk id="25" creationId="{E4B5370A-7499-03A1-CF77-0E693D5DDE7E}"/>
          </ac:spMkLst>
        </pc:spChg>
        <pc:spChg chg="add mod">
          <ac:chgData name="内山 裕弥" userId="8d34b9d0-ec49-418d-b1de-019cf6b56da5" providerId="ADAL" clId="{EE417D81-9D62-44B5-9A36-43CC1B66E142}" dt="2024-07-19T11:08:23.418" v="9065" actId="14100"/>
          <ac:spMkLst>
            <pc:docMk/>
            <pc:sldMk cId="1075793544" sldId="2147378706"/>
            <ac:spMk id="26" creationId="{5E459C84-978B-D044-BE65-FCB09332A3B0}"/>
          </ac:spMkLst>
        </pc:spChg>
        <pc:spChg chg="add mod">
          <ac:chgData name="内山 裕弥" userId="8d34b9d0-ec49-418d-b1de-019cf6b56da5" providerId="ADAL" clId="{EE417D81-9D62-44B5-9A36-43CC1B66E142}" dt="2024-07-19T11:07:24.040" v="9024" actId="1076"/>
          <ac:spMkLst>
            <pc:docMk/>
            <pc:sldMk cId="1075793544" sldId="2147378706"/>
            <ac:spMk id="27" creationId="{C5731C2D-659C-4328-D18C-83B7B6BBC6DF}"/>
          </ac:spMkLst>
        </pc:spChg>
        <pc:spChg chg="add mod">
          <ac:chgData name="内山 裕弥" userId="8d34b9d0-ec49-418d-b1de-019cf6b56da5" providerId="ADAL" clId="{EE417D81-9D62-44B5-9A36-43CC1B66E142}" dt="2024-07-19T11:08:23.418" v="9065" actId="14100"/>
          <ac:spMkLst>
            <pc:docMk/>
            <pc:sldMk cId="1075793544" sldId="2147378706"/>
            <ac:spMk id="28" creationId="{55864B40-97CF-F0B3-B2B5-B6FFCF2C3E5B}"/>
          </ac:spMkLst>
        </pc:spChg>
        <pc:spChg chg="add mod">
          <ac:chgData name="内山 裕弥" userId="8d34b9d0-ec49-418d-b1de-019cf6b56da5" providerId="ADAL" clId="{EE417D81-9D62-44B5-9A36-43CC1B66E142}" dt="2024-07-19T11:07:24.040" v="9024" actId="1076"/>
          <ac:spMkLst>
            <pc:docMk/>
            <pc:sldMk cId="1075793544" sldId="2147378706"/>
            <ac:spMk id="29" creationId="{6066413C-AE1D-EB1F-F755-AA17280E6D6B}"/>
          </ac:spMkLst>
        </pc:spChg>
        <pc:spChg chg="add mod">
          <ac:chgData name="内山 裕弥" userId="8d34b9d0-ec49-418d-b1de-019cf6b56da5" providerId="ADAL" clId="{EE417D81-9D62-44B5-9A36-43CC1B66E142}" dt="2024-07-19T11:08:23.418" v="9065" actId="14100"/>
          <ac:spMkLst>
            <pc:docMk/>
            <pc:sldMk cId="1075793544" sldId="2147378706"/>
            <ac:spMk id="30" creationId="{73C2D3B9-B7E8-F47D-F1E3-D52A1C96AB7D}"/>
          </ac:spMkLst>
        </pc:spChg>
        <pc:spChg chg="add mod">
          <ac:chgData name="内山 裕弥" userId="8d34b9d0-ec49-418d-b1de-019cf6b56da5" providerId="ADAL" clId="{EE417D81-9D62-44B5-9A36-43CC1B66E142}" dt="2024-07-19T11:07:24.040" v="9024" actId="1076"/>
          <ac:spMkLst>
            <pc:docMk/>
            <pc:sldMk cId="1075793544" sldId="2147378706"/>
            <ac:spMk id="31" creationId="{26A09F49-1E75-5FA2-7FCE-7166D389CEA9}"/>
          </ac:spMkLst>
        </pc:spChg>
        <pc:spChg chg="add mod">
          <ac:chgData name="内山 裕弥" userId="8d34b9d0-ec49-418d-b1de-019cf6b56da5" providerId="ADAL" clId="{EE417D81-9D62-44B5-9A36-43CC1B66E142}" dt="2024-07-19T11:08:10.903" v="9062" actId="14100"/>
          <ac:spMkLst>
            <pc:docMk/>
            <pc:sldMk cId="1075793544" sldId="2147378706"/>
            <ac:spMk id="33" creationId="{0B64D96B-A150-F2DE-7473-4CD8D8C60016}"/>
          </ac:spMkLst>
        </pc:spChg>
        <pc:spChg chg="add mod">
          <ac:chgData name="内山 裕弥" userId="8d34b9d0-ec49-418d-b1de-019cf6b56da5" providerId="ADAL" clId="{EE417D81-9D62-44B5-9A36-43CC1B66E142}" dt="2024-07-19T11:07:24.040" v="9024" actId="1076"/>
          <ac:spMkLst>
            <pc:docMk/>
            <pc:sldMk cId="1075793544" sldId="2147378706"/>
            <ac:spMk id="34" creationId="{A7CA29C7-B260-867A-6467-CB38E6F69C54}"/>
          </ac:spMkLst>
        </pc:spChg>
        <pc:spChg chg="add mod">
          <ac:chgData name="内山 裕弥" userId="8d34b9d0-ec49-418d-b1de-019cf6b56da5" providerId="ADAL" clId="{EE417D81-9D62-44B5-9A36-43CC1B66E142}" dt="2024-07-19T11:08:10.903" v="9062" actId="14100"/>
          <ac:spMkLst>
            <pc:docMk/>
            <pc:sldMk cId="1075793544" sldId="2147378706"/>
            <ac:spMk id="36" creationId="{80884C5C-1F6D-E162-A074-F65661FD98B3}"/>
          </ac:spMkLst>
        </pc:spChg>
        <pc:spChg chg="add mod">
          <ac:chgData name="内山 裕弥" userId="8d34b9d0-ec49-418d-b1de-019cf6b56da5" providerId="ADAL" clId="{EE417D81-9D62-44B5-9A36-43CC1B66E142}" dt="2024-07-19T11:07:24.040" v="9024" actId="1076"/>
          <ac:spMkLst>
            <pc:docMk/>
            <pc:sldMk cId="1075793544" sldId="2147378706"/>
            <ac:spMk id="37" creationId="{1DE1309E-B0E0-21F8-EF43-640ECB6D56F5}"/>
          </ac:spMkLst>
        </pc:spChg>
        <pc:spChg chg="add mod">
          <ac:chgData name="内山 裕弥" userId="8d34b9d0-ec49-418d-b1de-019cf6b56da5" providerId="ADAL" clId="{EE417D81-9D62-44B5-9A36-43CC1B66E142}" dt="2024-07-19T11:08:10.903" v="9062" actId="14100"/>
          <ac:spMkLst>
            <pc:docMk/>
            <pc:sldMk cId="1075793544" sldId="2147378706"/>
            <ac:spMk id="38" creationId="{F1D12892-50BC-B332-CA0D-537FABFF159B}"/>
          </ac:spMkLst>
        </pc:spChg>
        <pc:spChg chg="add mod">
          <ac:chgData name="内山 裕弥" userId="8d34b9d0-ec49-418d-b1de-019cf6b56da5" providerId="ADAL" clId="{EE417D81-9D62-44B5-9A36-43CC1B66E142}" dt="2024-07-19T11:07:24.040" v="9024" actId="1076"/>
          <ac:spMkLst>
            <pc:docMk/>
            <pc:sldMk cId="1075793544" sldId="2147378706"/>
            <ac:spMk id="39" creationId="{16E41540-A219-2419-B67C-A2AE13CFB814}"/>
          </ac:spMkLst>
        </pc:spChg>
        <pc:spChg chg="add mod">
          <ac:chgData name="内山 裕弥" userId="8d34b9d0-ec49-418d-b1de-019cf6b56da5" providerId="ADAL" clId="{EE417D81-9D62-44B5-9A36-43CC1B66E142}" dt="2024-07-19T11:08:23.418" v="9065" actId="14100"/>
          <ac:spMkLst>
            <pc:docMk/>
            <pc:sldMk cId="1075793544" sldId="2147378706"/>
            <ac:spMk id="40" creationId="{C2888749-FFD2-DC62-AABB-61DFA8B597C7}"/>
          </ac:spMkLst>
        </pc:spChg>
        <pc:spChg chg="add mod">
          <ac:chgData name="内山 裕弥" userId="8d34b9d0-ec49-418d-b1de-019cf6b56da5" providerId="ADAL" clId="{EE417D81-9D62-44B5-9A36-43CC1B66E142}" dt="2024-07-19T11:07:24.040" v="9024" actId="1076"/>
          <ac:spMkLst>
            <pc:docMk/>
            <pc:sldMk cId="1075793544" sldId="2147378706"/>
            <ac:spMk id="41" creationId="{2249E747-F546-ABD1-FC84-71B243C4B29B}"/>
          </ac:spMkLst>
        </pc:spChg>
        <pc:spChg chg="add mod">
          <ac:chgData name="内山 裕弥" userId="8d34b9d0-ec49-418d-b1de-019cf6b56da5" providerId="ADAL" clId="{EE417D81-9D62-44B5-9A36-43CC1B66E142}" dt="2024-07-19T11:08:10.903" v="9062" actId="14100"/>
          <ac:spMkLst>
            <pc:docMk/>
            <pc:sldMk cId="1075793544" sldId="2147378706"/>
            <ac:spMk id="44" creationId="{11FC1E08-94B3-8FE9-9E3E-BC734176F0F1}"/>
          </ac:spMkLst>
        </pc:spChg>
        <pc:spChg chg="add mod">
          <ac:chgData name="内山 裕弥" userId="8d34b9d0-ec49-418d-b1de-019cf6b56da5" providerId="ADAL" clId="{EE417D81-9D62-44B5-9A36-43CC1B66E142}" dt="2024-07-19T11:07:24.040" v="9024" actId="1076"/>
          <ac:spMkLst>
            <pc:docMk/>
            <pc:sldMk cId="1075793544" sldId="2147378706"/>
            <ac:spMk id="45" creationId="{A34458C2-FB11-5CAF-BCC4-3B2308FFD976}"/>
          </ac:spMkLst>
        </pc:spChg>
        <pc:spChg chg="add mod">
          <ac:chgData name="内山 裕弥" userId="8d34b9d0-ec49-418d-b1de-019cf6b56da5" providerId="ADAL" clId="{EE417D81-9D62-44B5-9A36-43CC1B66E142}" dt="2024-07-19T11:08:10.903" v="9062" actId="14100"/>
          <ac:spMkLst>
            <pc:docMk/>
            <pc:sldMk cId="1075793544" sldId="2147378706"/>
            <ac:spMk id="46" creationId="{EAE7E9A2-9C75-5C55-3083-CF8CFC02DB28}"/>
          </ac:spMkLst>
        </pc:spChg>
        <pc:spChg chg="add mod">
          <ac:chgData name="内山 裕弥" userId="8d34b9d0-ec49-418d-b1de-019cf6b56da5" providerId="ADAL" clId="{EE417D81-9D62-44B5-9A36-43CC1B66E142}" dt="2024-07-19T11:07:24.040" v="9024" actId="1076"/>
          <ac:spMkLst>
            <pc:docMk/>
            <pc:sldMk cId="1075793544" sldId="2147378706"/>
            <ac:spMk id="47" creationId="{A43E12AD-B2EB-E739-14BE-B941DFF7D18A}"/>
          </ac:spMkLst>
        </pc:spChg>
        <pc:spChg chg="add mod">
          <ac:chgData name="内山 裕弥" userId="8d34b9d0-ec49-418d-b1de-019cf6b56da5" providerId="ADAL" clId="{EE417D81-9D62-44B5-9A36-43CC1B66E142}" dt="2024-07-19T11:08:10.903" v="9062" actId="14100"/>
          <ac:spMkLst>
            <pc:docMk/>
            <pc:sldMk cId="1075793544" sldId="2147378706"/>
            <ac:spMk id="48" creationId="{C80863E0-C0EC-A8A5-0450-8E2D5C9CF665}"/>
          </ac:spMkLst>
        </pc:spChg>
        <pc:spChg chg="add mod">
          <ac:chgData name="内山 裕弥" userId="8d34b9d0-ec49-418d-b1de-019cf6b56da5" providerId="ADAL" clId="{EE417D81-9D62-44B5-9A36-43CC1B66E142}" dt="2024-07-19T11:07:24.040" v="9024" actId="1076"/>
          <ac:spMkLst>
            <pc:docMk/>
            <pc:sldMk cId="1075793544" sldId="2147378706"/>
            <ac:spMk id="49" creationId="{A0D0579C-20A3-6CB7-7884-53E4873AFC1C}"/>
          </ac:spMkLst>
        </pc:spChg>
        <pc:spChg chg="add mod">
          <ac:chgData name="内山 裕弥" userId="8d34b9d0-ec49-418d-b1de-019cf6b56da5" providerId="ADAL" clId="{EE417D81-9D62-44B5-9A36-43CC1B66E142}" dt="2024-07-19T11:08:10.903" v="9062" actId="14100"/>
          <ac:spMkLst>
            <pc:docMk/>
            <pc:sldMk cId="1075793544" sldId="2147378706"/>
            <ac:spMk id="54" creationId="{257CE3ED-27EF-8BB9-8AC6-A65A773D1B5F}"/>
          </ac:spMkLst>
        </pc:spChg>
        <pc:spChg chg="add mod">
          <ac:chgData name="内山 裕弥" userId="8d34b9d0-ec49-418d-b1de-019cf6b56da5" providerId="ADAL" clId="{EE417D81-9D62-44B5-9A36-43CC1B66E142}" dt="2024-07-19T11:07:24.040" v="9024" actId="1076"/>
          <ac:spMkLst>
            <pc:docMk/>
            <pc:sldMk cId="1075793544" sldId="2147378706"/>
            <ac:spMk id="55" creationId="{3A150D87-5B38-9F6A-05D1-4FD2C26D10CF}"/>
          </ac:spMkLst>
        </pc:spChg>
        <pc:spChg chg="add mod">
          <ac:chgData name="内山 裕弥" userId="8d34b9d0-ec49-418d-b1de-019cf6b56da5" providerId="ADAL" clId="{EE417D81-9D62-44B5-9A36-43CC1B66E142}" dt="2024-07-19T11:08:10.903" v="9062" actId="14100"/>
          <ac:spMkLst>
            <pc:docMk/>
            <pc:sldMk cId="1075793544" sldId="2147378706"/>
            <ac:spMk id="56" creationId="{E7A256B4-413F-307C-5439-6870A4ACBCED}"/>
          </ac:spMkLst>
        </pc:spChg>
        <pc:spChg chg="add mod">
          <ac:chgData name="内山 裕弥" userId="8d34b9d0-ec49-418d-b1de-019cf6b56da5" providerId="ADAL" clId="{EE417D81-9D62-44B5-9A36-43CC1B66E142}" dt="2024-07-19T11:07:24.040" v="9024" actId="1076"/>
          <ac:spMkLst>
            <pc:docMk/>
            <pc:sldMk cId="1075793544" sldId="2147378706"/>
            <ac:spMk id="57" creationId="{7FADCBDB-26FF-BE72-8F14-BA953AD29C27}"/>
          </ac:spMkLst>
        </pc:spChg>
        <pc:spChg chg="add mod">
          <ac:chgData name="内山 裕弥" userId="8d34b9d0-ec49-418d-b1de-019cf6b56da5" providerId="ADAL" clId="{EE417D81-9D62-44B5-9A36-43CC1B66E142}" dt="2024-07-19T11:07:24.040" v="9024" actId="1076"/>
          <ac:spMkLst>
            <pc:docMk/>
            <pc:sldMk cId="1075793544" sldId="2147378706"/>
            <ac:spMk id="58" creationId="{C9BFE387-081A-F493-758E-0F6BD91A7288}"/>
          </ac:spMkLst>
        </pc:spChg>
        <pc:spChg chg="add mod">
          <ac:chgData name="内山 裕弥" userId="8d34b9d0-ec49-418d-b1de-019cf6b56da5" providerId="ADAL" clId="{EE417D81-9D62-44B5-9A36-43CC1B66E142}" dt="2024-07-19T11:08:10.903" v="9062" actId="14100"/>
          <ac:spMkLst>
            <pc:docMk/>
            <pc:sldMk cId="1075793544" sldId="2147378706"/>
            <ac:spMk id="59" creationId="{814DB610-F1B5-FED4-96F6-356A96984752}"/>
          </ac:spMkLst>
        </pc:spChg>
        <pc:spChg chg="add mod">
          <ac:chgData name="内山 裕弥" userId="8d34b9d0-ec49-418d-b1de-019cf6b56da5" providerId="ADAL" clId="{EE417D81-9D62-44B5-9A36-43CC1B66E142}" dt="2024-07-19T11:07:24.040" v="9024" actId="1076"/>
          <ac:spMkLst>
            <pc:docMk/>
            <pc:sldMk cId="1075793544" sldId="2147378706"/>
            <ac:spMk id="60" creationId="{3FBE18F8-DF94-8BCA-4933-9DC0688EE117}"/>
          </ac:spMkLst>
        </pc:spChg>
        <pc:spChg chg="add mod">
          <ac:chgData name="内山 裕弥" userId="8d34b9d0-ec49-418d-b1de-019cf6b56da5" providerId="ADAL" clId="{EE417D81-9D62-44B5-9A36-43CC1B66E142}" dt="2024-07-19T11:08:38.293" v="9124" actId="20577"/>
          <ac:spMkLst>
            <pc:docMk/>
            <pc:sldMk cId="1075793544" sldId="2147378706"/>
            <ac:spMk id="76" creationId="{B279D241-48ED-92D0-EE51-7E1DABF5D8E2}"/>
          </ac:spMkLst>
        </pc:spChg>
        <pc:grpChg chg="add mod">
          <ac:chgData name="内山 裕弥" userId="8d34b9d0-ec49-418d-b1de-019cf6b56da5" providerId="ADAL" clId="{EE417D81-9D62-44B5-9A36-43CC1B66E142}" dt="2024-07-19T11:07:24.040" v="9024" actId="1076"/>
          <ac:grpSpMkLst>
            <pc:docMk/>
            <pc:sldMk cId="1075793544" sldId="2147378706"/>
            <ac:grpSpMk id="2" creationId="{372A3CF7-5B7A-0B5D-9138-971927D27558}"/>
          </ac:grpSpMkLst>
        </pc:grpChg>
        <pc:cxnChg chg="mod">
          <ac:chgData name="内山 裕弥" userId="8d34b9d0-ec49-418d-b1de-019cf6b56da5" providerId="ADAL" clId="{EE417D81-9D62-44B5-9A36-43CC1B66E142}" dt="2024-07-19T11:07:24.040" v="9024" actId="1076"/>
          <ac:cxnSpMkLst>
            <pc:docMk/>
            <pc:sldMk cId="1075793544" sldId="2147378706"/>
            <ac:cxnSpMk id="7" creationId="{21A3E467-6F88-7859-37D3-00A944DAABE1}"/>
          </ac:cxnSpMkLst>
        </pc:cxnChg>
        <pc:cxnChg chg="add mod">
          <ac:chgData name="内山 裕弥" userId="8d34b9d0-ec49-418d-b1de-019cf6b56da5" providerId="ADAL" clId="{EE417D81-9D62-44B5-9A36-43CC1B66E142}" dt="2024-07-19T11:08:23.418" v="9065" actId="14100"/>
          <ac:cxnSpMkLst>
            <pc:docMk/>
            <pc:sldMk cId="1075793544" sldId="2147378706"/>
            <ac:cxnSpMk id="17" creationId="{B33F1110-77B4-AF22-55D7-F4851EF459EE}"/>
          </ac:cxnSpMkLst>
        </pc:cxnChg>
        <pc:cxnChg chg="add mod">
          <ac:chgData name="内山 裕弥" userId="8d34b9d0-ec49-418d-b1de-019cf6b56da5" providerId="ADAL" clId="{EE417D81-9D62-44B5-9A36-43CC1B66E142}" dt="2024-07-19T11:08:23.418" v="9065" actId="14100"/>
          <ac:cxnSpMkLst>
            <pc:docMk/>
            <pc:sldMk cId="1075793544" sldId="2147378706"/>
            <ac:cxnSpMk id="18" creationId="{891B5930-A38E-A0C5-BE51-42817003E8A5}"/>
          </ac:cxnSpMkLst>
        </pc:cxnChg>
        <pc:cxnChg chg="add mod">
          <ac:chgData name="内山 裕弥" userId="8d34b9d0-ec49-418d-b1de-019cf6b56da5" providerId="ADAL" clId="{EE417D81-9D62-44B5-9A36-43CC1B66E142}" dt="2024-07-19T11:08:23.418" v="9065" actId="14100"/>
          <ac:cxnSpMkLst>
            <pc:docMk/>
            <pc:sldMk cId="1075793544" sldId="2147378706"/>
            <ac:cxnSpMk id="19" creationId="{A844BD0C-0A40-51E8-A09A-D30427306A66}"/>
          </ac:cxnSpMkLst>
        </pc:cxnChg>
        <pc:cxnChg chg="add mod">
          <ac:chgData name="内山 裕弥" userId="8d34b9d0-ec49-418d-b1de-019cf6b56da5" providerId="ADAL" clId="{EE417D81-9D62-44B5-9A36-43CC1B66E142}" dt="2024-07-19T11:08:23.418" v="9065" actId="14100"/>
          <ac:cxnSpMkLst>
            <pc:docMk/>
            <pc:sldMk cId="1075793544" sldId="2147378706"/>
            <ac:cxnSpMk id="32" creationId="{E759765E-E000-B6F8-7FD9-0B57C3A2ABBD}"/>
          </ac:cxnSpMkLst>
        </pc:cxnChg>
        <pc:cxnChg chg="add mod">
          <ac:chgData name="内山 裕弥" userId="8d34b9d0-ec49-418d-b1de-019cf6b56da5" providerId="ADAL" clId="{EE417D81-9D62-44B5-9A36-43CC1B66E142}" dt="2024-07-19T11:08:23.418" v="9065" actId="14100"/>
          <ac:cxnSpMkLst>
            <pc:docMk/>
            <pc:sldMk cId="1075793544" sldId="2147378706"/>
            <ac:cxnSpMk id="35" creationId="{40F97130-3434-E197-FDD8-0A50B799631A}"/>
          </ac:cxnSpMkLst>
        </pc:cxnChg>
        <pc:cxnChg chg="add mod">
          <ac:chgData name="内山 裕弥" userId="8d34b9d0-ec49-418d-b1de-019cf6b56da5" providerId="ADAL" clId="{EE417D81-9D62-44B5-9A36-43CC1B66E142}" dt="2024-07-19T11:08:23.418" v="9065" actId="14100"/>
          <ac:cxnSpMkLst>
            <pc:docMk/>
            <pc:sldMk cId="1075793544" sldId="2147378706"/>
            <ac:cxnSpMk id="42" creationId="{9B4560C3-E523-8803-F24F-44C0F6BB8B8F}"/>
          </ac:cxnSpMkLst>
        </pc:cxnChg>
        <pc:cxnChg chg="add mod">
          <ac:chgData name="内山 裕弥" userId="8d34b9d0-ec49-418d-b1de-019cf6b56da5" providerId="ADAL" clId="{EE417D81-9D62-44B5-9A36-43CC1B66E142}" dt="2024-07-19T11:08:10.903" v="9062" actId="14100"/>
          <ac:cxnSpMkLst>
            <pc:docMk/>
            <pc:sldMk cId="1075793544" sldId="2147378706"/>
            <ac:cxnSpMk id="43" creationId="{C09F7C0D-715C-1DE6-CA70-0114A80EE9E6}"/>
          </ac:cxnSpMkLst>
        </pc:cxnChg>
        <pc:cxnChg chg="add mod">
          <ac:chgData name="内山 裕弥" userId="8d34b9d0-ec49-418d-b1de-019cf6b56da5" providerId="ADAL" clId="{EE417D81-9D62-44B5-9A36-43CC1B66E142}" dt="2024-07-19T11:08:10.903" v="9062" actId="14100"/>
          <ac:cxnSpMkLst>
            <pc:docMk/>
            <pc:sldMk cId="1075793544" sldId="2147378706"/>
            <ac:cxnSpMk id="50" creationId="{70D243EA-17DF-865D-55F4-DDB86E3FC409}"/>
          </ac:cxnSpMkLst>
        </pc:cxnChg>
        <pc:cxnChg chg="add mod">
          <ac:chgData name="内山 裕弥" userId="8d34b9d0-ec49-418d-b1de-019cf6b56da5" providerId="ADAL" clId="{EE417D81-9D62-44B5-9A36-43CC1B66E142}" dt="2024-07-19T11:08:10.903" v="9062" actId="14100"/>
          <ac:cxnSpMkLst>
            <pc:docMk/>
            <pc:sldMk cId="1075793544" sldId="2147378706"/>
            <ac:cxnSpMk id="51" creationId="{89F55B38-D3AD-5356-0792-1365F2725CD9}"/>
          </ac:cxnSpMkLst>
        </pc:cxnChg>
        <pc:cxnChg chg="add mod">
          <ac:chgData name="内山 裕弥" userId="8d34b9d0-ec49-418d-b1de-019cf6b56da5" providerId="ADAL" clId="{EE417D81-9D62-44B5-9A36-43CC1B66E142}" dt="2024-07-19T11:08:23.418" v="9065" actId="14100"/>
          <ac:cxnSpMkLst>
            <pc:docMk/>
            <pc:sldMk cId="1075793544" sldId="2147378706"/>
            <ac:cxnSpMk id="52" creationId="{66B9DD1B-C64B-4F75-5CF8-B98CD9A23B09}"/>
          </ac:cxnSpMkLst>
        </pc:cxnChg>
        <pc:cxnChg chg="add mod">
          <ac:chgData name="内山 裕弥" userId="8d34b9d0-ec49-418d-b1de-019cf6b56da5" providerId="ADAL" clId="{EE417D81-9D62-44B5-9A36-43CC1B66E142}" dt="2024-07-19T11:08:10.903" v="9062" actId="14100"/>
          <ac:cxnSpMkLst>
            <pc:docMk/>
            <pc:sldMk cId="1075793544" sldId="2147378706"/>
            <ac:cxnSpMk id="53" creationId="{BE418135-FB4D-DCAA-9BF1-13BC0FEA9AAB}"/>
          </ac:cxnSpMkLst>
        </pc:cxnChg>
        <pc:cxnChg chg="add mod">
          <ac:chgData name="内山 裕弥" userId="8d34b9d0-ec49-418d-b1de-019cf6b56da5" providerId="ADAL" clId="{EE417D81-9D62-44B5-9A36-43CC1B66E142}" dt="2024-07-19T11:08:10.903" v="9062" actId="14100"/>
          <ac:cxnSpMkLst>
            <pc:docMk/>
            <pc:sldMk cId="1075793544" sldId="2147378706"/>
            <ac:cxnSpMk id="61" creationId="{8294B53B-40A2-5BE4-9CB0-796238DAF687}"/>
          </ac:cxnSpMkLst>
        </pc:cxnChg>
        <pc:cxnChg chg="add mod">
          <ac:chgData name="内山 裕弥" userId="8d34b9d0-ec49-418d-b1de-019cf6b56da5" providerId="ADAL" clId="{EE417D81-9D62-44B5-9A36-43CC1B66E142}" dt="2024-07-19T11:08:10.903" v="9062" actId="14100"/>
          <ac:cxnSpMkLst>
            <pc:docMk/>
            <pc:sldMk cId="1075793544" sldId="2147378706"/>
            <ac:cxnSpMk id="62" creationId="{535A823C-A292-AD77-1929-6FC5127AA2E1}"/>
          </ac:cxnSpMkLst>
        </pc:cxnChg>
      </pc:sldChg>
      <pc:sldChg chg="addSp delSp modSp mod">
        <pc:chgData name="内山 裕弥" userId="8d34b9d0-ec49-418d-b1de-019cf6b56da5" providerId="ADAL" clId="{EE417D81-9D62-44B5-9A36-43CC1B66E142}" dt="2024-07-19T11:11:15.672" v="9405" actId="207"/>
        <pc:sldMkLst>
          <pc:docMk/>
          <pc:sldMk cId="1215250369" sldId="2147378707"/>
        </pc:sldMkLst>
        <pc:spChg chg="del">
          <ac:chgData name="内山 裕弥" userId="8d34b9d0-ec49-418d-b1de-019cf6b56da5" providerId="ADAL" clId="{EE417D81-9D62-44B5-9A36-43CC1B66E142}" dt="2024-07-19T11:09:58.133" v="9177" actId="478"/>
          <ac:spMkLst>
            <pc:docMk/>
            <pc:sldMk cId="1215250369" sldId="2147378707"/>
            <ac:spMk id="6" creationId="{EAC0E584-2ABB-4B91-5A39-F104C91B44D5}"/>
          </ac:spMkLst>
        </pc:spChg>
        <pc:spChg chg="add mod">
          <ac:chgData name="内山 裕弥" userId="8d34b9d0-ec49-418d-b1de-019cf6b56da5" providerId="ADAL" clId="{EE417D81-9D62-44B5-9A36-43CC1B66E142}" dt="2024-07-19T11:11:04.110" v="9404" actId="1076"/>
          <ac:spMkLst>
            <pc:docMk/>
            <pc:sldMk cId="1215250369" sldId="2147378707"/>
            <ac:spMk id="7" creationId="{2918B46C-8769-3057-DF46-3540854E5299}"/>
          </ac:spMkLst>
        </pc:spChg>
        <pc:graphicFrameChg chg="add mod modGraphic">
          <ac:chgData name="内山 裕弥" userId="8d34b9d0-ec49-418d-b1de-019cf6b56da5" providerId="ADAL" clId="{EE417D81-9D62-44B5-9A36-43CC1B66E142}" dt="2024-07-19T11:11:15.672" v="9405" actId="207"/>
          <ac:graphicFrameMkLst>
            <pc:docMk/>
            <pc:sldMk cId="1215250369" sldId="2147378707"/>
            <ac:graphicFrameMk id="2" creationId="{F9E0DDCD-6644-BE19-62E5-D3AB6A2D7C99}"/>
          </ac:graphicFrameMkLst>
        </pc:graphicFrameChg>
      </pc:sldChg>
      <pc:sldChg chg="addSp delSp modSp add mod">
        <pc:chgData name="内山 裕弥" userId="8d34b9d0-ec49-418d-b1de-019cf6b56da5" providerId="ADAL" clId="{EE417D81-9D62-44B5-9A36-43CC1B66E142}" dt="2024-07-19T04:22:45.294" v="1300" actId="20577"/>
        <pc:sldMkLst>
          <pc:docMk/>
          <pc:sldMk cId="3685116316" sldId="2147378709"/>
        </pc:sldMkLst>
        <pc:spChg chg="del">
          <ac:chgData name="内山 裕弥" userId="8d34b9d0-ec49-418d-b1de-019cf6b56da5" providerId="ADAL" clId="{EE417D81-9D62-44B5-9A36-43CC1B66E142}" dt="2024-07-19T04:20:55.364" v="944" actId="21"/>
          <ac:spMkLst>
            <pc:docMk/>
            <pc:sldMk cId="3685116316" sldId="2147378709"/>
            <ac:spMk id="6" creationId="{A9577F56-3CCF-E475-2E51-B70DEBE9BC60}"/>
          </ac:spMkLst>
        </pc:spChg>
        <pc:spChg chg="mod">
          <ac:chgData name="内山 裕弥" userId="8d34b9d0-ec49-418d-b1de-019cf6b56da5" providerId="ADAL" clId="{EE417D81-9D62-44B5-9A36-43CC1B66E142}" dt="2024-07-19T04:20:46.492" v="941" actId="20577"/>
          <ac:spMkLst>
            <pc:docMk/>
            <pc:sldMk cId="3685116316" sldId="2147378709"/>
            <ac:spMk id="9" creationId="{D22A0A06-D5A8-4A1A-B66F-2A8EDBD644F1}"/>
          </ac:spMkLst>
        </pc:spChg>
        <pc:spChg chg="del">
          <ac:chgData name="内山 裕弥" userId="8d34b9d0-ec49-418d-b1de-019cf6b56da5" providerId="ADAL" clId="{EE417D81-9D62-44B5-9A36-43CC1B66E142}" dt="2024-07-19T04:20:52.589" v="942" actId="21"/>
          <ac:spMkLst>
            <pc:docMk/>
            <pc:sldMk cId="3685116316" sldId="2147378709"/>
            <ac:spMk id="14" creationId="{BA7FA382-9723-883E-C088-B51E896148CC}"/>
          </ac:spMkLst>
        </pc:spChg>
        <pc:spChg chg="del">
          <ac:chgData name="内山 裕弥" userId="8d34b9d0-ec49-418d-b1de-019cf6b56da5" providerId="ADAL" clId="{EE417D81-9D62-44B5-9A36-43CC1B66E142}" dt="2024-07-19T04:20:54.357" v="943" actId="21"/>
          <ac:spMkLst>
            <pc:docMk/>
            <pc:sldMk cId="3685116316" sldId="2147378709"/>
            <ac:spMk id="15" creationId="{0C0D5913-6E2D-E5DB-60D1-B3AF669AED14}"/>
          </ac:spMkLst>
        </pc:spChg>
        <pc:spChg chg="del">
          <ac:chgData name="内山 裕弥" userId="8d34b9d0-ec49-418d-b1de-019cf6b56da5" providerId="ADAL" clId="{EE417D81-9D62-44B5-9A36-43CC1B66E142}" dt="2024-07-19T04:20:52.589" v="942" actId="21"/>
          <ac:spMkLst>
            <pc:docMk/>
            <pc:sldMk cId="3685116316" sldId="2147378709"/>
            <ac:spMk id="16" creationId="{E2145D0B-66EB-0BA6-624D-9BC1846E3715}"/>
          </ac:spMkLst>
        </pc:spChg>
        <pc:spChg chg="add mod">
          <ac:chgData name="内山 裕弥" userId="8d34b9d0-ec49-418d-b1de-019cf6b56da5" providerId="ADAL" clId="{EE417D81-9D62-44B5-9A36-43CC1B66E142}" dt="2024-07-19T04:21:13.970" v="959" actId="1076"/>
          <ac:spMkLst>
            <pc:docMk/>
            <pc:sldMk cId="3685116316" sldId="2147378709"/>
            <ac:spMk id="17" creationId="{53F10FF5-7C3A-04E7-4D0E-3EC2A9EB89FC}"/>
          </ac:spMkLst>
        </pc:spChg>
        <pc:spChg chg="add mod">
          <ac:chgData name="内山 裕弥" userId="8d34b9d0-ec49-418d-b1de-019cf6b56da5" providerId="ADAL" clId="{EE417D81-9D62-44B5-9A36-43CC1B66E142}" dt="2024-07-19T04:21:43.619" v="1002" actId="20577"/>
          <ac:spMkLst>
            <pc:docMk/>
            <pc:sldMk cId="3685116316" sldId="2147378709"/>
            <ac:spMk id="18" creationId="{E9664A3C-1A6D-1DEA-5030-08206BBAF59D}"/>
          </ac:spMkLst>
        </pc:spChg>
        <pc:spChg chg="add mod">
          <ac:chgData name="内山 裕弥" userId="8d34b9d0-ec49-418d-b1de-019cf6b56da5" providerId="ADAL" clId="{EE417D81-9D62-44B5-9A36-43CC1B66E142}" dt="2024-07-19T04:21:40.379" v="999" actId="20577"/>
          <ac:spMkLst>
            <pc:docMk/>
            <pc:sldMk cId="3685116316" sldId="2147378709"/>
            <ac:spMk id="20" creationId="{A1D40746-BF49-AC90-B951-2E85999D00C9}"/>
          </ac:spMkLst>
        </pc:spChg>
        <pc:spChg chg="add mod">
          <ac:chgData name="内山 裕弥" userId="8d34b9d0-ec49-418d-b1de-019cf6b56da5" providerId="ADAL" clId="{EE417D81-9D62-44B5-9A36-43CC1B66E142}" dt="2024-07-19T04:21:16.295" v="965"/>
          <ac:spMkLst>
            <pc:docMk/>
            <pc:sldMk cId="3685116316" sldId="2147378709"/>
            <ac:spMk id="22" creationId="{E3A53034-9097-A2B0-BA00-9805C113B3C4}"/>
          </ac:spMkLst>
        </pc:spChg>
        <pc:spChg chg="add mod">
          <ac:chgData name="内山 裕弥" userId="8d34b9d0-ec49-418d-b1de-019cf6b56da5" providerId="ADAL" clId="{EE417D81-9D62-44B5-9A36-43CC1B66E142}" dt="2024-07-19T04:21:19.536" v="971"/>
          <ac:spMkLst>
            <pc:docMk/>
            <pc:sldMk cId="3685116316" sldId="2147378709"/>
            <ac:spMk id="23" creationId="{548B53C1-9515-859C-4FF6-ED37AFEFE4B3}"/>
          </ac:spMkLst>
        </pc:spChg>
        <pc:spChg chg="add mod">
          <ac:chgData name="内山 裕弥" userId="8d34b9d0-ec49-418d-b1de-019cf6b56da5" providerId="ADAL" clId="{EE417D81-9D62-44B5-9A36-43CC1B66E142}" dt="2024-07-19T04:21:11.032" v="951"/>
          <ac:spMkLst>
            <pc:docMk/>
            <pc:sldMk cId="3685116316" sldId="2147378709"/>
            <ac:spMk id="25" creationId="{B623064F-1224-9D0A-91B9-574A09BD6B31}"/>
          </ac:spMkLst>
        </pc:spChg>
        <pc:spChg chg="add mod">
          <ac:chgData name="内山 裕弥" userId="8d34b9d0-ec49-418d-b1de-019cf6b56da5" providerId="ADAL" clId="{EE417D81-9D62-44B5-9A36-43CC1B66E142}" dt="2024-07-19T04:21:25.010" v="972" actId="20577"/>
          <ac:spMkLst>
            <pc:docMk/>
            <pc:sldMk cId="3685116316" sldId="2147378709"/>
            <ac:spMk id="28" creationId="{90FD0E77-3888-581E-76F2-D03B3D6A162F}"/>
          </ac:spMkLst>
        </pc:spChg>
        <pc:spChg chg="add mod">
          <ac:chgData name="内山 裕弥" userId="8d34b9d0-ec49-418d-b1de-019cf6b56da5" providerId="ADAL" clId="{EE417D81-9D62-44B5-9A36-43CC1B66E142}" dt="2024-07-19T04:21:26.720" v="973"/>
          <ac:spMkLst>
            <pc:docMk/>
            <pc:sldMk cId="3685116316" sldId="2147378709"/>
            <ac:spMk id="29" creationId="{51548927-EDC2-8320-9763-1100DEEB5C3D}"/>
          </ac:spMkLst>
        </pc:spChg>
        <pc:spChg chg="add mod">
          <ac:chgData name="内山 裕弥" userId="8d34b9d0-ec49-418d-b1de-019cf6b56da5" providerId="ADAL" clId="{EE417D81-9D62-44B5-9A36-43CC1B66E142}" dt="2024-07-19T04:21:29.714" v="976"/>
          <ac:spMkLst>
            <pc:docMk/>
            <pc:sldMk cId="3685116316" sldId="2147378709"/>
            <ac:spMk id="30" creationId="{ABA7E6E7-22B8-6897-CAD1-5BB1F7243A11}"/>
          </ac:spMkLst>
        </pc:spChg>
        <pc:spChg chg="add mod">
          <ac:chgData name="内山 裕弥" userId="8d34b9d0-ec49-418d-b1de-019cf6b56da5" providerId="ADAL" clId="{EE417D81-9D62-44B5-9A36-43CC1B66E142}" dt="2024-07-19T04:21:30.424" v="977"/>
          <ac:spMkLst>
            <pc:docMk/>
            <pc:sldMk cId="3685116316" sldId="2147378709"/>
            <ac:spMk id="31" creationId="{97AC2652-6A11-4525-3831-C5116BDDAFD4}"/>
          </ac:spMkLst>
        </pc:spChg>
        <pc:spChg chg="add mod">
          <ac:chgData name="内山 裕弥" userId="8d34b9d0-ec49-418d-b1de-019cf6b56da5" providerId="ADAL" clId="{EE417D81-9D62-44B5-9A36-43CC1B66E142}" dt="2024-07-19T04:21:28.023" v="974"/>
          <ac:spMkLst>
            <pc:docMk/>
            <pc:sldMk cId="3685116316" sldId="2147378709"/>
            <ac:spMk id="32" creationId="{226A0974-299A-DA5C-F13B-FA16A7D473D9}"/>
          </ac:spMkLst>
        </pc:spChg>
        <pc:spChg chg="add mod">
          <ac:chgData name="内山 裕弥" userId="8d34b9d0-ec49-418d-b1de-019cf6b56da5" providerId="ADAL" clId="{EE417D81-9D62-44B5-9A36-43CC1B66E142}" dt="2024-07-19T04:21:31.038" v="978"/>
          <ac:spMkLst>
            <pc:docMk/>
            <pc:sldMk cId="3685116316" sldId="2147378709"/>
            <ac:spMk id="33" creationId="{C9FC6D16-CAD4-5B3E-F8B5-81D2A2D8CDCA}"/>
          </ac:spMkLst>
        </pc:spChg>
        <pc:spChg chg="add mod">
          <ac:chgData name="内山 裕弥" userId="8d34b9d0-ec49-418d-b1de-019cf6b56da5" providerId="ADAL" clId="{EE417D81-9D62-44B5-9A36-43CC1B66E142}" dt="2024-07-19T04:21:28.858" v="975"/>
          <ac:spMkLst>
            <pc:docMk/>
            <pc:sldMk cId="3685116316" sldId="2147378709"/>
            <ac:spMk id="34" creationId="{C89FC4AA-2731-E92F-D907-2D16595912E8}"/>
          </ac:spMkLst>
        </pc:spChg>
        <pc:spChg chg="add mod">
          <ac:chgData name="内山 裕弥" userId="8d34b9d0-ec49-418d-b1de-019cf6b56da5" providerId="ADAL" clId="{EE417D81-9D62-44B5-9A36-43CC1B66E142}" dt="2024-07-19T04:21:31.695" v="979"/>
          <ac:spMkLst>
            <pc:docMk/>
            <pc:sldMk cId="3685116316" sldId="2147378709"/>
            <ac:spMk id="35" creationId="{708AB7D6-2CDF-65E4-DFCF-96EFAC6FF818}"/>
          </ac:spMkLst>
        </pc:spChg>
        <pc:spChg chg="add mod">
          <ac:chgData name="内山 裕弥" userId="8d34b9d0-ec49-418d-b1de-019cf6b56da5" providerId="ADAL" clId="{EE417D81-9D62-44B5-9A36-43CC1B66E142}" dt="2024-07-19T04:22:45.294" v="1300" actId="20577"/>
          <ac:spMkLst>
            <pc:docMk/>
            <pc:sldMk cId="3685116316" sldId="2147378709"/>
            <ac:spMk id="36" creationId="{833B7B3B-2AA4-02F5-9605-1CA648B26A9E}"/>
          </ac:spMkLst>
        </pc:spChg>
        <pc:grpChg chg="del">
          <ac:chgData name="内山 裕弥" userId="8d34b9d0-ec49-418d-b1de-019cf6b56da5" providerId="ADAL" clId="{EE417D81-9D62-44B5-9A36-43CC1B66E142}" dt="2024-07-19T04:20:52.589" v="942" actId="21"/>
          <ac:grpSpMkLst>
            <pc:docMk/>
            <pc:sldMk cId="3685116316" sldId="2147378709"/>
            <ac:grpSpMk id="3" creationId="{EBC23DA4-F36B-555D-CA5C-39F94E08823F}"/>
          </ac:grpSpMkLst>
        </pc:grpChg>
        <pc:cxnChg chg="add mod">
          <ac:chgData name="内山 裕弥" userId="8d34b9d0-ec49-418d-b1de-019cf6b56da5" providerId="ADAL" clId="{EE417D81-9D62-44B5-9A36-43CC1B66E142}" dt="2024-07-19T04:21:04.222" v="945"/>
          <ac:cxnSpMkLst>
            <pc:docMk/>
            <pc:sldMk cId="3685116316" sldId="2147378709"/>
            <ac:cxnSpMk id="19" creationId="{988F5D47-E5D3-5BF3-75A0-F784D65E7675}"/>
          </ac:cxnSpMkLst>
        </pc:cxnChg>
        <pc:cxnChg chg="add mod">
          <ac:chgData name="内山 裕弥" userId="8d34b9d0-ec49-418d-b1de-019cf6b56da5" providerId="ADAL" clId="{EE417D81-9D62-44B5-9A36-43CC1B66E142}" dt="2024-07-19T04:21:04.222" v="945"/>
          <ac:cxnSpMkLst>
            <pc:docMk/>
            <pc:sldMk cId="3685116316" sldId="2147378709"/>
            <ac:cxnSpMk id="21" creationId="{2C5A1D27-39E7-7A74-E0C6-11903FAA5D16}"/>
          </ac:cxnSpMkLst>
        </pc:cxnChg>
        <pc:cxnChg chg="add mod">
          <ac:chgData name="内山 裕弥" userId="8d34b9d0-ec49-418d-b1de-019cf6b56da5" providerId="ADAL" clId="{EE417D81-9D62-44B5-9A36-43CC1B66E142}" dt="2024-07-19T04:21:04.222" v="945"/>
          <ac:cxnSpMkLst>
            <pc:docMk/>
            <pc:sldMk cId="3685116316" sldId="2147378709"/>
            <ac:cxnSpMk id="24" creationId="{67CF960F-BF89-4129-340B-68AB5FDE8755}"/>
          </ac:cxnSpMkLst>
        </pc:cxnChg>
        <pc:cxnChg chg="add mod">
          <ac:chgData name="内山 裕弥" userId="8d34b9d0-ec49-418d-b1de-019cf6b56da5" providerId="ADAL" clId="{EE417D81-9D62-44B5-9A36-43CC1B66E142}" dt="2024-07-19T04:21:04.222" v="945"/>
          <ac:cxnSpMkLst>
            <pc:docMk/>
            <pc:sldMk cId="3685116316" sldId="2147378709"/>
            <ac:cxnSpMk id="26" creationId="{D275D890-34D1-720A-5568-058C5CE60E89}"/>
          </ac:cxnSpMkLst>
        </pc:cxnChg>
        <pc:cxnChg chg="add mod">
          <ac:chgData name="内山 裕弥" userId="8d34b9d0-ec49-418d-b1de-019cf6b56da5" providerId="ADAL" clId="{EE417D81-9D62-44B5-9A36-43CC1B66E142}" dt="2024-07-19T04:21:04.222" v="945"/>
          <ac:cxnSpMkLst>
            <pc:docMk/>
            <pc:sldMk cId="3685116316" sldId="2147378709"/>
            <ac:cxnSpMk id="27" creationId="{E7CB3556-2936-30A4-AEC6-65D0A1738CDB}"/>
          </ac:cxnSpMkLst>
        </pc:cxnChg>
      </pc:sldChg>
      <pc:sldChg chg="addSp delSp modSp add mod">
        <pc:chgData name="内山 裕弥" userId="8d34b9d0-ec49-418d-b1de-019cf6b56da5" providerId="ADAL" clId="{EE417D81-9D62-44B5-9A36-43CC1B66E142}" dt="2024-07-19T04:25:59.013" v="1817" actId="20577"/>
        <pc:sldMkLst>
          <pc:docMk/>
          <pc:sldMk cId="2249235288" sldId="2147378710"/>
        </pc:sldMkLst>
        <pc:spChg chg="mod">
          <ac:chgData name="内山 裕弥" userId="8d34b9d0-ec49-418d-b1de-019cf6b56da5" providerId="ADAL" clId="{EE417D81-9D62-44B5-9A36-43CC1B66E142}" dt="2024-07-19T04:23:10.055" v="1303"/>
          <ac:spMkLst>
            <pc:docMk/>
            <pc:sldMk cId="2249235288" sldId="2147378710"/>
            <ac:spMk id="7" creationId="{081FA0EF-B0D7-A6B9-D177-CBA186431769}"/>
          </ac:spMkLst>
        </pc:spChg>
        <pc:spChg chg="mod">
          <ac:chgData name="内山 裕弥" userId="8d34b9d0-ec49-418d-b1de-019cf6b56da5" providerId="ADAL" clId="{EE417D81-9D62-44B5-9A36-43CC1B66E142}" dt="2024-07-19T04:23:29.758" v="1369" actId="20577"/>
          <ac:spMkLst>
            <pc:docMk/>
            <pc:sldMk cId="2249235288" sldId="2147378710"/>
            <ac:spMk id="9" creationId="{D22A0A06-D5A8-4A1A-B66F-2A8EDBD644F1}"/>
          </ac:spMkLst>
        </pc:spChg>
        <pc:spChg chg="mod">
          <ac:chgData name="内山 裕弥" userId="8d34b9d0-ec49-418d-b1de-019cf6b56da5" providerId="ADAL" clId="{EE417D81-9D62-44B5-9A36-43CC1B66E142}" dt="2024-07-19T04:23:10.055" v="1303"/>
          <ac:spMkLst>
            <pc:docMk/>
            <pc:sldMk cId="2249235288" sldId="2147378710"/>
            <ac:spMk id="10" creationId="{1A383005-B1A5-AD52-BAD8-1851206F59CA}"/>
          </ac:spMkLst>
        </pc:spChg>
        <pc:spChg chg="add mod">
          <ac:chgData name="内山 裕弥" userId="8d34b9d0-ec49-418d-b1de-019cf6b56da5" providerId="ADAL" clId="{EE417D81-9D62-44B5-9A36-43CC1B66E142}" dt="2024-07-19T04:23:45.570" v="1386"/>
          <ac:spMkLst>
            <pc:docMk/>
            <pc:sldMk cId="2249235288" sldId="2147378710"/>
            <ac:spMk id="13" creationId="{EDAD2185-EC0D-868E-795C-E7F2FB4ACC64}"/>
          </ac:spMkLst>
        </pc:spChg>
        <pc:spChg chg="add mod">
          <ac:chgData name="内山 裕弥" userId="8d34b9d0-ec49-418d-b1de-019cf6b56da5" providerId="ADAL" clId="{EE417D81-9D62-44B5-9A36-43CC1B66E142}" dt="2024-07-19T04:23:48.079" v="1387"/>
          <ac:spMkLst>
            <pc:docMk/>
            <pc:sldMk cId="2249235288" sldId="2147378710"/>
            <ac:spMk id="14" creationId="{EB154E72-D468-E337-5176-249A512E7AD4}"/>
          </ac:spMkLst>
        </pc:spChg>
        <pc:spChg chg="add mod">
          <ac:chgData name="内山 裕弥" userId="8d34b9d0-ec49-418d-b1de-019cf6b56da5" providerId="ADAL" clId="{EE417D81-9D62-44B5-9A36-43CC1B66E142}" dt="2024-07-19T04:25:59.013" v="1817" actId="20577"/>
          <ac:spMkLst>
            <pc:docMk/>
            <pc:sldMk cId="2249235288" sldId="2147378710"/>
            <ac:spMk id="15" creationId="{023910BE-64AD-C23C-E1DF-2E35F066FA1D}"/>
          </ac:spMkLst>
        </pc:spChg>
        <pc:spChg chg="add del mod">
          <ac:chgData name="内山 裕弥" userId="8d34b9d0-ec49-418d-b1de-019cf6b56da5" providerId="ADAL" clId="{EE417D81-9D62-44B5-9A36-43CC1B66E142}" dt="2024-07-19T04:25:00.601" v="1667" actId="21"/>
          <ac:spMkLst>
            <pc:docMk/>
            <pc:sldMk cId="2249235288" sldId="2147378710"/>
            <ac:spMk id="16" creationId="{8F42B5C1-BCA6-4E92-465B-2BE5747EB03F}"/>
          </ac:spMkLst>
        </pc:spChg>
        <pc:spChg chg="del">
          <ac:chgData name="内山 裕弥" userId="8d34b9d0-ec49-418d-b1de-019cf6b56da5" providerId="ADAL" clId="{EE417D81-9D62-44B5-9A36-43CC1B66E142}" dt="2024-07-19T04:23:03.185" v="1302" actId="21"/>
          <ac:spMkLst>
            <pc:docMk/>
            <pc:sldMk cId="2249235288" sldId="2147378710"/>
            <ac:spMk id="17" creationId="{53F10FF5-7C3A-04E7-4D0E-3EC2A9EB89FC}"/>
          </ac:spMkLst>
        </pc:spChg>
        <pc:spChg chg="del">
          <ac:chgData name="内山 裕弥" userId="8d34b9d0-ec49-418d-b1de-019cf6b56da5" providerId="ADAL" clId="{EE417D81-9D62-44B5-9A36-43CC1B66E142}" dt="2024-07-19T04:23:03.185" v="1302" actId="21"/>
          <ac:spMkLst>
            <pc:docMk/>
            <pc:sldMk cId="2249235288" sldId="2147378710"/>
            <ac:spMk id="18" creationId="{E9664A3C-1A6D-1DEA-5030-08206BBAF59D}"/>
          </ac:spMkLst>
        </pc:spChg>
        <pc:spChg chg="del">
          <ac:chgData name="内山 裕弥" userId="8d34b9d0-ec49-418d-b1de-019cf6b56da5" providerId="ADAL" clId="{EE417D81-9D62-44B5-9A36-43CC1B66E142}" dt="2024-07-19T04:23:03.185" v="1302" actId="21"/>
          <ac:spMkLst>
            <pc:docMk/>
            <pc:sldMk cId="2249235288" sldId="2147378710"/>
            <ac:spMk id="20" creationId="{A1D40746-BF49-AC90-B951-2E85999D00C9}"/>
          </ac:spMkLst>
        </pc:spChg>
        <pc:spChg chg="del">
          <ac:chgData name="内山 裕弥" userId="8d34b9d0-ec49-418d-b1de-019cf6b56da5" providerId="ADAL" clId="{EE417D81-9D62-44B5-9A36-43CC1B66E142}" dt="2024-07-19T04:23:03.185" v="1302" actId="21"/>
          <ac:spMkLst>
            <pc:docMk/>
            <pc:sldMk cId="2249235288" sldId="2147378710"/>
            <ac:spMk id="22" creationId="{E3A53034-9097-A2B0-BA00-9805C113B3C4}"/>
          </ac:spMkLst>
        </pc:spChg>
        <pc:spChg chg="del">
          <ac:chgData name="内山 裕弥" userId="8d34b9d0-ec49-418d-b1de-019cf6b56da5" providerId="ADAL" clId="{EE417D81-9D62-44B5-9A36-43CC1B66E142}" dt="2024-07-19T04:23:03.185" v="1302" actId="21"/>
          <ac:spMkLst>
            <pc:docMk/>
            <pc:sldMk cId="2249235288" sldId="2147378710"/>
            <ac:spMk id="23" creationId="{548B53C1-9515-859C-4FF6-ED37AFEFE4B3}"/>
          </ac:spMkLst>
        </pc:spChg>
        <pc:spChg chg="del">
          <ac:chgData name="内山 裕弥" userId="8d34b9d0-ec49-418d-b1de-019cf6b56da5" providerId="ADAL" clId="{EE417D81-9D62-44B5-9A36-43CC1B66E142}" dt="2024-07-19T04:23:03.185" v="1302" actId="21"/>
          <ac:spMkLst>
            <pc:docMk/>
            <pc:sldMk cId="2249235288" sldId="2147378710"/>
            <ac:spMk id="25" creationId="{B623064F-1224-9D0A-91B9-574A09BD6B31}"/>
          </ac:spMkLst>
        </pc:spChg>
        <pc:spChg chg="del">
          <ac:chgData name="内山 裕弥" userId="8d34b9d0-ec49-418d-b1de-019cf6b56da5" providerId="ADAL" clId="{EE417D81-9D62-44B5-9A36-43CC1B66E142}" dt="2024-07-19T04:23:03.185" v="1302" actId="21"/>
          <ac:spMkLst>
            <pc:docMk/>
            <pc:sldMk cId="2249235288" sldId="2147378710"/>
            <ac:spMk id="28" creationId="{90FD0E77-3888-581E-76F2-D03B3D6A162F}"/>
          </ac:spMkLst>
        </pc:spChg>
        <pc:spChg chg="del">
          <ac:chgData name="内山 裕弥" userId="8d34b9d0-ec49-418d-b1de-019cf6b56da5" providerId="ADAL" clId="{EE417D81-9D62-44B5-9A36-43CC1B66E142}" dt="2024-07-19T04:23:03.185" v="1302" actId="21"/>
          <ac:spMkLst>
            <pc:docMk/>
            <pc:sldMk cId="2249235288" sldId="2147378710"/>
            <ac:spMk id="29" creationId="{51548927-EDC2-8320-9763-1100DEEB5C3D}"/>
          </ac:spMkLst>
        </pc:spChg>
        <pc:spChg chg="del">
          <ac:chgData name="内山 裕弥" userId="8d34b9d0-ec49-418d-b1de-019cf6b56da5" providerId="ADAL" clId="{EE417D81-9D62-44B5-9A36-43CC1B66E142}" dt="2024-07-19T04:23:03.185" v="1302" actId="21"/>
          <ac:spMkLst>
            <pc:docMk/>
            <pc:sldMk cId="2249235288" sldId="2147378710"/>
            <ac:spMk id="30" creationId="{ABA7E6E7-22B8-6897-CAD1-5BB1F7243A11}"/>
          </ac:spMkLst>
        </pc:spChg>
        <pc:spChg chg="del">
          <ac:chgData name="内山 裕弥" userId="8d34b9d0-ec49-418d-b1de-019cf6b56da5" providerId="ADAL" clId="{EE417D81-9D62-44B5-9A36-43CC1B66E142}" dt="2024-07-19T04:23:03.185" v="1302" actId="21"/>
          <ac:spMkLst>
            <pc:docMk/>
            <pc:sldMk cId="2249235288" sldId="2147378710"/>
            <ac:spMk id="31" creationId="{97AC2652-6A11-4525-3831-C5116BDDAFD4}"/>
          </ac:spMkLst>
        </pc:spChg>
        <pc:spChg chg="del">
          <ac:chgData name="内山 裕弥" userId="8d34b9d0-ec49-418d-b1de-019cf6b56da5" providerId="ADAL" clId="{EE417D81-9D62-44B5-9A36-43CC1B66E142}" dt="2024-07-19T04:23:03.185" v="1302" actId="21"/>
          <ac:spMkLst>
            <pc:docMk/>
            <pc:sldMk cId="2249235288" sldId="2147378710"/>
            <ac:spMk id="32" creationId="{226A0974-299A-DA5C-F13B-FA16A7D473D9}"/>
          </ac:spMkLst>
        </pc:spChg>
        <pc:spChg chg="del">
          <ac:chgData name="内山 裕弥" userId="8d34b9d0-ec49-418d-b1de-019cf6b56da5" providerId="ADAL" clId="{EE417D81-9D62-44B5-9A36-43CC1B66E142}" dt="2024-07-19T04:23:03.185" v="1302" actId="21"/>
          <ac:spMkLst>
            <pc:docMk/>
            <pc:sldMk cId="2249235288" sldId="2147378710"/>
            <ac:spMk id="33" creationId="{C9FC6D16-CAD4-5B3E-F8B5-81D2A2D8CDCA}"/>
          </ac:spMkLst>
        </pc:spChg>
        <pc:spChg chg="del">
          <ac:chgData name="内山 裕弥" userId="8d34b9d0-ec49-418d-b1de-019cf6b56da5" providerId="ADAL" clId="{EE417D81-9D62-44B5-9A36-43CC1B66E142}" dt="2024-07-19T04:23:03.185" v="1302" actId="21"/>
          <ac:spMkLst>
            <pc:docMk/>
            <pc:sldMk cId="2249235288" sldId="2147378710"/>
            <ac:spMk id="34" creationId="{C89FC4AA-2731-E92F-D907-2D16595912E8}"/>
          </ac:spMkLst>
        </pc:spChg>
        <pc:spChg chg="del">
          <ac:chgData name="内山 裕弥" userId="8d34b9d0-ec49-418d-b1de-019cf6b56da5" providerId="ADAL" clId="{EE417D81-9D62-44B5-9A36-43CC1B66E142}" dt="2024-07-19T04:23:03.185" v="1302" actId="21"/>
          <ac:spMkLst>
            <pc:docMk/>
            <pc:sldMk cId="2249235288" sldId="2147378710"/>
            <ac:spMk id="35" creationId="{708AB7D6-2CDF-65E4-DFCF-96EFAC6FF818}"/>
          </ac:spMkLst>
        </pc:spChg>
        <pc:spChg chg="del">
          <ac:chgData name="内山 裕弥" userId="8d34b9d0-ec49-418d-b1de-019cf6b56da5" providerId="ADAL" clId="{EE417D81-9D62-44B5-9A36-43CC1B66E142}" dt="2024-07-19T04:23:03.185" v="1302" actId="21"/>
          <ac:spMkLst>
            <pc:docMk/>
            <pc:sldMk cId="2249235288" sldId="2147378710"/>
            <ac:spMk id="36" creationId="{833B7B3B-2AA4-02F5-9605-1CA648B26A9E}"/>
          </ac:spMkLst>
        </pc:spChg>
        <pc:grpChg chg="add mod">
          <ac:chgData name="内山 裕弥" userId="8d34b9d0-ec49-418d-b1de-019cf6b56da5" providerId="ADAL" clId="{EE417D81-9D62-44B5-9A36-43CC1B66E142}" dt="2024-07-19T04:23:10.055" v="1303"/>
          <ac:grpSpMkLst>
            <pc:docMk/>
            <pc:sldMk cId="2249235288" sldId="2147378710"/>
            <ac:grpSpMk id="3" creationId="{F85333DF-4E5C-DAEA-926C-1A154E2103A9}"/>
          </ac:grpSpMkLst>
        </pc:grpChg>
        <pc:grpChg chg="mod">
          <ac:chgData name="内山 裕弥" userId="8d34b9d0-ec49-418d-b1de-019cf6b56da5" providerId="ADAL" clId="{EE417D81-9D62-44B5-9A36-43CC1B66E142}" dt="2024-07-19T04:23:10.055" v="1303"/>
          <ac:grpSpMkLst>
            <pc:docMk/>
            <pc:sldMk cId="2249235288" sldId="2147378710"/>
            <ac:grpSpMk id="4" creationId="{EAB62C42-9CF0-6E2B-28F8-CFEDB26FC1DD}"/>
          </ac:grpSpMkLst>
        </pc:grpChg>
        <pc:grpChg chg="mod">
          <ac:chgData name="内山 裕弥" userId="8d34b9d0-ec49-418d-b1de-019cf6b56da5" providerId="ADAL" clId="{EE417D81-9D62-44B5-9A36-43CC1B66E142}" dt="2024-07-19T04:23:10.055" v="1303"/>
          <ac:grpSpMkLst>
            <pc:docMk/>
            <pc:sldMk cId="2249235288" sldId="2147378710"/>
            <ac:grpSpMk id="6" creationId="{A2007A34-9A61-3C01-D672-C413701B3445}"/>
          </ac:grpSpMkLst>
        </pc:grpChg>
        <pc:cxnChg chg="mod">
          <ac:chgData name="内山 裕弥" userId="8d34b9d0-ec49-418d-b1de-019cf6b56da5" providerId="ADAL" clId="{EE417D81-9D62-44B5-9A36-43CC1B66E142}" dt="2024-07-19T04:23:10.055" v="1303"/>
          <ac:cxnSpMkLst>
            <pc:docMk/>
            <pc:sldMk cId="2249235288" sldId="2147378710"/>
            <ac:cxnSpMk id="8" creationId="{99FBEF6F-94C3-52B0-FA40-DD378C8E4F64}"/>
          </ac:cxnSpMkLst>
        </pc:cxnChg>
        <pc:cxnChg chg="mod">
          <ac:chgData name="内山 裕弥" userId="8d34b9d0-ec49-418d-b1de-019cf6b56da5" providerId="ADAL" clId="{EE417D81-9D62-44B5-9A36-43CC1B66E142}" dt="2024-07-19T04:23:10.055" v="1303"/>
          <ac:cxnSpMkLst>
            <pc:docMk/>
            <pc:sldMk cId="2249235288" sldId="2147378710"/>
            <ac:cxnSpMk id="12" creationId="{3653E4DF-7A5D-EE67-D31F-6D64D03C04E6}"/>
          </ac:cxnSpMkLst>
        </pc:cxnChg>
        <pc:cxnChg chg="del">
          <ac:chgData name="内山 裕弥" userId="8d34b9d0-ec49-418d-b1de-019cf6b56da5" providerId="ADAL" clId="{EE417D81-9D62-44B5-9A36-43CC1B66E142}" dt="2024-07-19T04:23:03.185" v="1302" actId="21"/>
          <ac:cxnSpMkLst>
            <pc:docMk/>
            <pc:sldMk cId="2249235288" sldId="2147378710"/>
            <ac:cxnSpMk id="19" creationId="{988F5D47-E5D3-5BF3-75A0-F784D65E7675}"/>
          </ac:cxnSpMkLst>
        </pc:cxnChg>
        <pc:cxnChg chg="del">
          <ac:chgData name="内山 裕弥" userId="8d34b9d0-ec49-418d-b1de-019cf6b56da5" providerId="ADAL" clId="{EE417D81-9D62-44B5-9A36-43CC1B66E142}" dt="2024-07-19T04:23:03.185" v="1302" actId="21"/>
          <ac:cxnSpMkLst>
            <pc:docMk/>
            <pc:sldMk cId="2249235288" sldId="2147378710"/>
            <ac:cxnSpMk id="21" creationId="{2C5A1D27-39E7-7A74-E0C6-11903FAA5D16}"/>
          </ac:cxnSpMkLst>
        </pc:cxnChg>
        <pc:cxnChg chg="del">
          <ac:chgData name="内山 裕弥" userId="8d34b9d0-ec49-418d-b1de-019cf6b56da5" providerId="ADAL" clId="{EE417D81-9D62-44B5-9A36-43CC1B66E142}" dt="2024-07-19T04:23:03.185" v="1302" actId="21"/>
          <ac:cxnSpMkLst>
            <pc:docMk/>
            <pc:sldMk cId="2249235288" sldId="2147378710"/>
            <ac:cxnSpMk id="24" creationId="{67CF960F-BF89-4129-340B-68AB5FDE8755}"/>
          </ac:cxnSpMkLst>
        </pc:cxnChg>
        <pc:cxnChg chg="del">
          <ac:chgData name="内山 裕弥" userId="8d34b9d0-ec49-418d-b1de-019cf6b56da5" providerId="ADAL" clId="{EE417D81-9D62-44B5-9A36-43CC1B66E142}" dt="2024-07-19T04:23:03.185" v="1302" actId="21"/>
          <ac:cxnSpMkLst>
            <pc:docMk/>
            <pc:sldMk cId="2249235288" sldId="2147378710"/>
            <ac:cxnSpMk id="26" creationId="{D275D890-34D1-720A-5568-058C5CE60E89}"/>
          </ac:cxnSpMkLst>
        </pc:cxnChg>
        <pc:cxnChg chg="del">
          <ac:chgData name="内山 裕弥" userId="8d34b9d0-ec49-418d-b1de-019cf6b56da5" providerId="ADAL" clId="{EE417D81-9D62-44B5-9A36-43CC1B66E142}" dt="2024-07-19T04:23:03.185" v="1302" actId="21"/>
          <ac:cxnSpMkLst>
            <pc:docMk/>
            <pc:sldMk cId="2249235288" sldId="2147378710"/>
            <ac:cxnSpMk id="27" creationId="{E7CB3556-2936-30A4-AEC6-65D0A1738CDB}"/>
          </ac:cxnSpMkLst>
        </pc:cxnChg>
      </pc:sldChg>
      <pc:sldChg chg="addSp delSp modSp add mod">
        <pc:chgData name="内山 裕弥" userId="8d34b9d0-ec49-418d-b1de-019cf6b56da5" providerId="ADAL" clId="{EE417D81-9D62-44B5-9A36-43CC1B66E142}" dt="2024-07-19T04:27:00.385" v="2054"/>
        <pc:sldMkLst>
          <pc:docMk/>
          <pc:sldMk cId="1302942433" sldId="2147378711"/>
        </pc:sldMkLst>
        <pc:spChg chg="mod">
          <ac:chgData name="内山 裕弥" userId="8d34b9d0-ec49-418d-b1de-019cf6b56da5" providerId="ADAL" clId="{EE417D81-9D62-44B5-9A36-43CC1B66E142}" dt="2024-07-19T04:25:25.063" v="1717" actId="20577"/>
          <ac:spMkLst>
            <pc:docMk/>
            <pc:sldMk cId="1302942433" sldId="2147378711"/>
            <ac:spMk id="7" creationId="{081FA0EF-B0D7-A6B9-D177-CBA186431769}"/>
          </ac:spMkLst>
        </pc:spChg>
        <pc:spChg chg="mod">
          <ac:chgData name="内山 裕弥" userId="8d34b9d0-ec49-418d-b1de-019cf6b56da5" providerId="ADAL" clId="{EE417D81-9D62-44B5-9A36-43CC1B66E142}" dt="2024-07-19T04:25:15.527" v="1708" actId="20577"/>
          <ac:spMkLst>
            <pc:docMk/>
            <pc:sldMk cId="1302942433" sldId="2147378711"/>
            <ac:spMk id="9" creationId="{D22A0A06-D5A8-4A1A-B66F-2A8EDBD644F1}"/>
          </ac:spMkLst>
        </pc:spChg>
        <pc:spChg chg="mod">
          <ac:chgData name="内山 裕弥" userId="8d34b9d0-ec49-418d-b1de-019cf6b56da5" providerId="ADAL" clId="{EE417D81-9D62-44B5-9A36-43CC1B66E142}" dt="2024-07-19T04:25:22.662" v="1709" actId="1076"/>
          <ac:spMkLst>
            <pc:docMk/>
            <pc:sldMk cId="1302942433" sldId="2147378711"/>
            <ac:spMk id="10" creationId="{1A383005-B1A5-AD52-BAD8-1851206F59CA}"/>
          </ac:spMkLst>
        </pc:spChg>
        <pc:spChg chg="mod">
          <ac:chgData name="内山 裕弥" userId="8d34b9d0-ec49-418d-b1de-019cf6b56da5" providerId="ADAL" clId="{EE417D81-9D62-44B5-9A36-43CC1B66E142}" dt="2024-07-19T04:25:40.673" v="1728" actId="20577"/>
          <ac:spMkLst>
            <pc:docMk/>
            <pc:sldMk cId="1302942433" sldId="2147378711"/>
            <ac:spMk id="13" creationId="{EDAD2185-EC0D-868E-795C-E7F2FB4ACC64}"/>
          </ac:spMkLst>
        </pc:spChg>
        <pc:spChg chg="del">
          <ac:chgData name="内山 裕弥" userId="8d34b9d0-ec49-418d-b1de-019cf6b56da5" providerId="ADAL" clId="{EE417D81-9D62-44B5-9A36-43CC1B66E142}" dt="2024-07-19T04:25:30.437" v="1719" actId="478"/>
          <ac:spMkLst>
            <pc:docMk/>
            <pc:sldMk cId="1302942433" sldId="2147378711"/>
            <ac:spMk id="14" creationId="{EB154E72-D468-E337-5176-249A512E7AD4}"/>
          </ac:spMkLst>
        </pc:spChg>
        <pc:spChg chg="mod">
          <ac:chgData name="内山 裕弥" userId="8d34b9d0-ec49-418d-b1de-019cf6b56da5" providerId="ADAL" clId="{EE417D81-9D62-44B5-9A36-43CC1B66E142}" dt="2024-07-19T04:26:21.330" v="1901" actId="20577"/>
          <ac:spMkLst>
            <pc:docMk/>
            <pc:sldMk cId="1302942433" sldId="2147378711"/>
            <ac:spMk id="15" creationId="{023910BE-64AD-C23C-E1DF-2E35F066FA1D}"/>
          </ac:spMkLst>
        </pc:spChg>
        <pc:spChg chg="add mod">
          <ac:chgData name="内山 裕弥" userId="8d34b9d0-ec49-418d-b1de-019cf6b56da5" providerId="ADAL" clId="{EE417D81-9D62-44B5-9A36-43CC1B66E142}" dt="2024-07-19T04:27:00.385" v="2054"/>
          <ac:spMkLst>
            <pc:docMk/>
            <pc:sldMk cId="1302942433" sldId="2147378711"/>
            <ac:spMk id="16" creationId="{9BE531E5-4F22-4DE9-B6DB-7FD8253B5070}"/>
          </ac:spMkLst>
        </pc:spChg>
        <pc:grpChg chg="mod">
          <ac:chgData name="内山 裕弥" userId="8d34b9d0-ec49-418d-b1de-019cf6b56da5" providerId="ADAL" clId="{EE417D81-9D62-44B5-9A36-43CC1B66E142}" dt="2024-07-19T04:25:22.662" v="1709" actId="1076"/>
          <ac:grpSpMkLst>
            <pc:docMk/>
            <pc:sldMk cId="1302942433" sldId="2147378711"/>
            <ac:grpSpMk id="3" creationId="{F85333DF-4E5C-DAEA-926C-1A154E2103A9}"/>
          </ac:grpSpMkLst>
        </pc:grpChg>
        <pc:grpChg chg="mod">
          <ac:chgData name="内山 裕弥" userId="8d34b9d0-ec49-418d-b1de-019cf6b56da5" providerId="ADAL" clId="{EE417D81-9D62-44B5-9A36-43CC1B66E142}" dt="2024-07-19T04:25:22.662" v="1709" actId="1076"/>
          <ac:grpSpMkLst>
            <pc:docMk/>
            <pc:sldMk cId="1302942433" sldId="2147378711"/>
            <ac:grpSpMk id="4" creationId="{EAB62C42-9CF0-6E2B-28F8-CFEDB26FC1DD}"/>
          </ac:grpSpMkLst>
        </pc:grpChg>
        <pc:grpChg chg="mod">
          <ac:chgData name="内山 裕弥" userId="8d34b9d0-ec49-418d-b1de-019cf6b56da5" providerId="ADAL" clId="{EE417D81-9D62-44B5-9A36-43CC1B66E142}" dt="2024-07-19T04:25:22.662" v="1709" actId="1076"/>
          <ac:grpSpMkLst>
            <pc:docMk/>
            <pc:sldMk cId="1302942433" sldId="2147378711"/>
            <ac:grpSpMk id="6" creationId="{A2007A34-9A61-3C01-D672-C413701B3445}"/>
          </ac:grpSpMkLst>
        </pc:grpChg>
        <pc:cxnChg chg="mod">
          <ac:chgData name="内山 裕弥" userId="8d34b9d0-ec49-418d-b1de-019cf6b56da5" providerId="ADAL" clId="{EE417D81-9D62-44B5-9A36-43CC1B66E142}" dt="2024-07-19T04:25:22.662" v="1709" actId="1076"/>
          <ac:cxnSpMkLst>
            <pc:docMk/>
            <pc:sldMk cId="1302942433" sldId="2147378711"/>
            <ac:cxnSpMk id="8" creationId="{99FBEF6F-94C3-52B0-FA40-DD378C8E4F64}"/>
          </ac:cxnSpMkLst>
        </pc:cxnChg>
        <pc:cxnChg chg="mod">
          <ac:chgData name="内山 裕弥" userId="8d34b9d0-ec49-418d-b1de-019cf6b56da5" providerId="ADAL" clId="{EE417D81-9D62-44B5-9A36-43CC1B66E142}" dt="2024-07-19T04:25:22.662" v="1709" actId="1076"/>
          <ac:cxnSpMkLst>
            <pc:docMk/>
            <pc:sldMk cId="1302942433" sldId="2147378711"/>
            <ac:cxnSpMk id="12" creationId="{3653E4DF-7A5D-EE67-D31F-6D64D03C04E6}"/>
          </ac:cxnSpMkLst>
        </pc:cxnChg>
      </pc:sldChg>
      <pc:sldChg chg="addSp delSp modSp add mod">
        <pc:chgData name="内山 裕弥" userId="8d34b9d0-ec49-418d-b1de-019cf6b56da5" providerId="ADAL" clId="{EE417D81-9D62-44B5-9A36-43CC1B66E142}" dt="2024-07-19T04:29:03.172" v="2359" actId="20577"/>
        <pc:sldMkLst>
          <pc:docMk/>
          <pc:sldMk cId="958813593" sldId="2147378712"/>
        </pc:sldMkLst>
        <pc:spChg chg="mod">
          <ac:chgData name="内山 裕弥" userId="8d34b9d0-ec49-418d-b1de-019cf6b56da5" providerId="ADAL" clId="{EE417D81-9D62-44B5-9A36-43CC1B66E142}" dt="2024-07-19T04:29:03.172" v="2359" actId="20577"/>
          <ac:spMkLst>
            <pc:docMk/>
            <pc:sldMk cId="958813593" sldId="2147378712"/>
            <ac:spMk id="9" creationId="{D22A0A06-D5A8-4A1A-B66F-2A8EDBD644F1}"/>
          </ac:spMkLst>
        </pc:spChg>
        <pc:spChg chg="del">
          <ac:chgData name="内山 裕弥" userId="8d34b9d0-ec49-418d-b1de-019cf6b56da5" providerId="ADAL" clId="{EE417D81-9D62-44B5-9A36-43CC1B66E142}" dt="2024-07-19T04:28:10.201" v="2089" actId="478"/>
          <ac:spMkLst>
            <pc:docMk/>
            <pc:sldMk cId="958813593" sldId="2147378712"/>
            <ac:spMk id="13" creationId="{EDAD2185-EC0D-868E-795C-E7F2FB4ACC64}"/>
          </ac:spMkLst>
        </pc:spChg>
        <pc:spChg chg="del">
          <ac:chgData name="内山 裕弥" userId="8d34b9d0-ec49-418d-b1de-019cf6b56da5" providerId="ADAL" clId="{EE417D81-9D62-44B5-9A36-43CC1B66E142}" dt="2024-07-19T04:28:10.201" v="2089" actId="478"/>
          <ac:spMkLst>
            <pc:docMk/>
            <pc:sldMk cId="958813593" sldId="2147378712"/>
            <ac:spMk id="15" creationId="{023910BE-64AD-C23C-E1DF-2E35F066FA1D}"/>
          </ac:spMkLst>
        </pc:spChg>
        <pc:spChg chg="del">
          <ac:chgData name="内山 裕弥" userId="8d34b9d0-ec49-418d-b1de-019cf6b56da5" providerId="ADAL" clId="{EE417D81-9D62-44B5-9A36-43CC1B66E142}" dt="2024-07-19T04:28:10.201" v="2089" actId="478"/>
          <ac:spMkLst>
            <pc:docMk/>
            <pc:sldMk cId="958813593" sldId="2147378712"/>
            <ac:spMk id="16" creationId="{9BE531E5-4F22-4DE9-B6DB-7FD8253B5070}"/>
          </ac:spMkLst>
        </pc:spChg>
        <pc:spChg chg="add mod">
          <ac:chgData name="内山 裕弥" userId="8d34b9d0-ec49-418d-b1de-019cf6b56da5" providerId="ADAL" clId="{EE417D81-9D62-44B5-9A36-43CC1B66E142}" dt="2024-07-19T04:28:58.853" v="2350" actId="20577"/>
          <ac:spMkLst>
            <pc:docMk/>
            <pc:sldMk cId="958813593" sldId="2147378712"/>
            <ac:spMk id="17" creationId="{8E12BC20-AEA4-4454-E75A-D818ACE447A8}"/>
          </ac:spMkLst>
        </pc:spChg>
        <pc:grpChg chg="del">
          <ac:chgData name="内山 裕弥" userId="8d34b9d0-ec49-418d-b1de-019cf6b56da5" providerId="ADAL" clId="{EE417D81-9D62-44B5-9A36-43CC1B66E142}" dt="2024-07-19T04:28:10.201" v="2089" actId="478"/>
          <ac:grpSpMkLst>
            <pc:docMk/>
            <pc:sldMk cId="958813593" sldId="2147378712"/>
            <ac:grpSpMk id="3" creationId="{F85333DF-4E5C-DAEA-926C-1A154E2103A9}"/>
          </ac:grpSpMkLst>
        </pc:grpChg>
        <pc:graphicFrameChg chg="add mod">
          <ac:chgData name="内山 裕弥" userId="8d34b9d0-ec49-418d-b1de-019cf6b56da5" providerId="ADAL" clId="{EE417D81-9D62-44B5-9A36-43CC1B66E142}" dt="2024-07-19T04:28:13.470" v="2091" actId="1076"/>
          <ac:graphicFrameMkLst>
            <pc:docMk/>
            <pc:sldMk cId="958813593" sldId="2147378712"/>
            <ac:graphicFrameMk id="14" creationId="{9887595F-90B6-1EDC-9BF9-62AD79C17B7E}"/>
          </ac:graphicFrameMkLst>
        </pc:graphicFrameChg>
      </pc:sldChg>
      <pc:sldChg chg="delSp modSp add mod">
        <pc:chgData name="内山 裕弥" userId="8d34b9d0-ec49-418d-b1de-019cf6b56da5" providerId="ADAL" clId="{EE417D81-9D62-44B5-9A36-43CC1B66E142}" dt="2024-07-19T04:40:00.646" v="3980" actId="1076"/>
        <pc:sldMkLst>
          <pc:docMk/>
          <pc:sldMk cId="2848558883" sldId="2147378713"/>
        </pc:sldMkLst>
        <pc:spChg chg="mod">
          <ac:chgData name="内山 裕弥" userId="8d34b9d0-ec49-418d-b1de-019cf6b56da5" providerId="ADAL" clId="{EE417D81-9D62-44B5-9A36-43CC1B66E142}" dt="2024-07-19T04:39:04.675" v="3798" actId="20577"/>
          <ac:spMkLst>
            <pc:docMk/>
            <pc:sldMk cId="2848558883" sldId="2147378713"/>
            <ac:spMk id="4" creationId="{29DB748F-EFF5-4509-B381-6B8D73B31303}"/>
          </ac:spMkLst>
        </pc:spChg>
        <pc:spChg chg="mod">
          <ac:chgData name="内山 裕弥" userId="8d34b9d0-ec49-418d-b1de-019cf6b56da5" providerId="ADAL" clId="{EE417D81-9D62-44B5-9A36-43CC1B66E142}" dt="2024-07-19T04:40:00.646" v="3980" actId="1076"/>
          <ac:spMkLst>
            <pc:docMk/>
            <pc:sldMk cId="2848558883" sldId="2147378713"/>
            <ac:spMk id="6" creationId="{9E4631E7-964D-E009-B2BB-C8E7CB208D67}"/>
          </ac:spMkLst>
        </pc:spChg>
        <pc:spChg chg="mod">
          <ac:chgData name="内山 裕弥" userId="8d34b9d0-ec49-418d-b1de-019cf6b56da5" providerId="ADAL" clId="{EE417D81-9D62-44B5-9A36-43CC1B66E142}" dt="2024-07-19T04:39:57.013" v="3979" actId="20577"/>
          <ac:spMkLst>
            <pc:docMk/>
            <pc:sldMk cId="2848558883" sldId="2147378713"/>
            <ac:spMk id="7" creationId="{44C5D2AE-5A67-8B16-4D64-05BEA1BC14F5}"/>
          </ac:spMkLst>
        </pc:spChg>
        <pc:graphicFrameChg chg="del">
          <ac:chgData name="内山 裕弥" userId="8d34b9d0-ec49-418d-b1de-019cf6b56da5" providerId="ADAL" clId="{EE417D81-9D62-44B5-9A36-43CC1B66E142}" dt="2024-07-19T04:39:10.354" v="3799" actId="21"/>
          <ac:graphicFrameMkLst>
            <pc:docMk/>
            <pc:sldMk cId="2848558883" sldId="2147378713"/>
            <ac:graphicFrameMk id="2" creationId="{11947C01-3F25-5707-DF65-95146B28736C}"/>
          </ac:graphicFrameMkLst>
        </pc:graphicFrameChg>
      </pc:sldChg>
      <pc:sldChg chg="delSp modSp add mod">
        <pc:chgData name="内山 裕弥" userId="8d34b9d0-ec49-418d-b1de-019cf6b56da5" providerId="ADAL" clId="{EE417D81-9D62-44B5-9A36-43CC1B66E142}" dt="2024-07-19T04:52:25.224" v="4790" actId="478"/>
        <pc:sldMkLst>
          <pc:docMk/>
          <pc:sldMk cId="3334367261" sldId="2147378714"/>
        </pc:sldMkLst>
        <pc:spChg chg="mod">
          <ac:chgData name="内山 裕弥" userId="8d34b9d0-ec49-418d-b1de-019cf6b56da5" providerId="ADAL" clId="{EE417D81-9D62-44B5-9A36-43CC1B66E142}" dt="2024-07-19T04:47:56.774" v="4498" actId="1076"/>
          <ac:spMkLst>
            <pc:docMk/>
            <pc:sldMk cId="3334367261" sldId="2147378714"/>
            <ac:spMk id="4" creationId="{2D9DF4BF-A6B4-F174-8EB6-98CC10E01A36}"/>
          </ac:spMkLst>
        </pc:spChg>
        <pc:spChg chg="del">
          <ac:chgData name="内山 裕弥" userId="8d34b9d0-ec49-418d-b1de-019cf6b56da5" providerId="ADAL" clId="{EE417D81-9D62-44B5-9A36-43CC1B66E142}" dt="2024-07-19T04:52:25.224" v="4790" actId="478"/>
          <ac:spMkLst>
            <pc:docMk/>
            <pc:sldMk cId="3334367261" sldId="2147378714"/>
            <ac:spMk id="7" creationId="{A0503B66-1299-571B-996C-A6BEA9AA3FFB}"/>
          </ac:spMkLst>
        </pc:spChg>
        <pc:spChg chg="mod">
          <ac:chgData name="内山 裕弥" userId="8d34b9d0-ec49-418d-b1de-019cf6b56da5" providerId="ADAL" clId="{EE417D81-9D62-44B5-9A36-43CC1B66E142}" dt="2024-07-19T04:45:41.753" v="4238" actId="20577"/>
          <ac:spMkLst>
            <pc:docMk/>
            <pc:sldMk cId="3334367261" sldId="2147378714"/>
            <ac:spMk id="9" creationId="{D22A0A06-D5A8-4A1A-B66F-2A8EDBD644F1}"/>
          </ac:spMkLst>
        </pc:spChg>
        <pc:graphicFrameChg chg="mod modGraphic">
          <ac:chgData name="内山 裕弥" userId="8d34b9d0-ec49-418d-b1de-019cf6b56da5" providerId="ADAL" clId="{EE417D81-9D62-44B5-9A36-43CC1B66E142}" dt="2024-07-19T04:47:54.331" v="4497" actId="20577"/>
          <ac:graphicFrameMkLst>
            <pc:docMk/>
            <pc:sldMk cId="3334367261" sldId="2147378714"/>
            <ac:graphicFrameMk id="3" creationId="{789DCD94-CACD-CC79-48EF-F13A5ACFBD8A}"/>
          </ac:graphicFrameMkLst>
        </pc:graphicFrameChg>
      </pc:sldChg>
      <pc:sldChg chg="addSp delSp modSp add mod">
        <pc:chgData name="内山 裕弥" userId="8d34b9d0-ec49-418d-b1de-019cf6b56da5" providerId="ADAL" clId="{EE417D81-9D62-44B5-9A36-43CC1B66E142}" dt="2024-07-19T05:07:46.038" v="6720" actId="20577"/>
        <pc:sldMkLst>
          <pc:docMk/>
          <pc:sldMk cId="89963991" sldId="2147378715"/>
        </pc:sldMkLst>
        <pc:spChg chg="mod">
          <ac:chgData name="内山 裕弥" userId="8d34b9d0-ec49-418d-b1de-019cf6b56da5" providerId="ADAL" clId="{EE417D81-9D62-44B5-9A36-43CC1B66E142}" dt="2024-07-19T05:07:46.038" v="6720" actId="20577"/>
          <ac:spMkLst>
            <pc:docMk/>
            <pc:sldMk cId="89963991" sldId="2147378715"/>
            <ac:spMk id="4" creationId="{9986CF63-9F4F-EEC8-16B1-03EAAE162369}"/>
          </ac:spMkLst>
        </pc:spChg>
        <pc:spChg chg="mod">
          <ac:chgData name="内山 裕弥" userId="8d34b9d0-ec49-418d-b1de-019cf6b56da5" providerId="ADAL" clId="{EE417D81-9D62-44B5-9A36-43CC1B66E142}" dt="2024-07-19T05:03:52.208" v="6121" actId="20577"/>
          <ac:spMkLst>
            <pc:docMk/>
            <pc:sldMk cId="89963991" sldId="2147378715"/>
            <ac:spMk id="9" creationId="{F7DA7227-3724-60C8-1F06-5A8A2F4AF1F8}"/>
          </ac:spMkLst>
        </pc:spChg>
        <pc:spChg chg="mod">
          <ac:chgData name="内山 裕弥" userId="8d34b9d0-ec49-418d-b1de-019cf6b56da5" providerId="ADAL" clId="{EE417D81-9D62-44B5-9A36-43CC1B66E142}" dt="2024-07-19T05:04:00.439" v="6123"/>
          <ac:spMkLst>
            <pc:docMk/>
            <pc:sldMk cId="89963991" sldId="2147378715"/>
            <ac:spMk id="10" creationId="{2760C657-E546-400B-F795-216C14288289}"/>
          </ac:spMkLst>
        </pc:spChg>
        <pc:spChg chg="mod">
          <ac:chgData name="内山 裕弥" userId="8d34b9d0-ec49-418d-b1de-019cf6b56da5" providerId="ADAL" clId="{EE417D81-9D62-44B5-9A36-43CC1B66E142}" dt="2024-07-19T05:04:00.439" v="6123"/>
          <ac:spMkLst>
            <pc:docMk/>
            <pc:sldMk cId="89963991" sldId="2147378715"/>
            <ac:spMk id="11" creationId="{66BF40DF-FEE7-20C6-E70D-8323FB5F5C92}"/>
          </ac:spMkLst>
        </pc:spChg>
        <pc:grpChg chg="add del mod">
          <ac:chgData name="内山 裕弥" userId="8d34b9d0-ec49-418d-b1de-019cf6b56da5" providerId="ADAL" clId="{EE417D81-9D62-44B5-9A36-43CC1B66E142}" dt="2024-07-19T05:04:04.663" v="6124"/>
          <ac:grpSpMkLst>
            <pc:docMk/>
            <pc:sldMk cId="89963991" sldId="2147378715"/>
            <ac:grpSpMk id="7" creationId="{00050D12-A362-11F1-3082-B0DD69466372}"/>
          </ac:grpSpMkLst>
        </pc:grpChg>
        <pc:picChg chg="add del mod">
          <ac:chgData name="内山 裕弥" userId="8d34b9d0-ec49-418d-b1de-019cf6b56da5" providerId="ADAL" clId="{EE417D81-9D62-44B5-9A36-43CC1B66E142}" dt="2024-07-19T05:04:04.663" v="6124"/>
          <ac:picMkLst>
            <pc:docMk/>
            <pc:sldMk cId="89963991" sldId="2147378715"/>
            <ac:picMk id="3" creationId="{1E18EF1D-C4A1-0613-789E-7AECDA0A9B21}"/>
          </ac:picMkLst>
        </pc:picChg>
        <pc:picChg chg="mod">
          <ac:chgData name="内山 裕弥" userId="8d34b9d0-ec49-418d-b1de-019cf6b56da5" providerId="ADAL" clId="{EE417D81-9D62-44B5-9A36-43CC1B66E142}" dt="2024-07-19T05:04:00.439" v="6123"/>
          <ac:picMkLst>
            <pc:docMk/>
            <pc:sldMk cId="89963991" sldId="2147378715"/>
            <ac:picMk id="8" creationId="{FC089C0A-4125-B46A-F1F8-86204FD0543E}"/>
          </ac:picMkLst>
        </pc:picChg>
        <pc:picChg chg="add mod ord">
          <ac:chgData name="内山 裕弥" userId="8d34b9d0-ec49-418d-b1de-019cf6b56da5" providerId="ADAL" clId="{EE417D81-9D62-44B5-9A36-43CC1B66E142}" dt="2024-07-19T05:04:09.868" v="6128" actId="1076"/>
          <ac:picMkLst>
            <pc:docMk/>
            <pc:sldMk cId="89963991" sldId="2147378715"/>
            <ac:picMk id="12" creationId="{4FAFF68C-D7FF-A72F-07AE-666C52F083D6}"/>
          </ac:picMkLst>
        </pc:picChg>
        <pc:picChg chg="del">
          <ac:chgData name="内山 裕弥" userId="8d34b9d0-ec49-418d-b1de-019cf6b56da5" providerId="ADAL" clId="{EE417D81-9D62-44B5-9A36-43CC1B66E142}" dt="2024-07-19T05:03:54.278" v="6122" actId="478"/>
          <ac:picMkLst>
            <pc:docMk/>
            <pc:sldMk cId="89963991" sldId="2147378715"/>
            <ac:picMk id="31" creationId="{16020430-00B1-287F-A924-BAA06D233495}"/>
          </ac:picMkLst>
        </pc:picChg>
      </pc:sldChg>
      <pc:sldChg chg="addSp delSp modSp add mod">
        <pc:chgData name="内山 裕弥" userId="8d34b9d0-ec49-418d-b1de-019cf6b56da5" providerId="ADAL" clId="{EE417D81-9D62-44B5-9A36-43CC1B66E142}" dt="2024-07-19T05:07:34.889" v="6714" actId="21"/>
        <pc:sldMkLst>
          <pc:docMk/>
          <pc:sldMk cId="1575785639" sldId="2147378716"/>
        </pc:sldMkLst>
        <pc:spChg chg="mod">
          <ac:chgData name="内山 裕弥" userId="8d34b9d0-ec49-418d-b1de-019cf6b56da5" providerId="ADAL" clId="{EE417D81-9D62-44B5-9A36-43CC1B66E142}" dt="2024-07-19T05:07:34.889" v="6714" actId="21"/>
          <ac:spMkLst>
            <pc:docMk/>
            <pc:sldMk cId="1575785639" sldId="2147378716"/>
            <ac:spMk id="4" creationId="{9986CF63-9F4F-EEC8-16B1-03EAAE162369}"/>
          </ac:spMkLst>
        </pc:spChg>
        <pc:spChg chg="add del mod">
          <ac:chgData name="内山 裕弥" userId="8d34b9d0-ec49-418d-b1de-019cf6b56da5" providerId="ADAL" clId="{EE417D81-9D62-44B5-9A36-43CC1B66E142}" dt="2024-07-19T05:05:23.985" v="6424"/>
          <ac:spMkLst>
            <pc:docMk/>
            <pc:sldMk cId="1575785639" sldId="2147378716"/>
            <ac:spMk id="8" creationId="{8D36D045-D539-12A8-6294-8DE2CF48886D}"/>
          </ac:spMkLst>
        </pc:spChg>
        <pc:spChg chg="mod">
          <ac:chgData name="内山 裕弥" userId="8d34b9d0-ec49-418d-b1de-019cf6b56da5" providerId="ADAL" clId="{EE417D81-9D62-44B5-9A36-43CC1B66E142}" dt="2024-07-19T05:05:16.555" v="6421" actId="20577"/>
          <ac:spMkLst>
            <pc:docMk/>
            <pc:sldMk cId="1575785639" sldId="2147378716"/>
            <ac:spMk id="9" creationId="{F7DA7227-3724-60C8-1F06-5A8A2F4AF1F8}"/>
          </ac:spMkLst>
        </pc:spChg>
        <pc:spChg chg="add del mod">
          <ac:chgData name="内山 裕弥" userId="8d34b9d0-ec49-418d-b1de-019cf6b56da5" providerId="ADAL" clId="{EE417D81-9D62-44B5-9A36-43CC1B66E142}" dt="2024-07-19T05:05:23.985" v="6424"/>
          <ac:spMkLst>
            <pc:docMk/>
            <pc:sldMk cId="1575785639" sldId="2147378716"/>
            <ac:spMk id="10" creationId="{C85F3F67-EA06-AD4E-1DB8-1A9A8125C8CE}"/>
          </ac:spMkLst>
        </pc:spChg>
        <pc:spChg chg="add del mod">
          <ac:chgData name="内山 裕弥" userId="8d34b9d0-ec49-418d-b1de-019cf6b56da5" providerId="ADAL" clId="{EE417D81-9D62-44B5-9A36-43CC1B66E142}" dt="2024-07-19T05:05:23.985" v="6424"/>
          <ac:spMkLst>
            <pc:docMk/>
            <pc:sldMk cId="1575785639" sldId="2147378716"/>
            <ac:spMk id="11" creationId="{A9CF1634-7B2C-C3B2-BDE4-6C87BA0A384D}"/>
          </ac:spMkLst>
        </pc:spChg>
        <pc:spChg chg="add del mod">
          <ac:chgData name="内山 裕弥" userId="8d34b9d0-ec49-418d-b1de-019cf6b56da5" providerId="ADAL" clId="{EE417D81-9D62-44B5-9A36-43CC1B66E142}" dt="2024-07-19T05:05:23.985" v="6424"/>
          <ac:spMkLst>
            <pc:docMk/>
            <pc:sldMk cId="1575785639" sldId="2147378716"/>
            <ac:spMk id="13" creationId="{FA98E4E2-ACAB-BF8A-9CE3-749808AD499E}"/>
          </ac:spMkLst>
        </pc:spChg>
        <pc:picChg chg="add del mod">
          <ac:chgData name="内山 裕弥" userId="8d34b9d0-ec49-418d-b1de-019cf6b56da5" providerId="ADAL" clId="{EE417D81-9D62-44B5-9A36-43CC1B66E142}" dt="2024-07-19T05:05:23.985" v="6424"/>
          <ac:picMkLst>
            <pc:docMk/>
            <pc:sldMk cId="1575785639" sldId="2147378716"/>
            <ac:picMk id="3" creationId="{32350EDC-425A-E341-322A-324BA6663E6B}"/>
          </ac:picMkLst>
        </pc:picChg>
        <pc:picChg chg="add del mod">
          <ac:chgData name="内山 裕弥" userId="8d34b9d0-ec49-418d-b1de-019cf6b56da5" providerId="ADAL" clId="{EE417D81-9D62-44B5-9A36-43CC1B66E142}" dt="2024-07-19T05:05:23.985" v="6424"/>
          <ac:picMkLst>
            <pc:docMk/>
            <pc:sldMk cId="1575785639" sldId="2147378716"/>
            <ac:picMk id="7" creationId="{7F319213-AD3E-D3A9-81A9-EACAFDAE99FD}"/>
          </ac:picMkLst>
        </pc:picChg>
        <pc:picChg chg="del">
          <ac:chgData name="内山 裕弥" userId="8d34b9d0-ec49-418d-b1de-019cf6b56da5" providerId="ADAL" clId="{EE417D81-9D62-44B5-9A36-43CC1B66E142}" dt="2024-07-19T05:05:22.151" v="6422" actId="478"/>
          <ac:picMkLst>
            <pc:docMk/>
            <pc:sldMk cId="1575785639" sldId="2147378716"/>
            <ac:picMk id="12" creationId="{4FAFF68C-D7FF-A72F-07AE-666C52F083D6}"/>
          </ac:picMkLst>
        </pc:picChg>
        <pc:picChg chg="add mod ord">
          <ac:chgData name="内山 裕弥" userId="8d34b9d0-ec49-418d-b1de-019cf6b56da5" providerId="ADAL" clId="{EE417D81-9D62-44B5-9A36-43CC1B66E142}" dt="2024-07-19T05:05:27.088" v="6427" actId="1076"/>
          <ac:picMkLst>
            <pc:docMk/>
            <pc:sldMk cId="1575785639" sldId="2147378716"/>
            <ac:picMk id="14" creationId="{14F881AA-A9DD-5D4C-6B41-DC64E37C5F31}"/>
          </ac:picMkLst>
        </pc:picChg>
      </pc:sldChg>
      <pc:sldChg chg="addSp delSp modSp add mod">
        <pc:chgData name="内山 裕弥" userId="8d34b9d0-ec49-418d-b1de-019cf6b56da5" providerId="ADAL" clId="{EE417D81-9D62-44B5-9A36-43CC1B66E142}" dt="2024-07-19T05:33:50.062" v="8566" actId="1076"/>
        <pc:sldMkLst>
          <pc:docMk/>
          <pc:sldMk cId="1334307493" sldId="2147378717"/>
        </pc:sldMkLst>
        <pc:spChg chg="mod">
          <ac:chgData name="内山 裕弥" userId="8d34b9d0-ec49-418d-b1de-019cf6b56da5" providerId="ADAL" clId="{EE417D81-9D62-44B5-9A36-43CC1B66E142}" dt="2024-07-19T05:33:21.398" v="8428" actId="20577"/>
          <ac:spMkLst>
            <pc:docMk/>
            <pc:sldMk cId="1334307493" sldId="2147378717"/>
            <ac:spMk id="4" creationId="{4F1B8C31-A2AA-E8B5-6842-B8CA68666E37}"/>
          </ac:spMkLst>
        </pc:spChg>
        <pc:spChg chg="mod ord">
          <ac:chgData name="内山 裕弥" userId="8d34b9d0-ec49-418d-b1de-019cf6b56da5" providerId="ADAL" clId="{EE417D81-9D62-44B5-9A36-43CC1B66E142}" dt="2024-07-19T05:33:50.062" v="8566" actId="1076"/>
          <ac:spMkLst>
            <pc:docMk/>
            <pc:sldMk cId="1334307493" sldId="2147378717"/>
            <ac:spMk id="13" creationId="{ED88E5C2-1CEC-3507-1A41-A32A9F740D09}"/>
          </ac:spMkLst>
        </pc:spChg>
        <pc:graphicFrameChg chg="add del mod">
          <ac:chgData name="内山 裕弥" userId="8d34b9d0-ec49-418d-b1de-019cf6b56da5" providerId="ADAL" clId="{EE417D81-9D62-44B5-9A36-43CC1B66E142}" dt="2024-07-19T05:33:03.185" v="8397"/>
          <ac:graphicFrameMkLst>
            <pc:docMk/>
            <pc:sldMk cId="1334307493" sldId="2147378717"/>
            <ac:graphicFrameMk id="5" creationId="{98417A8D-9AEF-B2C3-0908-984CD11D52E5}"/>
          </ac:graphicFrameMkLst>
        </pc:graphicFrameChg>
        <pc:graphicFrameChg chg="add mod modGraphic">
          <ac:chgData name="内山 裕弥" userId="8d34b9d0-ec49-418d-b1de-019cf6b56da5" providerId="ADAL" clId="{EE417D81-9D62-44B5-9A36-43CC1B66E142}" dt="2024-07-19T05:33:47.518" v="8565" actId="207"/>
          <ac:graphicFrameMkLst>
            <pc:docMk/>
            <pc:sldMk cId="1334307493" sldId="2147378717"/>
            <ac:graphicFrameMk id="8" creationId="{1E5897B3-2F6F-760C-55F3-ADE995C99D64}"/>
          </ac:graphicFrameMkLst>
        </pc:graphicFrameChg>
        <pc:picChg chg="add del">
          <ac:chgData name="内山 裕弥" userId="8d34b9d0-ec49-418d-b1de-019cf6b56da5" providerId="ADAL" clId="{EE417D81-9D62-44B5-9A36-43CC1B66E142}" dt="2024-07-19T05:33:05.335" v="8399"/>
          <ac:picMkLst>
            <pc:docMk/>
            <pc:sldMk cId="1334307493" sldId="2147378717"/>
            <ac:picMk id="7" creationId="{E6DD9AB0-E0EE-D612-BC04-576794DAEFB8}"/>
          </ac:picMkLst>
        </pc:picChg>
        <pc:picChg chg="del">
          <ac:chgData name="内山 裕弥" userId="8d34b9d0-ec49-418d-b1de-019cf6b56da5" providerId="ADAL" clId="{EE417D81-9D62-44B5-9A36-43CC1B66E142}" dt="2024-07-19T05:33:00.803" v="8395" actId="478"/>
          <ac:picMkLst>
            <pc:docMk/>
            <pc:sldMk cId="1334307493" sldId="2147378717"/>
            <ac:picMk id="12" creationId="{920D49B5-780A-0B0E-081E-8188B35BACC6}"/>
          </ac:picMkLst>
        </pc:picChg>
      </pc:sldChg>
      <pc:sldChg chg="addSp delSp modSp add mod">
        <pc:chgData name="内山 裕弥" userId="8d34b9d0-ec49-418d-b1de-019cf6b56da5" providerId="ADAL" clId="{EE417D81-9D62-44B5-9A36-43CC1B66E142}" dt="2024-07-19T05:44:35.564" v="8793" actId="1076"/>
        <pc:sldMkLst>
          <pc:docMk/>
          <pc:sldMk cId="2574112575" sldId="2147378718"/>
        </pc:sldMkLst>
        <pc:spChg chg="mod">
          <ac:chgData name="内山 裕弥" userId="8d34b9d0-ec49-418d-b1de-019cf6b56da5" providerId="ADAL" clId="{EE417D81-9D62-44B5-9A36-43CC1B66E142}" dt="2024-07-19T05:40:34.675" v="8594"/>
          <ac:spMkLst>
            <pc:docMk/>
            <pc:sldMk cId="2574112575" sldId="2147378718"/>
            <ac:spMk id="4" creationId="{12C53150-040F-52DA-C62A-71223FB5EBC3}"/>
          </ac:spMkLst>
        </pc:spChg>
        <pc:spChg chg="mod">
          <ac:chgData name="内山 裕弥" userId="8d34b9d0-ec49-418d-b1de-019cf6b56da5" providerId="ADAL" clId="{EE417D81-9D62-44B5-9A36-43CC1B66E142}" dt="2024-07-19T05:44:35.564" v="8793" actId="1076"/>
          <ac:spMkLst>
            <pc:docMk/>
            <pc:sldMk cId="2574112575" sldId="2147378718"/>
            <ac:spMk id="7" creationId="{91D9460F-1390-32F5-1B0E-70693C6D1EFA}"/>
          </ac:spMkLst>
        </pc:spChg>
        <pc:graphicFrameChg chg="del">
          <ac:chgData name="内山 裕弥" userId="8d34b9d0-ec49-418d-b1de-019cf6b56da5" providerId="ADAL" clId="{EE417D81-9D62-44B5-9A36-43CC1B66E142}" dt="2024-07-19T05:40:39.926" v="8595" actId="478"/>
          <ac:graphicFrameMkLst>
            <pc:docMk/>
            <pc:sldMk cId="2574112575" sldId="2147378718"/>
            <ac:graphicFrameMk id="2" creationId="{160D2BC7-24B6-9403-A602-4F7ED4041F1F}"/>
          </ac:graphicFrameMkLst>
        </pc:graphicFrameChg>
        <pc:graphicFrameChg chg="add mod ord modGraphic">
          <ac:chgData name="内山 裕弥" userId="8d34b9d0-ec49-418d-b1de-019cf6b56da5" providerId="ADAL" clId="{EE417D81-9D62-44B5-9A36-43CC1B66E142}" dt="2024-07-19T05:41:39.056" v="8670" actId="207"/>
          <ac:graphicFrameMkLst>
            <pc:docMk/>
            <pc:sldMk cId="2574112575" sldId="2147378718"/>
            <ac:graphicFrameMk id="6" creationId="{D49F8818-13D5-031F-17C9-B075602B9F36}"/>
          </ac:graphicFrameMkLst>
        </pc:graphicFrameChg>
      </pc:sldChg>
      <pc:sldChg chg="addSp delSp modSp add mod">
        <pc:chgData name="内山 裕弥" userId="8d34b9d0-ec49-418d-b1de-019cf6b56da5" providerId="ADAL" clId="{EE417D81-9D62-44B5-9A36-43CC1B66E142}" dt="2024-07-19T11:11:50.763" v="9436" actId="20577"/>
        <pc:sldMkLst>
          <pc:docMk/>
          <pc:sldMk cId="2029142166" sldId="2147378719"/>
        </pc:sldMkLst>
        <pc:spChg chg="mod">
          <ac:chgData name="内山 裕弥" userId="8d34b9d0-ec49-418d-b1de-019cf6b56da5" providerId="ADAL" clId="{EE417D81-9D62-44B5-9A36-43CC1B66E142}" dt="2024-07-19T11:11:34.860" v="9409"/>
          <ac:spMkLst>
            <pc:docMk/>
            <pc:sldMk cId="2029142166" sldId="2147378719"/>
            <ac:spMk id="4" creationId="{DCD11E60-C345-0156-A89F-36AE8A4A9155}"/>
          </ac:spMkLst>
        </pc:spChg>
        <pc:spChg chg="del">
          <ac:chgData name="内山 裕弥" userId="8d34b9d0-ec49-418d-b1de-019cf6b56da5" providerId="ADAL" clId="{EE417D81-9D62-44B5-9A36-43CC1B66E142}" dt="2024-07-19T11:11:43.170" v="9411" actId="21"/>
          <ac:spMkLst>
            <pc:docMk/>
            <pc:sldMk cId="2029142166" sldId="2147378719"/>
            <ac:spMk id="6" creationId="{A8716A6B-6EAA-4A8E-9F4B-40B17BD58816}"/>
          </ac:spMkLst>
        </pc:spChg>
        <pc:spChg chg="add mod">
          <ac:chgData name="内山 裕弥" userId="8d34b9d0-ec49-418d-b1de-019cf6b56da5" providerId="ADAL" clId="{EE417D81-9D62-44B5-9A36-43CC1B66E142}" dt="2024-07-19T11:11:50.763" v="9436" actId="20577"/>
          <ac:spMkLst>
            <pc:docMk/>
            <pc:sldMk cId="2029142166" sldId="2147378719"/>
            <ac:spMk id="7" creationId="{788BF72B-2A40-D353-4A4A-032265572BA3}"/>
          </ac:spMkLst>
        </pc:spChg>
        <pc:graphicFrameChg chg="del">
          <ac:chgData name="内山 裕弥" userId="8d34b9d0-ec49-418d-b1de-019cf6b56da5" providerId="ADAL" clId="{EE417D81-9D62-44B5-9A36-43CC1B66E142}" dt="2024-07-19T11:11:40.318" v="9410" actId="21"/>
          <ac:graphicFrameMkLst>
            <pc:docMk/>
            <pc:sldMk cId="2029142166" sldId="2147378719"/>
            <ac:graphicFrameMk id="2" creationId="{C643ECC8-A3AC-933C-3E81-E0D6449A8658}"/>
          </ac:graphicFrameMkLst>
        </pc:graphicFrameChg>
      </pc:sldChg>
      <pc:sldChg chg="delSp new mod modClrScheme chgLayout">
        <pc:chgData name="内山 裕弥" userId="8d34b9d0-ec49-418d-b1de-019cf6b56da5" providerId="ADAL" clId="{EE417D81-9D62-44B5-9A36-43CC1B66E142}" dt="2024-07-19T11:12:04.522" v="9438" actId="700"/>
        <pc:sldMkLst>
          <pc:docMk/>
          <pc:sldMk cId="2471951817" sldId="2147378720"/>
        </pc:sldMkLst>
        <pc:spChg chg="del">
          <ac:chgData name="内山 裕弥" userId="8d34b9d0-ec49-418d-b1de-019cf6b56da5" providerId="ADAL" clId="{EE417D81-9D62-44B5-9A36-43CC1B66E142}" dt="2024-07-19T11:12:04.522" v="9438" actId="700"/>
          <ac:spMkLst>
            <pc:docMk/>
            <pc:sldMk cId="2471951817" sldId="2147378720"/>
            <ac:spMk id="2" creationId="{702C539A-A362-A7FB-DE15-85D097ED1087}"/>
          </ac:spMkLst>
        </pc:spChg>
        <pc:spChg chg="del">
          <ac:chgData name="内山 裕弥" userId="8d34b9d0-ec49-418d-b1de-019cf6b56da5" providerId="ADAL" clId="{EE417D81-9D62-44B5-9A36-43CC1B66E142}" dt="2024-07-19T11:12:04.522" v="9438" actId="700"/>
          <ac:spMkLst>
            <pc:docMk/>
            <pc:sldMk cId="2471951817" sldId="2147378720"/>
            <ac:spMk id="3" creationId="{3184CF29-4B0B-D5FC-0205-1D38FE6B56D2}"/>
          </ac:spMkLst>
        </pc:spChg>
        <pc:spChg chg="del">
          <ac:chgData name="内山 裕弥" userId="8d34b9d0-ec49-418d-b1de-019cf6b56da5" providerId="ADAL" clId="{EE417D81-9D62-44B5-9A36-43CC1B66E142}" dt="2024-07-19T11:12:04.522" v="9438" actId="700"/>
          <ac:spMkLst>
            <pc:docMk/>
            <pc:sldMk cId="2471951817" sldId="2147378720"/>
            <ac:spMk id="4" creationId="{18157C57-C3BB-9732-EE75-D803475E3F30}"/>
          </ac:spMkLst>
        </pc:spChg>
      </pc:sldChg>
      <pc:sldChg chg="addSp delSp modSp add mod">
        <pc:chgData name="内山 裕弥" userId="8d34b9d0-ec49-418d-b1de-019cf6b56da5" providerId="ADAL" clId="{EE417D81-9D62-44B5-9A36-43CC1B66E142}" dt="2024-07-19T11:14:09.836" v="9807" actId="1076"/>
        <pc:sldMkLst>
          <pc:docMk/>
          <pc:sldMk cId="1590769032" sldId="2147378721"/>
        </pc:sldMkLst>
        <pc:spChg chg="mod">
          <ac:chgData name="内山 裕弥" userId="8d34b9d0-ec49-418d-b1de-019cf6b56da5" providerId="ADAL" clId="{EE417D81-9D62-44B5-9A36-43CC1B66E142}" dt="2024-07-19T11:12:22.130" v="9453" actId="20577"/>
          <ac:spMkLst>
            <pc:docMk/>
            <pc:sldMk cId="1590769032" sldId="2147378721"/>
            <ac:spMk id="4" creationId="{DCD11E60-C345-0156-A89F-36AE8A4A9155}"/>
          </ac:spMkLst>
        </pc:spChg>
        <pc:spChg chg="del">
          <ac:chgData name="内山 裕弥" userId="8d34b9d0-ec49-418d-b1de-019cf6b56da5" providerId="ADAL" clId="{EE417D81-9D62-44B5-9A36-43CC1B66E142}" dt="2024-07-19T11:12:26.937" v="9454" actId="478"/>
          <ac:spMkLst>
            <pc:docMk/>
            <pc:sldMk cId="1590769032" sldId="2147378721"/>
            <ac:spMk id="6" creationId="{A8716A6B-6EAA-4A8E-9F4B-40B17BD58816}"/>
          </ac:spMkLst>
        </pc:spChg>
        <pc:spChg chg="add mod">
          <ac:chgData name="内山 裕弥" userId="8d34b9d0-ec49-418d-b1de-019cf6b56da5" providerId="ADAL" clId="{EE417D81-9D62-44B5-9A36-43CC1B66E142}" dt="2024-07-19T11:14:09.836" v="9807" actId="1076"/>
          <ac:spMkLst>
            <pc:docMk/>
            <pc:sldMk cId="1590769032" sldId="2147378721"/>
            <ac:spMk id="8" creationId="{1F7B5859-1E66-F963-5C70-1C8AFDBB7C58}"/>
          </ac:spMkLst>
        </pc:spChg>
        <pc:graphicFrameChg chg="del">
          <ac:chgData name="内山 裕弥" userId="8d34b9d0-ec49-418d-b1de-019cf6b56da5" providerId="ADAL" clId="{EE417D81-9D62-44B5-9A36-43CC1B66E142}" dt="2024-07-19T11:12:31.713" v="9455" actId="478"/>
          <ac:graphicFrameMkLst>
            <pc:docMk/>
            <pc:sldMk cId="1590769032" sldId="2147378721"/>
            <ac:graphicFrameMk id="2" creationId="{C643ECC8-A3AC-933C-3E81-E0D6449A8658}"/>
          </ac:graphicFrameMkLst>
        </pc:graphicFrameChg>
        <pc:graphicFrameChg chg="add mod modGraphic">
          <ac:chgData name="内山 裕弥" userId="8d34b9d0-ec49-418d-b1de-019cf6b56da5" providerId="ADAL" clId="{EE417D81-9D62-44B5-9A36-43CC1B66E142}" dt="2024-07-19T11:12:44.958" v="9459" actId="207"/>
          <ac:graphicFrameMkLst>
            <pc:docMk/>
            <pc:sldMk cId="1590769032" sldId="2147378721"/>
            <ac:graphicFrameMk id="7" creationId="{D27285E1-CFEC-7133-4B2F-3A60A9DA58C6}"/>
          </ac:graphicFrameMkLst>
        </pc:graphicFrameChg>
      </pc:sldChg>
      <pc:sldMasterChg chg="del delSldLayout">
        <pc:chgData name="内山 裕弥" userId="8d34b9d0-ec49-418d-b1de-019cf6b56da5" providerId="ADAL" clId="{EE417D81-9D62-44B5-9A36-43CC1B66E142}" dt="2024-07-19T04:05:44.908" v="218" actId="2696"/>
        <pc:sldMasterMkLst>
          <pc:docMk/>
          <pc:sldMasterMk cId="2378666199" sldId="2147483681"/>
        </pc:sldMasterMkLst>
        <pc:sldLayoutChg chg="del">
          <pc:chgData name="内山 裕弥" userId="8d34b9d0-ec49-418d-b1de-019cf6b56da5" providerId="ADAL" clId="{EE417D81-9D62-44B5-9A36-43CC1B66E142}" dt="2024-07-19T04:05:44.895" v="213" actId="2696"/>
          <pc:sldLayoutMkLst>
            <pc:docMk/>
            <pc:sldMasterMk cId="2378666199" sldId="2147483681"/>
            <pc:sldLayoutMk cId="2901919220" sldId="2147483682"/>
          </pc:sldLayoutMkLst>
        </pc:sldLayoutChg>
        <pc:sldLayoutChg chg="del">
          <pc:chgData name="内山 裕弥" userId="8d34b9d0-ec49-418d-b1de-019cf6b56da5" providerId="ADAL" clId="{EE417D81-9D62-44B5-9A36-43CC1B66E142}" dt="2024-07-19T04:05:44.898" v="214" actId="2696"/>
          <pc:sldLayoutMkLst>
            <pc:docMk/>
            <pc:sldMasterMk cId="2378666199" sldId="2147483681"/>
            <pc:sldLayoutMk cId="67245665" sldId="2147483684"/>
          </pc:sldLayoutMkLst>
        </pc:sldLayoutChg>
        <pc:sldLayoutChg chg="del">
          <pc:chgData name="内山 裕弥" userId="8d34b9d0-ec49-418d-b1de-019cf6b56da5" providerId="ADAL" clId="{EE417D81-9D62-44B5-9A36-43CC1B66E142}" dt="2024-07-19T04:05:44.902" v="215" actId="2696"/>
          <pc:sldLayoutMkLst>
            <pc:docMk/>
            <pc:sldMasterMk cId="2378666199" sldId="2147483681"/>
            <pc:sldLayoutMk cId="162629755" sldId="2147483693"/>
          </pc:sldLayoutMkLst>
        </pc:sldLayoutChg>
        <pc:sldLayoutChg chg="del">
          <pc:chgData name="内山 裕弥" userId="8d34b9d0-ec49-418d-b1de-019cf6b56da5" providerId="ADAL" clId="{EE417D81-9D62-44B5-9A36-43CC1B66E142}" dt="2024-07-19T04:05:44.904" v="216" actId="2696"/>
          <pc:sldLayoutMkLst>
            <pc:docMk/>
            <pc:sldMasterMk cId="2378666199" sldId="2147483681"/>
            <pc:sldLayoutMk cId="2964629554" sldId="2147483788"/>
          </pc:sldLayoutMkLst>
        </pc:sldLayoutChg>
        <pc:sldLayoutChg chg="del">
          <pc:chgData name="内山 裕弥" userId="8d34b9d0-ec49-418d-b1de-019cf6b56da5" providerId="ADAL" clId="{EE417D81-9D62-44B5-9A36-43CC1B66E142}" dt="2024-07-19T04:05:44.906" v="217" actId="2696"/>
          <pc:sldLayoutMkLst>
            <pc:docMk/>
            <pc:sldMasterMk cId="2378666199" sldId="2147483681"/>
            <pc:sldLayoutMk cId="3424219500" sldId="2147483789"/>
          </pc:sldLayoutMkLst>
        </pc:sldLayoutChg>
      </pc:sldMasterChg>
      <pc:sldMasterChg chg="del delSldLayout">
        <pc:chgData name="内山 裕弥" userId="8d34b9d0-ec49-418d-b1de-019cf6b56da5" providerId="ADAL" clId="{EE417D81-9D62-44B5-9A36-43CC1B66E142}" dt="2024-07-19T04:05:45.881" v="220" actId="2696"/>
        <pc:sldMasterMkLst>
          <pc:docMk/>
          <pc:sldMasterMk cId="1409019568" sldId="2147483714"/>
        </pc:sldMasterMkLst>
        <pc:sldLayoutChg chg="del">
          <pc:chgData name="内山 裕弥" userId="8d34b9d0-ec49-418d-b1de-019cf6b56da5" providerId="ADAL" clId="{EE417D81-9D62-44B5-9A36-43CC1B66E142}" dt="2024-07-19T04:05:45.879" v="219" actId="2696"/>
          <pc:sldLayoutMkLst>
            <pc:docMk/>
            <pc:sldMasterMk cId="1409019568" sldId="2147483714"/>
            <pc:sldLayoutMk cId="1045914008" sldId="2147483809"/>
          </pc:sldLayoutMkLst>
        </pc:sldLayoutChg>
      </pc:sldMasterChg>
      <pc:sldMasterChg chg="del delSldLayout">
        <pc:chgData name="内山 裕弥" userId="8d34b9d0-ec49-418d-b1de-019cf6b56da5" providerId="ADAL" clId="{EE417D81-9D62-44B5-9A36-43CC1B66E142}" dt="2024-07-19T04:05:46.922" v="222" actId="2696"/>
        <pc:sldMasterMkLst>
          <pc:docMk/>
          <pc:sldMasterMk cId="3804727514" sldId="2147483716"/>
        </pc:sldMasterMkLst>
        <pc:sldLayoutChg chg="del">
          <pc:chgData name="内山 裕弥" userId="8d34b9d0-ec49-418d-b1de-019cf6b56da5" providerId="ADAL" clId="{EE417D81-9D62-44B5-9A36-43CC1B66E142}" dt="2024-07-19T04:05:46.918" v="221" actId="2696"/>
          <pc:sldLayoutMkLst>
            <pc:docMk/>
            <pc:sldMasterMk cId="3804727514" sldId="2147483716"/>
            <pc:sldLayoutMk cId="1087610556" sldId="2147483717"/>
          </pc:sldLayoutMkLst>
        </pc:sldLayoutChg>
      </pc:sldMasterChg>
      <pc:sldMasterChg chg="del delSldLayout">
        <pc:chgData name="内山 裕弥" userId="8d34b9d0-ec49-418d-b1de-019cf6b56da5" providerId="ADAL" clId="{EE417D81-9D62-44B5-9A36-43CC1B66E142}" dt="2024-07-19T04:05:43.774" v="212" actId="2696"/>
        <pc:sldMasterMkLst>
          <pc:docMk/>
          <pc:sldMasterMk cId="3265404265" sldId="2147483745"/>
        </pc:sldMasterMkLst>
        <pc:sldLayoutChg chg="del">
          <pc:chgData name="内山 裕弥" userId="8d34b9d0-ec49-418d-b1de-019cf6b56da5" providerId="ADAL" clId="{EE417D81-9D62-44B5-9A36-43CC1B66E142}" dt="2024-07-19T04:05:43.746" v="203" actId="2696"/>
          <pc:sldLayoutMkLst>
            <pc:docMk/>
            <pc:sldMasterMk cId="3265404265" sldId="2147483745"/>
            <pc:sldLayoutMk cId="3114736461" sldId="2147483746"/>
          </pc:sldLayoutMkLst>
        </pc:sldLayoutChg>
        <pc:sldLayoutChg chg="del">
          <pc:chgData name="内山 裕弥" userId="8d34b9d0-ec49-418d-b1de-019cf6b56da5" providerId="ADAL" clId="{EE417D81-9D62-44B5-9A36-43CC1B66E142}" dt="2024-07-19T04:05:43.749" v="204" actId="2696"/>
          <pc:sldLayoutMkLst>
            <pc:docMk/>
            <pc:sldMasterMk cId="3265404265" sldId="2147483745"/>
            <pc:sldLayoutMk cId="2509301793" sldId="2147483747"/>
          </pc:sldLayoutMkLst>
        </pc:sldLayoutChg>
        <pc:sldLayoutChg chg="del">
          <pc:chgData name="内山 裕弥" userId="8d34b9d0-ec49-418d-b1de-019cf6b56da5" providerId="ADAL" clId="{EE417D81-9D62-44B5-9A36-43CC1B66E142}" dt="2024-07-19T04:05:43.751" v="205" actId="2696"/>
          <pc:sldLayoutMkLst>
            <pc:docMk/>
            <pc:sldMasterMk cId="3265404265" sldId="2147483745"/>
            <pc:sldLayoutMk cId="3632430116" sldId="2147483748"/>
          </pc:sldLayoutMkLst>
        </pc:sldLayoutChg>
        <pc:sldLayoutChg chg="del">
          <pc:chgData name="内山 裕弥" userId="8d34b9d0-ec49-418d-b1de-019cf6b56da5" providerId="ADAL" clId="{EE417D81-9D62-44B5-9A36-43CC1B66E142}" dt="2024-07-19T04:05:43.754" v="206" actId="2696"/>
          <pc:sldLayoutMkLst>
            <pc:docMk/>
            <pc:sldMasterMk cId="3265404265" sldId="2147483745"/>
            <pc:sldLayoutMk cId="2384322098" sldId="2147483749"/>
          </pc:sldLayoutMkLst>
        </pc:sldLayoutChg>
        <pc:sldLayoutChg chg="del">
          <pc:chgData name="内山 裕弥" userId="8d34b9d0-ec49-418d-b1de-019cf6b56da5" providerId="ADAL" clId="{EE417D81-9D62-44B5-9A36-43CC1B66E142}" dt="2024-07-19T04:05:43.756" v="207" actId="2696"/>
          <pc:sldLayoutMkLst>
            <pc:docMk/>
            <pc:sldMasterMk cId="3265404265" sldId="2147483745"/>
            <pc:sldLayoutMk cId="4002526101" sldId="2147483750"/>
          </pc:sldLayoutMkLst>
        </pc:sldLayoutChg>
        <pc:sldLayoutChg chg="del">
          <pc:chgData name="内山 裕弥" userId="8d34b9d0-ec49-418d-b1de-019cf6b56da5" providerId="ADAL" clId="{EE417D81-9D62-44B5-9A36-43CC1B66E142}" dt="2024-07-19T04:05:43.759" v="208" actId="2696"/>
          <pc:sldLayoutMkLst>
            <pc:docMk/>
            <pc:sldMasterMk cId="3265404265" sldId="2147483745"/>
            <pc:sldLayoutMk cId="1348462619" sldId="2147483751"/>
          </pc:sldLayoutMkLst>
        </pc:sldLayoutChg>
        <pc:sldLayoutChg chg="del">
          <pc:chgData name="内山 裕弥" userId="8d34b9d0-ec49-418d-b1de-019cf6b56da5" providerId="ADAL" clId="{EE417D81-9D62-44B5-9A36-43CC1B66E142}" dt="2024-07-19T04:05:43.762" v="209" actId="2696"/>
          <pc:sldLayoutMkLst>
            <pc:docMk/>
            <pc:sldMasterMk cId="3265404265" sldId="2147483745"/>
            <pc:sldLayoutMk cId="73333963" sldId="2147483752"/>
          </pc:sldLayoutMkLst>
        </pc:sldLayoutChg>
        <pc:sldLayoutChg chg="del">
          <pc:chgData name="内山 裕弥" userId="8d34b9d0-ec49-418d-b1de-019cf6b56da5" providerId="ADAL" clId="{EE417D81-9D62-44B5-9A36-43CC1B66E142}" dt="2024-07-19T04:05:43.764" v="210" actId="2696"/>
          <pc:sldLayoutMkLst>
            <pc:docMk/>
            <pc:sldMasterMk cId="3265404265" sldId="2147483745"/>
            <pc:sldLayoutMk cId="1450092248" sldId="2147483753"/>
          </pc:sldLayoutMkLst>
        </pc:sldLayoutChg>
        <pc:sldLayoutChg chg="del">
          <pc:chgData name="内山 裕弥" userId="8d34b9d0-ec49-418d-b1de-019cf6b56da5" providerId="ADAL" clId="{EE417D81-9D62-44B5-9A36-43CC1B66E142}" dt="2024-07-19T04:05:43.766" v="211" actId="2696"/>
          <pc:sldLayoutMkLst>
            <pc:docMk/>
            <pc:sldMasterMk cId="3265404265" sldId="2147483745"/>
            <pc:sldLayoutMk cId="510017649" sldId="2147483754"/>
          </pc:sldLayoutMkLst>
        </pc:sldLayoutChg>
      </pc:sldMasterChg>
      <pc:sldMasterChg chg="addSp delSp modSp mod delSldLayout modSldLayout">
        <pc:chgData name="内山 裕弥" userId="8d34b9d0-ec49-418d-b1de-019cf6b56da5" providerId="ADAL" clId="{EE417D81-9D62-44B5-9A36-43CC1B66E142}" dt="2024-07-19T04:06:03.151" v="253" actId="2696"/>
        <pc:sldMasterMkLst>
          <pc:docMk/>
          <pc:sldMasterMk cId="2162003807" sldId="2147483755"/>
        </pc:sldMasterMkLst>
        <pc:spChg chg="add mod">
          <ac:chgData name="内山 裕弥" userId="8d34b9d0-ec49-418d-b1de-019cf6b56da5" providerId="ADAL" clId="{EE417D81-9D62-44B5-9A36-43CC1B66E142}" dt="2024-07-19T04:05:09.404" v="143"/>
          <ac:spMkLst>
            <pc:docMk/>
            <pc:sldMasterMk cId="2162003807" sldId="2147483755"/>
            <ac:spMk id="3" creationId="{87D0FF6D-A520-87F6-851A-32670B6B9442}"/>
          </ac:spMkLst>
        </pc:spChg>
        <pc:spChg chg="del mod">
          <ac:chgData name="内山 裕弥" userId="8d34b9d0-ec49-418d-b1de-019cf6b56da5" providerId="ADAL" clId="{EE417D81-9D62-44B5-9A36-43CC1B66E142}" dt="2024-07-19T04:05:10.604" v="144" actId="21"/>
          <ac:spMkLst>
            <pc:docMk/>
            <pc:sldMasterMk cId="2162003807" sldId="2147483755"/>
            <ac:spMk id="6" creationId="{75B2146D-AFCA-47AF-9929-EFD6AF8CE1A0}"/>
          </ac:spMkLst>
        </pc:spChg>
        <pc:picChg chg="add mod">
          <ac:chgData name="内山 裕弥" userId="8d34b9d0-ec49-418d-b1de-019cf6b56da5" providerId="ADAL" clId="{EE417D81-9D62-44B5-9A36-43CC1B66E142}" dt="2024-07-19T04:05:09.404" v="143"/>
          <ac:picMkLst>
            <pc:docMk/>
            <pc:sldMasterMk cId="2162003807" sldId="2147483755"/>
            <ac:picMk id="4" creationId="{C12C3DD6-97B4-BE5F-B436-9C7F3023ECB5}"/>
          </ac:picMkLst>
        </pc:picChg>
        <pc:sldLayoutChg chg="addSp modSp mod">
          <pc:chgData name="内山 裕弥" userId="8d34b9d0-ec49-418d-b1de-019cf6b56da5" providerId="ADAL" clId="{EE417D81-9D62-44B5-9A36-43CC1B66E142}" dt="2024-07-19T04:05:55.302" v="251"/>
          <pc:sldLayoutMkLst>
            <pc:docMk/>
            <pc:sldMasterMk cId="2162003807" sldId="2147483755"/>
            <pc:sldLayoutMk cId="291536866" sldId="2147483756"/>
          </pc:sldLayoutMkLst>
          <pc:spChg chg="add mod">
            <ac:chgData name="内山 裕弥" userId="8d34b9d0-ec49-418d-b1de-019cf6b56da5" providerId="ADAL" clId="{EE417D81-9D62-44B5-9A36-43CC1B66E142}" dt="2024-07-19T04:05:55.302" v="251"/>
            <ac:spMkLst>
              <pc:docMk/>
              <pc:sldMasterMk cId="2162003807" sldId="2147483755"/>
              <pc:sldLayoutMk cId="291536866" sldId="2147483756"/>
              <ac:spMk id="2" creationId="{A3FB6309-E751-E5DF-C7C2-D7D80856905C}"/>
            </ac:spMkLst>
          </pc:spChg>
          <pc:spChg chg="mod">
            <ac:chgData name="内山 裕弥" userId="8d34b9d0-ec49-418d-b1de-019cf6b56da5" providerId="ADAL" clId="{EE417D81-9D62-44B5-9A36-43CC1B66E142}" dt="2024-07-19T04:05:33.349" v="202" actId="20577"/>
            <ac:spMkLst>
              <pc:docMk/>
              <pc:sldMasterMk cId="2162003807" sldId="2147483755"/>
              <pc:sldLayoutMk cId="291536866" sldId="2147483756"/>
              <ac:spMk id="24" creationId="{00000000-0000-0000-0000-000000000000}"/>
            </ac:spMkLst>
          </pc:spChg>
          <pc:picChg chg="add mod">
            <ac:chgData name="内山 裕弥" userId="8d34b9d0-ec49-418d-b1de-019cf6b56da5" providerId="ADAL" clId="{EE417D81-9D62-44B5-9A36-43CC1B66E142}" dt="2024-07-19T04:05:55.302" v="251"/>
            <ac:picMkLst>
              <pc:docMk/>
              <pc:sldMasterMk cId="2162003807" sldId="2147483755"/>
              <pc:sldLayoutMk cId="291536866" sldId="2147483756"/>
              <ac:picMk id="3" creationId="{98005F8C-E287-4376-1BEE-6B296973F659}"/>
            </ac:picMkLst>
          </pc:picChg>
        </pc:sldLayoutChg>
        <pc:sldLayoutChg chg="del">
          <pc:chgData name="内山 裕弥" userId="8d34b9d0-ec49-418d-b1de-019cf6b56da5" providerId="ADAL" clId="{EE417D81-9D62-44B5-9A36-43CC1B66E142}" dt="2024-07-19T04:06:02.641" v="252" actId="2696"/>
          <pc:sldLayoutMkLst>
            <pc:docMk/>
            <pc:sldMasterMk cId="2162003807" sldId="2147483755"/>
            <pc:sldLayoutMk cId="4158934519" sldId="2147483757"/>
          </pc:sldLayoutMkLst>
        </pc:sldLayoutChg>
        <pc:sldLayoutChg chg="del">
          <pc:chgData name="内山 裕弥" userId="8d34b9d0-ec49-418d-b1de-019cf6b56da5" providerId="ADAL" clId="{EE417D81-9D62-44B5-9A36-43CC1B66E142}" dt="2024-07-19T04:06:03.151" v="253" actId="2696"/>
          <pc:sldLayoutMkLst>
            <pc:docMk/>
            <pc:sldMasterMk cId="2162003807" sldId="2147483755"/>
            <pc:sldLayoutMk cId="3286202414" sldId="2147483758"/>
          </pc:sldLayoutMkLst>
        </pc:sldLayoutChg>
      </pc:sldMasterChg>
      <pc:sldMasterChg chg="del delSldLayout">
        <pc:chgData name="内山 裕弥" userId="8d34b9d0-ec49-418d-b1de-019cf6b56da5" providerId="ADAL" clId="{EE417D81-9D62-44B5-9A36-43CC1B66E142}" dt="2024-07-19T04:05:49.793" v="236" actId="2696"/>
        <pc:sldMasterMkLst>
          <pc:docMk/>
          <pc:sldMasterMk cId="1657818025" sldId="2147483774"/>
        </pc:sldMasterMkLst>
        <pc:sldLayoutChg chg="del">
          <pc:chgData name="内山 裕弥" userId="8d34b9d0-ec49-418d-b1de-019cf6b56da5" providerId="ADAL" clId="{EE417D81-9D62-44B5-9A36-43CC1B66E142}" dt="2024-07-19T04:05:49.751" v="223" actId="2696"/>
          <pc:sldLayoutMkLst>
            <pc:docMk/>
            <pc:sldMasterMk cId="1657818025" sldId="2147483774"/>
            <pc:sldLayoutMk cId="2298188456" sldId="2147483775"/>
          </pc:sldLayoutMkLst>
        </pc:sldLayoutChg>
        <pc:sldLayoutChg chg="del">
          <pc:chgData name="内山 裕弥" userId="8d34b9d0-ec49-418d-b1de-019cf6b56da5" providerId="ADAL" clId="{EE417D81-9D62-44B5-9A36-43CC1B66E142}" dt="2024-07-19T04:05:49.754" v="224" actId="2696"/>
          <pc:sldLayoutMkLst>
            <pc:docMk/>
            <pc:sldMasterMk cId="1657818025" sldId="2147483774"/>
            <pc:sldLayoutMk cId="4292109827" sldId="2147483776"/>
          </pc:sldLayoutMkLst>
        </pc:sldLayoutChg>
        <pc:sldLayoutChg chg="del">
          <pc:chgData name="内山 裕弥" userId="8d34b9d0-ec49-418d-b1de-019cf6b56da5" providerId="ADAL" clId="{EE417D81-9D62-44B5-9A36-43CC1B66E142}" dt="2024-07-19T04:05:49.758" v="225" actId="2696"/>
          <pc:sldLayoutMkLst>
            <pc:docMk/>
            <pc:sldMasterMk cId="1657818025" sldId="2147483774"/>
            <pc:sldLayoutMk cId="2936517992" sldId="2147483777"/>
          </pc:sldLayoutMkLst>
        </pc:sldLayoutChg>
        <pc:sldLayoutChg chg="del">
          <pc:chgData name="内山 裕弥" userId="8d34b9d0-ec49-418d-b1de-019cf6b56da5" providerId="ADAL" clId="{EE417D81-9D62-44B5-9A36-43CC1B66E142}" dt="2024-07-19T04:05:49.761" v="226" actId="2696"/>
          <pc:sldLayoutMkLst>
            <pc:docMk/>
            <pc:sldMasterMk cId="1657818025" sldId="2147483774"/>
            <pc:sldLayoutMk cId="137738386" sldId="2147483778"/>
          </pc:sldLayoutMkLst>
        </pc:sldLayoutChg>
        <pc:sldLayoutChg chg="del">
          <pc:chgData name="内山 裕弥" userId="8d34b9d0-ec49-418d-b1de-019cf6b56da5" providerId="ADAL" clId="{EE417D81-9D62-44B5-9A36-43CC1B66E142}" dt="2024-07-19T04:05:49.764" v="227" actId="2696"/>
          <pc:sldLayoutMkLst>
            <pc:docMk/>
            <pc:sldMasterMk cId="1657818025" sldId="2147483774"/>
            <pc:sldLayoutMk cId="585607159" sldId="2147483779"/>
          </pc:sldLayoutMkLst>
        </pc:sldLayoutChg>
        <pc:sldLayoutChg chg="del">
          <pc:chgData name="内山 裕弥" userId="8d34b9d0-ec49-418d-b1de-019cf6b56da5" providerId="ADAL" clId="{EE417D81-9D62-44B5-9A36-43CC1B66E142}" dt="2024-07-19T04:05:49.766" v="228" actId="2696"/>
          <pc:sldLayoutMkLst>
            <pc:docMk/>
            <pc:sldMasterMk cId="1657818025" sldId="2147483774"/>
            <pc:sldLayoutMk cId="3827882261" sldId="2147483780"/>
          </pc:sldLayoutMkLst>
        </pc:sldLayoutChg>
        <pc:sldLayoutChg chg="del">
          <pc:chgData name="内山 裕弥" userId="8d34b9d0-ec49-418d-b1de-019cf6b56da5" providerId="ADAL" clId="{EE417D81-9D62-44B5-9A36-43CC1B66E142}" dt="2024-07-19T04:05:49.768" v="229" actId="2696"/>
          <pc:sldLayoutMkLst>
            <pc:docMk/>
            <pc:sldMasterMk cId="1657818025" sldId="2147483774"/>
            <pc:sldLayoutMk cId="2819582620" sldId="2147483781"/>
          </pc:sldLayoutMkLst>
        </pc:sldLayoutChg>
        <pc:sldLayoutChg chg="del">
          <pc:chgData name="内山 裕弥" userId="8d34b9d0-ec49-418d-b1de-019cf6b56da5" providerId="ADAL" clId="{EE417D81-9D62-44B5-9A36-43CC1B66E142}" dt="2024-07-19T04:05:49.772" v="230" actId="2696"/>
          <pc:sldLayoutMkLst>
            <pc:docMk/>
            <pc:sldMasterMk cId="1657818025" sldId="2147483774"/>
            <pc:sldLayoutMk cId="2698601596" sldId="2147483782"/>
          </pc:sldLayoutMkLst>
        </pc:sldLayoutChg>
        <pc:sldLayoutChg chg="del">
          <pc:chgData name="内山 裕弥" userId="8d34b9d0-ec49-418d-b1de-019cf6b56da5" providerId="ADAL" clId="{EE417D81-9D62-44B5-9A36-43CC1B66E142}" dt="2024-07-19T04:05:49.774" v="231" actId="2696"/>
          <pc:sldLayoutMkLst>
            <pc:docMk/>
            <pc:sldMasterMk cId="1657818025" sldId="2147483774"/>
            <pc:sldLayoutMk cId="2235022082" sldId="2147483783"/>
          </pc:sldLayoutMkLst>
        </pc:sldLayoutChg>
        <pc:sldLayoutChg chg="del">
          <pc:chgData name="内山 裕弥" userId="8d34b9d0-ec49-418d-b1de-019cf6b56da5" providerId="ADAL" clId="{EE417D81-9D62-44B5-9A36-43CC1B66E142}" dt="2024-07-19T04:05:49.777" v="232" actId="2696"/>
          <pc:sldLayoutMkLst>
            <pc:docMk/>
            <pc:sldMasterMk cId="1657818025" sldId="2147483774"/>
            <pc:sldLayoutMk cId="3948903752" sldId="2147483784"/>
          </pc:sldLayoutMkLst>
        </pc:sldLayoutChg>
        <pc:sldLayoutChg chg="del">
          <pc:chgData name="内山 裕弥" userId="8d34b9d0-ec49-418d-b1de-019cf6b56da5" providerId="ADAL" clId="{EE417D81-9D62-44B5-9A36-43CC1B66E142}" dt="2024-07-19T04:05:49.780" v="233" actId="2696"/>
          <pc:sldLayoutMkLst>
            <pc:docMk/>
            <pc:sldMasterMk cId="1657818025" sldId="2147483774"/>
            <pc:sldLayoutMk cId="3370459686" sldId="2147483785"/>
          </pc:sldLayoutMkLst>
        </pc:sldLayoutChg>
        <pc:sldLayoutChg chg="del">
          <pc:chgData name="内山 裕弥" userId="8d34b9d0-ec49-418d-b1de-019cf6b56da5" providerId="ADAL" clId="{EE417D81-9D62-44B5-9A36-43CC1B66E142}" dt="2024-07-19T04:05:49.782" v="234" actId="2696"/>
          <pc:sldLayoutMkLst>
            <pc:docMk/>
            <pc:sldMasterMk cId="1657818025" sldId="2147483774"/>
            <pc:sldLayoutMk cId="1988775701" sldId="2147483786"/>
          </pc:sldLayoutMkLst>
        </pc:sldLayoutChg>
        <pc:sldLayoutChg chg="del">
          <pc:chgData name="内山 裕弥" userId="8d34b9d0-ec49-418d-b1de-019cf6b56da5" providerId="ADAL" clId="{EE417D81-9D62-44B5-9A36-43CC1B66E142}" dt="2024-07-19T04:05:49.785" v="235" actId="2696"/>
          <pc:sldLayoutMkLst>
            <pc:docMk/>
            <pc:sldMasterMk cId="1657818025" sldId="2147483774"/>
            <pc:sldLayoutMk cId="2881629326" sldId="2147483787"/>
          </pc:sldLayoutMkLst>
        </pc:sldLayoutChg>
      </pc:sldMasterChg>
      <pc:sldMasterChg chg="del delSldLayout">
        <pc:chgData name="内山 裕弥" userId="8d34b9d0-ec49-418d-b1de-019cf6b56da5" providerId="ADAL" clId="{EE417D81-9D62-44B5-9A36-43CC1B66E142}" dt="2024-07-19T04:05:50.793" v="250" actId="2696"/>
        <pc:sldMasterMkLst>
          <pc:docMk/>
          <pc:sldMasterMk cId="1323487226" sldId="2147483794"/>
        </pc:sldMasterMkLst>
        <pc:sldLayoutChg chg="del">
          <pc:chgData name="内山 裕弥" userId="8d34b9d0-ec49-418d-b1de-019cf6b56da5" providerId="ADAL" clId="{EE417D81-9D62-44B5-9A36-43CC1B66E142}" dt="2024-07-19T04:05:50.729" v="237" actId="2696"/>
          <pc:sldLayoutMkLst>
            <pc:docMk/>
            <pc:sldMasterMk cId="1323487226" sldId="2147483794"/>
            <pc:sldLayoutMk cId="3198547896" sldId="2147483795"/>
          </pc:sldLayoutMkLst>
        </pc:sldLayoutChg>
        <pc:sldLayoutChg chg="del">
          <pc:chgData name="内山 裕弥" userId="8d34b9d0-ec49-418d-b1de-019cf6b56da5" providerId="ADAL" clId="{EE417D81-9D62-44B5-9A36-43CC1B66E142}" dt="2024-07-19T04:05:50.732" v="238" actId="2696"/>
          <pc:sldLayoutMkLst>
            <pc:docMk/>
            <pc:sldMasterMk cId="1323487226" sldId="2147483794"/>
            <pc:sldLayoutMk cId="4201963330" sldId="2147483796"/>
          </pc:sldLayoutMkLst>
        </pc:sldLayoutChg>
        <pc:sldLayoutChg chg="del">
          <pc:chgData name="内山 裕弥" userId="8d34b9d0-ec49-418d-b1de-019cf6b56da5" providerId="ADAL" clId="{EE417D81-9D62-44B5-9A36-43CC1B66E142}" dt="2024-07-19T04:05:50.736" v="239" actId="2696"/>
          <pc:sldLayoutMkLst>
            <pc:docMk/>
            <pc:sldMasterMk cId="1323487226" sldId="2147483794"/>
            <pc:sldLayoutMk cId="3747134652" sldId="2147483797"/>
          </pc:sldLayoutMkLst>
        </pc:sldLayoutChg>
        <pc:sldLayoutChg chg="del">
          <pc:chgData name="内山 裕弥" userId="8d34b9d0-ec49-418d-b1de-019cf6b56da5" providerId="ADAL" clId="{EE417D81-9D62-44B5-9A36-43CC1B66E142}" dt="2024-07-19T04:05:50.765" v="240" actId="2696"/>
          <pc:sldLayoutMkLst>
            <pc:docMk/>
            <pc:sldMasterMk cId="1323487226" sldId="2147483794"/>
            <pc:sldLayoutMk cId="2373699153" sldId="2147483798"/>
          </pc:sldLayoutMkLst>
        </pc:sldLayoutChg>
        <pc:sldLayoutChg chg="del">
          <pc:chgData name="内山 裕弥" userId="8d34b9d0-ec49-418d-b1de-019cf6b56da5" providerId="ADAL" clId="{EE417D81-9D62-44B5-9A36-43CC1B66E142}" dt="2024-07-19T04:05:50.770" v="241" actId="2696"/>
          <pc:sldLayoutMkLst>
            <pc:docMk/>
            <pc:sldMasterMk cId="1323487226" sldId="2147483794"/>
            <pc:sldLayoutMk cId="3924135083" sldId="2147483799"/>
          </pc:sldLayoutMkLst>
        </pc:sldLayoutChg>
        <pc:sldLayoutChg chg="del">
          <pc:chgData name="内山 裕弥" userId="8d34b9d0-ec49-418d-b1de-019cf6b56da5" providerId="ADAL" clId="{EE417D81-9D62-44B5-9A36-43CC1B66E142}" dt="2024-07-19T04:05:50.772" v="242" actId="2696"/>
          <pc:sldLayoutMkLst>
            <pc:docMk/>
            <pc:sldMasterMk cId="1323487226" sldId="2147483794"/>
            <pc:sldLayoutMk cId="2821489798" sldId="2147483800"/>
          </pc:sldLayoutMkLst>
        </pc:sldLayoutChg>
        <pc:sldLayoutChg chg="del">
          <pc:chgData name="内山 裕弥" userId="8d34b9d0-ec49-418d-b1de-019cf6b56da5" providerId="ADAL" clId="{EE417D81-9D62-44B5-9A36-43CC1B66E142}" dt="2024-07-19T04:05:50.774" v="243" actId="2696"/>
          <pc:sldLayoutMkLst>
            <pc:docMk/>
            <pc:sldMasterMk cId="1323487226" sldId="2147483794"/>
            <pc:sldLayoutMk cId="1854283866" sldId="2147483801"/>
          </pc:sldLayoutMkLst>
        </pc:sldLayoutChg>
        <pc:sldLayoutChg chg="del">
          <pc:chgData name="内山 裕弥" userId="8d34b9d0-ec49-418d-b1de-019cf6b56da5" providerId="ADAL" clId="{EE417D81-9D62-44B5-9A36-43CC1B66E142}" dt="2024-07-19T04:05:50.777" v="244" actId="2696"/>
          <pc:sldLayoutMkLst>
            <pc:docMk/>
            <pc:sldMasterMk cId="1323487226" sldId="2147483794"/>
            <pc:sldLayoutMk cId="1086763629" sldId="2147483802"/>
          </pc:sldLayoutMkLst>
        </pc:sldLayoutChg>
        <pc:sldLayoutChg chg="del">
          <pc:chgData name="内山 裕弥" userId="8d34b9d0-ec49-418d-b1de-019cf6b56da5" providerId="ADAL" clId="{EE417D81-9D62-44B5-9A36-43CC1B66E142}" dt="2024-07-19T04:05:50.779" v="245" actId="2696"/>
          <pc:sldLayoutMkLst>
            <pc:docMk/>
            <pc:sldMasterMk cId="1323487226" sldId="2147483794"/>
            <pc:sldLayoutMk cId="2096497774" sldId="2147483803"/>
          </pc:sldLayoutMkLst>
        </pc:sldLayoutChg>
        <pc:sldLayoutChg chg="del">
          <pc:chgData name="内山 裕弥" userId="8d34b9d0-ec49-418d-b1de-019cf6b56da5" providerId="ADAL" clId="{EE417D81-9D62-44B5-9A36-43CC1B66E142}" dt="2024-07-19T04:05:50.783" v="246" actId="2696"/>
          <pc:sldLayoutMkLst>
            <pc:docMk/>
            <pc:sldMasterMk cId="1323487226" sldId="2147483794"/>
            <pc:sldLayoutMk cId="2773940887" sldId="2147483804"/>
          </pc:sldLayoutMkLst>
        </pc:sldLayoutChg>
        <pc:sldLayoutChg chg="del">
          <pc:chgData name="内山 裕弥" userId="8d34b9d0-ec49-418d-b1de-019cf6b56da5" providerId="ADAL" clId="{EE417D81-9D62-44B5-9A36-43CC1B66E142}" dt="2024-07-19T04:05:50.786" v="247" actId="2696"/>
          <pc:sldLayoutMkLst>
            <pc:docMk/>
            <pc:sldMasterMk cId="1323487226" sldId="2147483794"/>
            <pc:sldLayoutMk cId="3663685616" sldId="2147483805"/>
          </pc:sldLayoutMkLst>
        </pc:sldLayoutChg>
        <pc:sldLayoutChg chg="del">
          <pc:chgData name="内山 裕弥" userId="8d34b9d0-ec49-418d-b1de-019cf6b56da5" providerId="ADAL" clId="{EE417D81-9D62-44B5-9A36-43CC1B66E142}" dt="2024-07-19T04:05:50.788" v="248" actId="2696"/>
          <pc:sldLayoutMkLst>
            <pc:docMk/>
            <pc:sldMasterMk cId="1323487226" sldId="2147483794"/>
            <pc:sldLayoutMk cId="2500790750" sldId="2147483806"/>
          </pc:sldLayoutMkLst>
        </pc:sldLayoutChg>
        <pc:sldLayoutChg chg="del">
          <pc:chgData name="内山 裕弥" userId="8d34b9d0-ec49-418d-b1de-019cf6b56da5" providerId="ADAL" clId="{EE417D81-9D62-44B5-9A36-43CC1B66E142}" dt="2024-07-19T04:05:50.790" v="249" actId="2696"/>
          <pc:sldLayoutMkLst>
            <pc:docMk/>
            <pc:sldMasterMk cId="1323487226" sldId="2147483794"/>
            <pc:sldLayoutMk cId="716948760" sldId="2147483807"/>
          </pc:sldLayoutMkLst>
        </pc:sldLayoutChg>
      </pc:sldMasterChg>
    </pc:docChg>
  </pc:docChgLst>
  <pc:docChgLst>
    <pc:chgData name="原田　惇" clId="Web-{B5B586EE-9B8F-4D7D-BD29-28B508D36219}"/>
    <pc:docChg chg="modSld">
      <pc:chgData name="原田　惇" userId="" providerId="" clId="Web-{B5B586EE-9B8F-4D7D-BD29-28B508D36219}" dt="2024-04-17T12:56:18.537" v="121" actId="14100"/>
      <pc:docMkLst>
        <pc:docMk/>
      </pc:docMkLst>
      <pc:sldChg chg="addSp modSp">
        <pc:chgData name="原田　惇" userId="" providerId="" clId="Web-{B5B586EE-9B8F-4D7D-BD29-28B508D36219}" dt="2024-04-17T12:56:18.537" v="121" actId="14100"/>
        <pc:sldMkLst>
          <pc:docMk/>
          <pc:sldMk cId="1541444175" sldId="2147378660"/>
        </pc:sldMkLst>
        <pc:spChg chg="add mod">
          <ac:chgData name="原田　惇" userId="" providerId="" clId="Web-{B5B586EE-9B8F-4D7D-BD29-28B508D36219}" dt="2024-04-17T12:56:18.537" v="121" actId="14100"/>
          <ac:spMkLst>
            <pc:docMk/>
            <pc:sldMk cId="1541444175" sldId="2147378660"/>
            <ac:spMk id="2" creationId="{F94CF494-E0C2-22EA-8AE5-F92FB79F0C3D}"/>
          </ac:spMkLst>
        </pc:spChg>
      </pc:sldChg>
    </pc:docChg>
  </pc:docChgLst>
  <pc:docChgLst>
    <pc:chgData name="野沢 龍太郎" userId="a69d7eb3-acfc-4d2f-8244-da7c6277a67f" providerId="ADAL" clId="{F1EEBFAA-C528-4695-BC80-8FDEDE905BA9}"/>
    <pc:docChg chg="modSld">
      <pc:chgData name="野沢 龍太郎" userId="a69d7eb3-acfc-4d2f-8244-da7c6277a67f" providerId="ADAL" clId="{F1EEBFAA-C528-4695-BC80-8FDEDE905BA9}" dt="2024-07-12T08:24:26.454" v="307" actId="20577"/>
      <pc:docMkLst>
        <pc:docMk/>
      </pc:docMkLst>
      <pc:sldChg chg="modSp mod">
        <pc:chgData name="野沢 龍太郎" userId="a69d7eb3-acfc-4d2f-8244-da7c6277a67f" providerId="ADAL" clId="{F1EEBFAA-C528-4695-BC80-8FDEDE905BA9}" dt="2024-07-12T08:20:18.320" v="66" actId="14100"/>
        <pc:sldMkLst>
          <pc:docMk/>
          <pc:sldMk cId="1786860980" sldId="2147378654"/>
        </pc:sldMkLst>
        <pc:spChg chg="mod">
          <ac:chgData name="野沢 龍太郎" userId="a69d7eb3-acfc-4d2f-8244-da7c6277a67f" providerId="ADAL" clId="{F1EEBFAA-C528-4695-BC80-8FDEDE905BA9}" dt="2024-07-12T08:20:18.320" v="66" actId="14100"/>
          <ac:spMkLst>
            <pc:docMk/>
            <pc:sldMk cId="1786860980" sldId="2147378654"/>
            <ac:spMk id="10" creationId="{C1084721-7EDF-0DAE-BBA0-0ED1A14E3AE7}"/>
          </ac:spMkLst>
        </pc:spChg>
      </pc:sldChg>
      <pc:sldChg chg="modNotesTx">
        <pc:chgData name="野沢 龍太郎" userId="a69d7eb3-acfc-4d2f-8244-da7c6277a67f" providerId="ADAL" clId="{F1EEBFAA-C528-4695-BC80-8FDEDE905BA9}" dt="2024-07-12T08:19:54.469" v="65" actId="20577"/>
        <pc:sldMkLst>
          <pc:docMk/>
          <pc:sldMk cId="959679513" sldId="2147378701"/>
        </pc:sldMkLst>
      </pc:sldChg>
      <pc:sldChg chg="modNotesTx">
        <pc:chgData name="野沢 龍太郎" userId="a69d7eb3-acfc-4d2f-8244-da7c6277a67f" providerId="ADAL" clId="{F1EEBFAA-C528-4695-BC80-8FDEDE905BA9}" dt="2024-07-12T08:22:34.313" v="242" actId="20577"/>
        <pc:sldMkLst>
          <pc:docMk/>
          <pc:sldMk cId="936371591" sldId="2147378704"/>
        </pc:sldMkLst>
      </pc:sldChg>
      <pc:sldChg chg="modNotesTx">
        <pc:chgData name="野沢 龍太郎" userId="a69d7eb3-acfc-4d2f-8244-da7c6277a67f" providerId="ADAL" clId="{F1EEBFAA-C528-4695-BC80-8FDEDE905BA9}" dt="2024-07-12T08:24:26.454" v="307" actId="20577"/>
        <pc:sldMkLst>
          <pc:docMk/>
          <pc:sldMk cId="355750652" sldId="2147378708"/>
        </pc:sldMkLst>
      </pc:sldChg>
    </pc:docChg>
  </pc:docChgLst>
  <pc:docChgLst>
    <pc:chgData name="Mikami, Maho" userId="50612f1b-df2d-47bb-8fdd-7ddedc83fc7e" providerId="ADAL" clId="{F7D83F21-36A9-40AE-BD2D-D23C0BEDA3FB}"/>
    <pc:docChg chg="delSld delMainMaster delSection modSection">
      <pc:chgData name="Mikami, Maho" userId="50612f1b-df2d-47bb-8fdd-7ddedc83fc7e" providerId="ADAL" clId="{F7D83F21-36A9-40AE-BD2D-D23C0BEDA3FB}" dt="2024-03-04T03:40:15.567" v="10" actId="17851"/>
      <pc:docMkLst>
        <pc:docMk/>
      </pc:docMkLst>
      <pc:sldChg chg="del">
        <pc:chgData name="Mikami, Maho" userId="50612f1b-df2d-47bb-8fdd-7ddedc83fc7e" providerId="ADAL" clId="{F7D83F21-36A9-40AE-BD2D-D23C0BEDA3FB}" dt="2024-03-04T03:39:45.376" v="0" actId="18676"/>
        <pc:sldMkLst>
          <pc:docMk/>
          <pc:sldMk cId="462420486" sldId="2146847375"/>
        </pc:sldMkLst>
      </pc:sldChg>
      <pc:sldChg chg="del">
        <pc:chgData name="Mikami, Maho" userId="50612f1b-df2d-47bb-8fdd-7ddedc83fc7e" providerId="ADAL" clId="{F7D83F21-36A9-40AE-BD2D-D23C0BEDA3FB}" dt="2024-03-04T03:39:45.376" v="0" actId="18676"/>
        <pc:sldMkLst>
          <pc:docMk/>
          <pc:sldMk cId="528819178" sldId="2147376917"/>
        </pc:sldMkLst>
      </pc:sldChg>
      <pc:sldChg chg="del">
        <pc:chgData name="Mikami, Maho" userId="50612f1b-df2d-47bb-8fdd-7ddedc83fc7e" providerId="ADAL" clId="{F7D83F21-36A9-40AE-BD2D-D23C0BEDA3FB}" dt="2024-03-04T03:39:48.782" v="2" actId="18676"/>
        <pc:sldMkLst>
          <pc:docMk/>
          <pc:sldMk cId="1351919840" sldId="2147377556"/>
        </pc:sldMkLst>
      </pc:sldChg>
      <pc:sldChg chg="del">
        <pc:chgData name="Mikami, Maho" userId="50612f1b-df2d-47bb-8fdd-7ddedc83fc7e" providerId="ADAL" clId="{F7D83F21-36A9-40AE-BD2D-D23C0BEDA3FB}" dt="2024-03-04T03:39:47.194" v="1" actId="18676"/>
        <pc:sldMkLst>
          <pc:docMk/>
          <pc:sldMk cId="2246359945" sldId="2147377561"/>
        </pc:sldMkLst>
      </pc:sldChg>
      <pc:sldChg chg="del">
        <pc:chgData name="Mikami, Maho" userId="50612f1b-df2d-47bb-8fdd-7ddedc83fc7e" providerId="ADAL" clId="{F7D83F21-36A9-40AE-BD2D-D23C0BEDA3FB}" dt="2024-03-04T03:39:47.194" v="1" actId="18676"/>
        <pc:sldMkLst>
          <pc:docMk/>
          <pc:sldMk cId="734518959" sldId="2147377562"/>
        </pc:sldMkLst>
      </pc:sldChg>
      <pc:sldChg chg="del">
        <pc:chgData name="Mikami, Maho" userId="50612f1b-df2d-47bb-8fdd-7ddedc83fc7e" providerId="ADAL" clId="{F7D83F21-36A9-40AE-BD2D-D23C0BEDA3FB}" dt="2024-03-04T03:39:47.194" v="1" actId="18676"/>
        <pc:sldMkLst>
          <pc:docMk/>
          <pc:sldMk cId="238679770" sldId="2147377563"/>
        </pc:sldMkLst>
      </pc:sldChg>
      <pc:sldChg chg="del">
        <pc:chgData name="Mikami, Maho" userId="50612f1b-df2d-47bb-8fdd-7ddedc83fc7e" providerId="ADAL" clId="{F7D83F21-36A9-40AE-BD2D-D23C0BEDA3FB}" dt="2024-03-04T03:39:45.376" v="0" actId="18676"/>
        <pc:sldMkLst>
          <pc:docMk/>
          <pc:sldMk cId="805073852" sldId="2147377567"/>
        </pc:sldMkLst>
      </pc:sldChg>
      <pc:sldChg chg="del">
        <pc:chgData name="Mikami, Maho" userId="50612f1b-df2d-47bb-8fdd-7ddedc83fc7e" providerId="ADAL" clId="{F7D83F21-36A9-40AE-BD2D-D23C0BEDA3FB}" dt="2024-03-04T03:39:45.376" v="0" actId="18676"/>
        <pc:sldMkLst>
          <pc:docMk/>
          <pc:sldMk cId="685865146" sldId="2147377574"/>
        </pc:sldMkLst>
      </pc:sldChg>
      <pc:sldChg chg="del">
        <pc:chgData name="Mikami, Maho" userId="50612f1b-df2d-47bb-8fdd-7ddedc83fc7e" providerId="ADAL" clId="{F7D83F21-36A9-40AE-BD2D-D23C0BEDA3FB}" dt="2024-03-04T03:39:45.376" v="0" actId="18676"/>
        <pc:sldMkLst>
          <pc:docMk/>
          <pc:sldMk cId="2570715531" sldId="2147377575"/>
        </pc:sldMkLst>
      </pc:sldChg>
      <pc:sldChg chg="del">
        <pc:chgData name="Mikami, Maho" userId="50612f1b-df2d-47bb-8fdd-7ddedc83fc7e" providerId="ADAL" clId="{F7D83F21-36A9-40AE-BD2D-D23C0BEDA3FB}" dt="2024-03-04T03:39:59.933" v="5" actId="18676"/>
        <pc:sldMkLst>
          <pc:docMk/>
          <pc:sldMk cId="3281773256" sldId="2147377576"/>
        </pc:sldMkLst>
      </pc:sldChg>
      <pc:sldChg chg="del">
        <pc:chgData name="Mikami, Maho" userId="50612f1b-df2d-47bb-8fdd-7ddedc83fc7e" providerId="ADAL" clId="{F7D83F21-36A9-40AE-BD2D-D23C0BEDA3FB}" dt="2024-03-04T03:39:59.933" v="5" actId="18676"/>
        <pc:sldMkLst>
          <pc:docMk/>
          <pc:sldMk cId="107032690" sldId="2147377577"/>
        </pc:sldMkLst>
      </pc:sldChg>
      <pc:sldChg chg="del">
        <pc:chgData name="Mikami, Maho" userId="50612f1b-df2d-47bb-8fdd-7ddedc83fc7e" providerId="ADAL" clId="{F7D83F21-36A9-40AE-BD2D-D23C0BEDA3FB}" dt="2024-03-04T03:39:52.338" v="4" actId="18676"/>
        <pc:sldMkLst>
          <pc:docMk/>
          <pc:sldMk cId="3227318452" sldId="2147377581"/>
        </pc:sldMkLst>
      </pc:sldChg>
      <pc:sldChg chg="del">
        <pc:chgData name="Mikami, Maho" userId="50612f1b-df2d-47bb-8fdd-7ddedc83fc7e" providerId="ADAL" clId="{F7D83F21-36A9-40AE-BD2D-D23C0BEDA3FB}" dt="2024-03-04T03:39:48.782" v="2" actId="18676"/>
        <pc:sldMkLst>
          <pc:docMk/>
          <pc:sldMk cId="1839331040" sldId="2147377657"/>
        </pc:sldMkLst>
      </pc:sldChg>
      <pc:sldChg chg="del">
        <pc:chgData name="Mikami, Maho" userId="50612f1b-df2d-47bb-8fdd-7ddedc83fc7e" providerId="ADAL" clId="{F7D83F21-36A9-40AE-BD2D-D23C0BEDA3FB}" dt="2024-03-04T03:39:48.782" v="2" actId="18676"/>
        <pc:sldMkLst>
          <pc:docMk/>
          <pc:sldMk cId="4163403683" sldId="2147377659"/>
        </pc:sldMkLst>
      </pc:sldChg>
      <pc:sldChg chg="del">
        <pc:chgData name="Mikami, Maho" userId="50612f1b-df2d-47bb-8fdd-7ddedc83fc7e" providerId="ADAL" clId="{F7D83F21-36A9-40AE-BD2D-D23C0BEDA3FB}" dt="2024-03-04T03:39:48.782" v="2" actId="18676"/>
        <pc:sldMkLst>
          <pc:docMk/>
          <pc:sldMk cId="1120326078" sldId="2147377666"/>
        </pc:sldMkLst>
      </pc:sldChg>
      <pc:sldChg chg="del">
        <pc:chgData name="Mikami, Maho" userId="50612f1b-df2d-47bb-8fdd-7ddedc83fc7e" providerId="ADAL" clId="{F7D83F21-36A9-40AE-BD2D-D23C0BEDA3FB}" dt="2024-03-04T03:39:45.376" v="0" actId="18676"/>
        <pc:sldMkLst>
          <pc:docMk/>
          <pc:sldMk cId="3890934605" sldId="2147377668"/>
        </pc:sldMkLst>
      </pc:sldChg>
      <pc:sldChg chg="del">
        <pc:chgData name="Mikami, Maho" userId="50612f1b-df2d-47bb-8fdd-7ddedc83fc7e" providerId="ADAL" clId="{F7D83F21-36A9-40AE-BD2D-D23C0BEDA3FB}" dt="2024-03-04T03:39:52.338" v="4" actId="18676"/>
        <pc:sldMkLst>
          <pc:docMk/>
          <pc:sldMk cId="1135267340" sldId="2147377669"/>
        </pc:sldMkLst>
      </pc:sldChg>
      <pc:sldChg chg="del">
        <pc:chgData name="Mikami, Maho" userId="50612f1b-df2d-47bb-8fdd-7ddedc83fc7e" providerId="ADAL" clId="{F7D83F21-36A9-40AE-BD2D-D23C0BEDA3FB}" dt="2024-03-04T03:40:11.972" v="9" actId="47"/>
        <pc:sldMkLst>
          <pc:docMk/>
          <pc:sldMk cId="1817343379" sldId="2147377671"/>
        </pc:sldMkLst>
      </pc:sldChg>
      <pc:sldChg chg="del">
        <pc:chgData name="Mikami, Maho" userId="50612f1b-df2d-47bb-8fdd-7ddedc83fc7e" providerId="ADAL" clId="{F7D83F21-36A9-40AE-BD2D-D23C0BEDA3FB}" dt="2024-03-04T03:39:45.376" v="0" actId="18676"/>
        <pc:sldMkLst>
          <pc:docMk/>
          <pc:sldMk cId="844297631" sldId="2147377673"/>
        </pc:sldMkLst>
      </pc:sldChg>
      <pc:sldChg chg="del">
        <pc:chgData name="Mikami, Maho" userId="50612f1b-df2d-47bb-8fdd-7ddedc83fc7e" providerId="ADAL" clId="{F7D83F21-36A9-40AE-BD2D-D23C0BEDA3FB}" dt="2024-03-04T03:39:45.376" v="0" actId="18676"/>
        <pc:sldMkLst>
          <pc:docMk/>
          <pc:sldMk cId="4244873255" sldId="2147377689"/>
        </pc:sldMkLst>
      </pc:sldChg>
      <pc:sldChg chg="del">
        <pc:chgData name="Mikami, Maho" userId="50612f1b-df2d-47bb-8fdd-7ddedc83fc7e" providerId="ADAL" clId="{F7D83F21-36A9-40AE-BD2D-D23C0BEDA3FB}" dt="2024-03-04T03:39:50.542" v="3" actId="18676"/>
        <pc:sldMkLst>
          <pc:docMk/>
          <pc:sldMk cId="1739290471" sldId="2147377690"/>
        </pc:sldMkLst>
      </pc:sldChg>
      <pc:sldChg chg="del">
        <pc:chgData name="Mikami, Maho" userId="50612f1b-df2d-47bb-8fdd-7ddedc83fc7e" providerId="ADAL" clId="{F7D83F21-36A9-40AE-BD2D-D23C0BEDA3FB}" dt="2024-03-04T03:39:47.194" v="1" actId="18676"/>
        <pc:sldMkLst>
          <pc:docMk/>
          <pc:sldMk cId="1758274760" sldId="2147377704"/>
        </pc:sldMkLst>
      </pc:sldChg>
      <pc:sldChg chg="del">
        <pc:chgData name="Mikami, Maho" userId="50612f1b-df2d-47bb-8fdd-7ddedc83fc7e" providerId="ADAL" clId="{F7D83F21-36A9-40AE-BD2D-D23C0BEDA3FB}" dt="2024-03-04T03:39:47.194" v="1" actId="18676"/>
        <pc:sldMkLst>
          <pc:docMk/>
          <pc:sldMk cId="3883192585" sldId="2147377705"/>
        </pc:sldMkLst>
      </pc:sldChg>
      <pc:sldChg chg="del">
        <pc:chgData name="Mikami, Maho" userId="50612f1b-df2d-47bb-8fdd-7ddedc83fc7e" providerId="ADAL" clId="{F7D83F21-36A9-40AE-BD2D-D23C0BEDA3FB}" dt="2024-03-04T03:39:47.194" v="1" actId="18676"/>
        <pc:sldMkLst>
          <pc:docMk/>
          <pc:sldMk cId="504310052" sldId="2147377727"/>
        </pc:sldMkLst>
      </pc:sldChg>
      <pc:sldChg chg="del">
        <pc:chgData name="Mikami, Maho" userId="50612f1b-df2d-47bb-8fdd-7ddedc83fc7e" providerId="ADAL" clId="{F7D83F21-36A9-40AE-BD2D-D23C0BEDA3FB}" dt="2024-03-04T03:40:06.877" v="7" actId="47"/>
        <pc:sldMkLst>
          <pc:docMk/>
          <pc:sldMk cId="262838709" sldId="2147377729"/>
        </pc:sldMkLst>
      </pc:sldChg>
      <pc:sldChg chg="del">
        <pc:chgData name="Mikami, Maho" userId="50612f1b-df2d-47bb-8fdd-7ddedc83fc7e" providerId="ADAL" clId="{F7D83F21-36A9-40AE-BD2D-D23C0BEDA3FB}" dt="2024-03-04T03:40:08.758" v="8" actId="18676"/>
        <pc:sldMkLst>
          <pc:docMk/>
          <pc:sldMk cId="333876597" sldId="2147377892"/>
        </pc:sldMkLst>
      </pc:sldChg>
      <pc:sldChg chg="del">
        <pc:chgData name="Mikami, Maho" userId="50612f1b-df2d-47bb-8fdd-7ddedc83fc7e" providerId="ADAL" clId="{F7D83F21-36A9-40AE-BD2D-D23C0BEDA3FB}" dt="2024-03-04T03:40:08.758" v="8" actId="18676"/>
        <pc:sldMkLst>
          <pc:docMk/>
          <pc:sldMk cId="3652295164" sldId="2147377906"/>
        </pc:sldMkLst>
      </pc:sldChg>
      <pc:sldChg chg="del">
        <pc:chgData name="Mikami, Maho" userId="50612f1b-df2d-47bb-8fdd-7ddedc83fc7e" providerId="ADAL" clId="{F7D83F21-36A9-40AE-BD2D-D23C0BEDA3FB}" dt="2024-03-04T03:40:03.934" v="6" actId="18676"/>
        <pc:sldMkLst>
          <pc:docMk/>
          <pc:sldMk cId="1061942161" sldId="2147377908"/>
        </pc:sldMkLst>
      </pc:sldChg>
      <pc:sldChg chg="del">
        <pc:chgData name="Mikami, Maho" userId="50612f1b-df2d-47bb-8fdd-7ddedc83fc7e" providerId="ADAL" clId="{F7D83F21-36A9-40AE-BD2D-D23C0BEDA3FB}" dt="2024-03-04T03:40:08.758" v="8" actId="18676"/>
        <pc:sldMkLst>
          <pc:docMk/>
          <pc:sldMk cId="2998354439" sldId="2147377945"/>
        </pc:sldMkLst>
      </pc:sldChg>
      <pc:sldChg chg="del">
        <pc:chgData name="Mikami, Maho" userId="50612f1b-df2d-47bb-8fdd-7ddedc83fc7e" providerId="ADAL" clId="{F7D83F21-36A9-40AE-BD2D-D23C0BEDA3FB}" dt="2024-03-04T03:39:48.782" v="2" actId="18676"/>
        <pc:sldMkLst>
          <pc:docMk/>
          <pc:sldMk cId="2185342663" sldId="2147378575"/>
        </pc:sldMkLst>
      </pc:sldChg>
      <pc:sldChg chg="del">
        <pc:chgData name="Mikami, Maho" userId="50612f1b-df2d-47bb-8fdd-7ddedc83fc7e" providerId="ADAL" clId="{F7D83F21-36A9-40AE-BD2D-D23C0BEDA3FB}" dt="2024-03-04T03:39:48.782" v="2" actId="18676"/>
        <pc:sldMkLst>
          <pc:docMk/>
          <pc:sldMk cId="3435946206" sldId="2147378576"/>
        </pc:sldMkLst>
      </pc:sldChg>
      <pc:sldChg chg="del">
        <pc:chgData name="Mikami, Maho" userId="50612f1b-df2d-47bb-8fdd-7ddedc83fc7e" providerId="ADAL" clId="{F7D83F21-36A9-40AE-BD2D-D23C0BEDA3FB}" dt="2024-03-04T03:39:48.782" v="2" actId="18676"/>
        <pc:sldMkLst>
          <pc:docMk/>
          <pc:sldMk cId="3567355389" sldId="2147378578"/>
        </pc:sldMkLst>
      </pc:sldChg>
      <pc:sldChg chg="del">
        <pc:chgData name="Mikami, Maho" userId="50612f1b-df2d-47bb-8fdd-7ddedc83fc7e" providerId="ADAL" clId="{F7D83F21-36A9-40AE-BD2D-D23C0BEDA3FB}" dt="2024-03-04T03:39:48.782" v="2" actId="18676"/>
        <pc:sldMkLst>
          <pc:docMk/>
          <pc:sldMk cId="707529735" sldId="2147378579"/>
        </pc:sldMkLst>
      </pc:sldChg>
      <pc:sldChg chg="del">
        <pc:chgData name="Mikami, Maho" userId="50612f1b-df2d-47bb-8fdd-7ddedc83fc7e" providerId="ADAL" clId="{F7D83F21-36A9-40AE-BD2D-D23C0BEDA3FB}" dt="2024-03-04T03:39:48.782" v="2" actId="18676"/>
        <pc:sldMkLst>
          <pc:docMk/>
          <pc:sldMk cId="3727282006" sldId="2147378580"/>
        </pc:sldMkLst>
      </pc:sldChg>
      <pc:sldChg chg="del">
        <pc:chgData name="Mikami, Maho" userId="50612f1b-df2d-47bb-8fdd-7ddedc83fc7e" providerId="ADAL" clId="{F7D83F21-36A9-40AE-BD2D-D23C0BEDA3FB}" dt="2024-03-04T03:39:48.782" v="2" actId="18676"/>
        <pc:sldMkLst>
          <pc:docMk/>
          <pc:sldMk cId="2792087975" sldId="2147378616"/>
        </pc:sldMkLst>
      </pc:sldChg>
      <pc:sldChg chg="del">
        <pc:chgData name="Mikami, Maho" userId="50612f1b-df2d-47bb-8fdd-7ddedc83fc7e" providerId="ADAL" clId="{F7D83F21-36A9-40AE-BD2D-D23C0BEDA3FB}" dt="2024-03-04T03:39:48.782" v="2" actId="18676"/>
        <pc:sldMkLst>
          <pc:docMk/>
          <pc:sldMk cId="981739146" sldId="2147378617"/>
        </pc:sldMkLst>
      </pc:sldChg>
      <pc:sldChg chg="del">
        <pc:chgData name="Mikami, Maho" userId="50612f1b-df2d-47bb-8fdd-7ddedc83fc7e" providerId="ADAL" clId="{F7D83F21-36A9-40AE-BD2D-D23C0BEDA3FB}" dt="2024-03-04T03:39:48.782" v="2" actId="18676"/>
        <pc:sldMkLst>
          <pc:docMk/>
          <pc:sldMk cId="3534535305" sldId="2147378618"/>
        </pc:sldMkLst>
      </pc:sldChg>
      <pc:sldChg chg="del">
        <pc:chgData name="Mikami, Maho" userId="50612f1b-df2d-47bb-8fdd-7ddedc83fc7e" providerId="ADAL" clId="{F7D83F21-36A9-40AE-BD2D-D23C0BEDA3FB}" dt="2024-03-04T03:39:47.194" v="1" actId="18676"/>
        <pc:sldMkLst>
          <pc:docMk/>
          <pc:sldMk cId="1623541732" sldId="2147378624"/>
        </pc:sldMkLst>
      </pc:sldChg>
      <pc:sldChg chg="del">
        <pc:chgData name="Mikami, Maho" userId="50612f1b-df2d-47bb-8fdd-7ddedc83fc7e" providerId="ADAL" clId="{F7D83F21-36A9-40AE-BD2D-D23C0BEDA3FB}" dt="2024-03-04T03:39:47.194" v="1" actId="18676"/>
        <pc:sldMkLst>
          <pc:docMk/>
          <pc:sldMk cId="896410585" sldId="2147378627"/>
        </pc:sldMkLst>
      </pc:sldChg>
      <pc:sldChg chg="del">
        <pc:chgData name="Mikami, Maho" userId="50612f1b-df2d-47bb-8fdd-7ddedc83fc7e" providerId="ADAL" clId="{F7D83F21-36A9-40AE-BD2D-D23C0BEDA3FB}" dt="2024-03-04T03:39:47.194" v="1" actId="18676"/>
        <pc:sldMkLst>
          <pc:docMk/>
          <pc:sldMk cId="1824916541" sldId="2147378629"/>
        </pc:sldMkLst>
      </pc:sldChg>
      <pc:sldChg chg="del">
        <pc:chgData name="Mikami, Maho" userId="50612f1b-df2d-47bb-8fdd-7ddedc83fc7e" providerId="ADAL" clId="{F7D83F21-36A9-40AE-BD2D-D23C0BEDA3FB}" dt="2024-03-04T03:39:47.194" v="1" actId="18676"/>
        <pc:sldMkLst>
          <pc:docMk/>
          <pc:sldMk cId="996035034" sldId="2147378643"/>
        </pc:sldMkLst>
      </pc:sldChg>
      <pc:sldChg chg="del">
        <pc:chgData name="Mikami, Maho" userId="50612f1b-df2d-47bb-8fdd-7ddedc83fc7e" providerId="ADAL" clId="{F7D83F21-36A9-40AE-BD2D-D23C0BEDA3FB}" dt="2024-03-04T03:39:45.376" v="0" actId="18676"/>
        <pc:sldMkLst>
          <pc:docMk/>
          <pc:sldMk cId="561355321" sldId="2147378644"/>
        </pc:sldMkLst>
      </pc:sldChg>
      <pc:sldChg chg="del">
        <pc:chgData name="Mikami, Maho" userId="50612f1b-df2d-47bb-8fdd-7ddedc83fc7e" providerId="ADAL" clId="{F7D83F21-36A9-40AE-BD2D-D23C0BEDA3FB}" dt="2024-03-04T03:39:50.542" v="3" actId="18676"/>
        <pc:sldMkLst>
          <pc:docMk/>
          <pc:sldMk cId="3910577318" sldId="2147378646"/>
        </pc:sldMkLst>
      </pc:sldChg>
      <pc:sldChg chg="del">
        <pc:chgData name="Mikami, Maho" userId="50612f1b-df2d-47bb-8fdd-7ddedc83fc7e" providerId="ADAL" clId="{F7D83F21-36A9-40AE-BD2D-D23C0BEDA3FB}" dt="2024-03-04T03:39:45.376" v="0" actId="18676"/>
        <pc:sldMkLst>
          <pc:docMk/>
          <pc:sldMk cId="3368404900" sldId="2147378647"/>
        </pc:sldMkLst>
      </pc:sldChg>
      <pc:sldChg chg="del">
        <pc:chgData name="Mikami, Maho" userId="50612f1b-df2d-47bb-8fdd-7ddedc83fc7e" providerId="ADAL" clId="{F7D83F21-36A9-40AE-BD2D-D23C0BEDA3FB}" dt="2024-03-04T03:39:47.194" v="1" actId="18676"/>
        <pc:sldMkLst>
          <pc:docMk/>
          <pc:sldMk cId="4276795404" sldId="2147378673"/>
        </pc:sldMkLst>
      </pc:sldChg>
      <pc:sldChg chg="del">
        <pc:chgData name="Mikami, Maho" userId="50612f1b-df2d-47bb-8fdd-7ddedc83fc7e" providerId="ADAL" clId="{F7D83F21-36A9-40AE-BD2D-D23C0BEDA3FB}" dt="2024-03-04T03:39:47.194" v="1" actId="18676"/>
        <pc:sldMkLst>
          <pc:docMk/>
          <pc:sldMk cId="2502302048" sldId="2147378674"/>
        </pc:sldMkLst>
      </pc:sldChg>
      <pc:sldChg chg="del">
        <pc:chgData name="Mikami, Maho" userId="50612f1b-df2d-47bb-8fdd-7ddedc83fc7e" providerId="ADAL" clId="{F7D83F21-36A9-40AE-BD2D-D23C0BEDA3FB}" dt="2024-03-04T03:39:47.194" v="1" actId="18676"/>
        <pc:sldMkLst>
          <pc:docMk/>
          <pc:sldMk cId="3451483535" sldId="2147378697"/>
        </pc:sldMkLst>
      </pc:sldChg>
      <pc:sldChg chg="del">
        <pc:chgData name="Mikami, Maho" userId="50612f1b-df2d-47bb-8fdd-7ddedc83fc7e" providerId="ADAL" clId="{F7D83F21-36A9-40AE-BD2D-D23C0BEDA3FB}" dt="2024-03-04T03:39:47.194" v="1" actId="18676"/>
        <pc:sldMkLst>
          <pc:docMk/>
          <pc:sldMk cId="2526397507" sldId="2147378698"/>
        </pc:sldMkLst>
      </pc:sldChg>
      <pc:sldChg chg="del">
        <pc:chgData name="Mikami, Maho" userId="50612f1b-df2d-47bb-8fdd-7ddedc83fc7e" providerId="ADAL" clId="{F7D83F21-36A9-40AE-BD2D-D23C0BEDA3FB}" dt="2024-03-04T03:39:47.194" v="1" actId="18676"/>
        <pc:sldMkLst>
          <pc:docMk/>
          <pc:sldMk cId="2319219132" sldId="2147378699"/>
        </pc:sldMkLst>
      </pc:sldChg>
      <pc:sldMasterChg chg="del delSldLayout">
        <pc:chgData name="Mikami, Maho" userId="50612f1b-df2d-47bb-8fdd-7ddedc83fc7e" providerId="ADAL" clId="{F7D83F21-36A9-40AE-BD2D-D23C0BEDA3FB}" dt="2024-03-04T03:39:50.542" v="3" actId="18676"/>
        <pc:sldMasterMkLst>
          <pc:docMk/>
          <pc:sldMasterMk cId="3255063131" sldId="2147483667"/>
        </pc:sldMasterMkLst>
        <pc:sldLayoutChg chg="del">
          <pc:chgData name="Mikami, Maho" userId="50612f1b-df2d-47bb-8fdd-7ddedc83fc7e" providerId="ADAL" clId="{F7D83F21-36A9-40AE-BD2D-D23C0BEDA3FB}" dt="2024-03-04T03:39:50.542" v="3" actId="18676"/>
          <pc:sldLayoutMkLst>
            <pc:docMk/>
            <pc:sldMasterMk cId="3255063131" sldId="2147483667"/>
            <pc:sldLayoutMk cId="1791946754" sldId="2147483668"/>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908681121" sldId="2147483669"/>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267481303" sldId="2147483670"/>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2485696525" sldId="2147483671"/>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885518602" sldId="2147483672"/>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945914954" sldId="2147483673"/>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101348441" sldId="2147483674"/>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306352199" sldId="2147483675"/>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1824245592" sldId="2147483676"/>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806583456" sldId="2147483677"/>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762773956" sldId="2147483678"/>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096007197" sldId="2147483679"/>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968018419" sldId="2147483680"/>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4009546988" sldId="2147483742"/>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226775646" sldId="2147483743"/>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2455457935" sldId="2147483744"/>
          </pc:sldLayoutMkLst>
        </pc:sldLayoutChg>
        <pc:sldLayoutChg chg="del">
          <pc:chgData name="Mikami, Maho" userId="50612f1b-df2d-47bb-8fdd-7ddedc83fc7e" providerId="ADAL" clId="{F7D83F21-36A9-40AE-BD2D-D23C0BEDA3FB}" dt="2024-03-04T03:39:50.542" v="3" actId="18676"/>
          <pc:sldLayoutMkLst>
            <pc:docMk/>
            <pc:sldMasterMk cId="3255063131" sldId="2147483667"/>
            <pc:sldLayoutMk cId="3383907151" sldId="2147483824"/>
          </pc:sldLayoutMkLst>
        </pc:sldLayoutChg>
      </pc:sldMasterChg>
      <pc:sldMasterChg chg="delSldLayout">
        <pc:chgData name="Mikami, Maho" userId="50612f1b-df2d-47bb-8fdd-7ddedc83fc7e" providerId="ADAL" clId="{F7D83F21-36A9-40AE-BD2D-D23C0BEDA3FB}" dt="2024-03-04T03:40:11.972" v="9" actId="47"/>
        <pc:sldMasterMkLst>
          <pc:docMk/>
          <pc:sldMasterMk cId="1409019568" sldId="2147483714"/>
        </pc:sldMasterMkLst>
        <pc:sldLayoutChg chg="del">
          <pc:chgData name="Mikami, Maho" userId="50612f1b-df2d-47bb-8fdd-7ddedc83fc7e" providerId="ADAL" clId="{F7D83F21-36A9-40AE-BD2D-D23C0BEDA3FB}" dt="2024-03-04T03:39:47.194" v="1" actId="18676"/>
          <pc:sldLayoutMkLst>
            <pc:docMk/>
            <pc:sldMasterMk cId="1409019568" sldId="2147483714"/>
            <pc:sldLayoutMk cId="2744424327" sldId="2147483715"/>
          </pc:sldLayoutMkLst>
        </pc:sldLayoutChg>
        <pc:sldLayoutChg chg="del">
          <pc:chgData name="Mikami, Maho" userId="50612f1b-df2d-47bb-8fdd-7ddedc83fc7e" providerId="ADAL" clId="{F7D83F21-36A9-40AE-BD2D-D23C0BEDA3FB}" dt="2024-03-04T03:39:52.338" v="4" actId="18676"/>
          <pc:sldLayoutMkLst>
            <pc:docMk/>
            <pc:sldMasterMk cId="1409019568" sldId="2147483714"/>
            <pc:sldLayoutMk cId="1622084675" sldId="2147483821"/>
          </pc:sldLayoutMkLst>
        </pc:sldLayoutChg>
        <pc:sldLayoutChg chg="del">
          <pc:chgData name="Mikami, Maho" userId="50612f1b-df2d-47bb-8fdd-7ddedc83fc7e" providerId="ADAL" clId="{F7D83F21-36A9-40AE-BD2D-D23C0BEDA3FB}" dt="2024-03-04T03:39:52.338" v="4" actId="18676"/>
          <pc:sldLayoutMkLst>
            <pc:docMk/>
            <pc:sldMasterMk cId="1409019568" sldId="2147483714"/>
            <pc:sldLayoutMk cId="3569353491" sldId="2147483822"/>
          </pc:sldLayoutMkLst>
        </pc:sldLayoutChg>
        <pc:sldLayoutChg chg="del">
          <pc:chgData name="Mikami, Maho" userId="50612f1b-df2d-47bb-8fdd-7ddedc83fc7e" providerId="ADAL" clId="{F7D83F21-36A9-40AE-BD2D-D23C0BEDA3FB}" dt="2024-03-04T03:40:11.972" v="9" actId="47"/>
          <pc:sldLayoutMkLst>
            <pc:docMk/>
            <pc:sldMasterMk cId="1409019568" sldId="2147483714"/>
            <pc:sldLayoutMk cId="1204270907" sldId="2147483823"/>
          </pc:sldLayoutMkLst>
        </pc:sldLayoutChg>
      </pc:sldMasterChg>
      <pc:sldMasterChg chg="delSldLayout">
        <pc:chgData name="Mikami, Maho" userId="50612f1b-df2d-47bb-8fdd-7ddedc83fc7e" providerId="ADAL" clId="{F7D83F21-36A9-40AE-BD2D-D23C0BEDA3FB}" dt="2024-03-04T03:40:06.877" v="7" actId="47"/>
        <pc:sldMasterMkLst>
          <pc:docMk/>
          <pc:sldMasterMk cId="3804727514" sldId="2147483716"/>
        </pc:sldMasterMkLst>
        <pc:sldLayoutChg chg="del">
          <pc:chgData name="Mikami, Maho" userId="50612f1b-df2d-47bb-8fdd-7ddedc83fc7e" providerId="ADAL" clId="{F7D83F21-36A9-40AE-BD2D-D23C0BEDA3FB}" dt="2024-03-04T03:40:06.877" v="7" actId="47"/>
          <pc:sldLayoutMkLst>
            <pc:docMk/>
            <pc:sldMasterMk cId="3804727514" sldId="2147483716"/>
            <pc:sldLayoutMk cId="621630544" sldId="2147483790"/>
          </pc:sldLayoutMkLst>
        </pc:sldLayoutChg>
        <pc:sldLayoutChg chg="del">
          <pc:chgData name="Mikami, Maho" userId="50612f1b-df2d-47bb-8fdd-7ddedc83fc7e" providerId="ADAL" clId="{F7D83F21-36A9-40AE-BD2D-D23C0BEDA3FB}" dt="2024-03-04T03:39:59.933" v="5" actId="18676"/>
          <pc:sldLayoutMkLst>
            <pc:docMk/>
            <pc:sldMasterMk cId="3804727514" sldId="2147483716"/>
            <pc:sldLayoutMk cId="4181489371" sldId="2147483792"/>
          </pc:sldLayoutMkLst>
        </pc:sldLayoutChg>
      </pc:sldMasterChg>
      <pc:sldMasterChg chg="del delSldLayout">
        <pc:chgData name="Mikami, Maho" userId="50612f1b-df2d-47bb-8fdd-7ddedc83fc7e" providerId="ADAL" clId="{F7D83F21-36A9-40AE-BD2D-D23C0BEDA3FB}" dt="2024-03-04T03:39:48.782" v="2" actId="18676"/>
        <pc:sldMasterMkLst>
          <pc:docMk/>
          <pc:sldMasterMk cId="1130637653" sldId="2147483719"/>
        </pc:sldMasterMkLst>
        <pc:sldLayoutChg chg="del">
          <pc:chgData name="Mikami, Maho" userId="50612f1b-df2d-47bb-8fdd-7ddedc83fc7e" providerId="ADAL" clId="{F7D83F21-36A9-40AE-BD2D-D23C0BEDA3FB}" dt="2024-03-04T03:39:48.782" v="2" actId="18676"/>
          <pc:sldLayoutMkLst>
            <pc:docMk/>
            <pc:sldMasterMk cId="1130637653" sldId="2147483719"/>
            <pc:sldLayoutMk cId="3428661439" sldId="2147483720"/>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398444210" sldId="2147483721"/>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3566422275" sldId="2147483722"/>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244802322" sldId="2147483723"/>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919984755" sldId="2147483724"/>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2296966997" sldId="2147483725"/>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2388636047" sldId="2147483726"/>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722086246" sldId="2147483727"/>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460078298" sldId="2147483728"/>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3985985759" sldId="2147483729"/>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002031112" sldId="2147483730"/>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1323236587" sldId="2147483731"/>
          </pc:sldLayoutMkLst>
        </pc:sldLayoutChg>
        <pc:sldLayoutChg chg="del">
          <pc:chgData name="Mikami, Maho" userId="50612f1b-df2d-47bb-8fdd-7ddedc83fc7e" providerId="ADAL" clId="{F7D83F21-36A9-40AE-BD2D-D23C0BEDA3FB}" dt="2024-03-04T03:39:48.782" v="2" actId="18676"/>
          <pc:sldLayoutMkLst>
            <pc:docMk/>
            <pc:sldMasterMk cId="1130637653" sldId="2147483719"/>
            <pc:sldLayoutMk cId="3594954394" sldId="2147483732"/>
          </pc:sldLayoutMkLst>
        </pc:sldLayoutChg>
      </pc:sldMasterChg>
      <pc:sldMasterChg chg="delSldLayout">
        <pc:chgData name="Mikami, Maho" userId="50612f1b-df2d-47bb-8fdd-7ddedc83fc7e" providerId="ADAL" clId="{F7D83F21-36A9-40AE-BD2D-D23C0BEDA3FB}" dt="2024-03-04T03:40:03.934" v="6" actId="18676"/>
        <pc:sldMasterMkLst>
          <pc:docMk/>
          <pc:sldMasterMk cId="2162003807" sldId="2147483755"/>
        </pc:sldMasterMkLst>
        <pc:sldLayoutChg chg="del">
          <pc:chgData name="Mikami, Maho" userId="50612f1b-df2d-47bb-8fdd-7ddedc83fc7e" providerId="ADAL" clId="{F7D83F21-36A9-40AE-BD2D-D23C0BEDA3FB}" dt="2024-03-04T03:40:03.934" v="6" actId="18676"/>
          <pc:sldLayoutMkLst>
            <pc:docMk/>
            <pc:sldMasterMk cId="2162003807" sldId="2147483755"/>
            <pc:sldLayoutMk cId="2298266385" sldId="2147483793"/>
          </pc:sldLayoutMkLst>
        </pc:sldLayoutChg>
      </pc:sldMasterChg>
      <pc:sldMasterChg chg="delSldLayout">
        <pc:chgData name="Mikami, Maho" userId="50612f1b-df2d-47bb-8fdd-7ddedc83fc7e" providerId="ADAL" clId="{F7D83F21-36A9-40AE-BD2D-D23C0BEDA3FB}" dt="2024-03-04T03:40:08.758" v="8" actId="18676"/>
        <pc:sldMasterMkLst>
          <pc:docMk/>
          <pc:sldMasterMk cId="1323487226" sldId="2147483794"/>
        </pc:sldMasterMkLst>
        <pc:sldLayoutChg chg="del">
          <pc:chgData name="Mikami, Maho" userId="50612f1b-df2d-47bb-8fdd-7ddedc83fc7e" providerId="ADAL" clId="{F7D83F21-36A9-40AE-BD2D-D23C0BEDA3FB}" dt="2024-03-04T03:40:08.758" v="8" actId="18676"/>
          <pc:sldLayoutMkLst>
            <pc:docMk/>
            <pc:sldMasterMk cId="1323487226" sldId="2147483794"/>
            <pc:sldLayoutMk cId="4287832297" sldId="2147483808"/>
          </pc:sldLayoutMkLst>
        </pc:sldLayoutChg>
      </pc:sldMasterChg>
      <pc:sldMasterChg chg="del delSldLayout">
        <pc:chgData name="Mikami, Maho" userId="50612f1b-df2d-47bb-8fdd-7ddedc83fc7e" providerId="ADAL" clId="{F7D83F21-36A9-40AE-BD2D-D23C0BEDA3FB}" dt="2024-03-04T03:39:48.782" v="2" actId="18676"/>
        <pc:sldMasterMkLst>
          <pc:docMk/>
          <pc:sldMasterMk cId="1902307208" sldId="2147483809"/>
        </pc:sldMasterMkLst>
        <pc:sldLayoutChg chg="del">
          <pc:chgData name="Mikami, Maho" userId="50612f1b-df2d-47bb-8fdd-7ddedc83fc7e" providerId="ADAL" clId="{F7D83F21-36A9-40AE-BD2D-D23C0BEDA3FB}" dt="2024-03-04T03:39:48.782" v="2" actId="18676"/>
          <pc:sldLayoutMkLst>
            <pc:docMk/>
            <pc:sldMasterMk cId="1902307208" sldId="2147483809"/>
            <pc:sldLayoutMk cId="3878583577" sldId="2147483810"/>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3477627534" sldId="2147483811"/>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806932154" sldId="2147483812"/>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482579408" sldId="2147483813"/>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4130844186" sldId="2147483814"/>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3704785445" sldId="2147483815"/>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068605463" sldId="2147483816"/>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1661531452" sldId="2147483817"/>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2803917072" sldId="2147483818"/>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2815699561" sldId="2147483819"/>
          </pc:sldLayoutMkLst>
        </pc:sldLayoutChg>
        <pc:sldLayoutChg chg="del">
          <pc:chgData name="Mikami, Maho" userId="50612f1b-df2d-47bb-8fdd-7ddedc83fc7e" providerId="ADAL" clId="{F7D83F21-36A9-40AE-BD2D-D23C0BEDA3FB}" dt="2024-03-04T03:39:48.782" v="2" actId="18676"/>
          <pc:sldLayoutMkLst>
            <pc:docMk/>
            <pc:sldMasterMk cId="1902307208" sldId="2147483809"/>
            <pc:sldLayoutMk cId="2090377025" sldId="2147483820"/>
          </pc:sldLayoutMkLst>
        </pc:sldLayoutChg>
      </pc:sldMasterChg>
    </pc:docChg>
  </pc:docChgLst>
  <pc:docChgLst>
    <pc:chgData name="神谷 聖二" userId="S::seiji.kamiya@tk.pacific.co.jp::517b2053-71b1-4492-bbd9-c8e4b39141e4" providerId="AD" clId="Web-{A02C984D-0D1C-ED7B-E875-D996E51A1E0C}"/>
    <pc:docChg chg="modSld">
      <pc:chgData name="神谷 聖二" userId="S::seiji.kamiya@tk.pacific.co.jp::517b2053-71b1-4492-bbd9-c8e4b39141e4" providerId="AD" clId="Web-{A02C984D-0D1C-ED7B-E875-D996E51A1E0C}" dt="2024-07-12T07:41:05.158" v="1" actId="14100"/>
      <pc:docMkLst>
        <pc:docMk/>
      </pc:docMkLst>
      <pc:sldChg chg="modSp">
        <pc:chgData name="神谷 聖二" userId="S::seiji.kamiya@tk.pacific.co.jp::517b2053-71b1-4492-bbd9-c8e4b39141e4" providerId="AD" clId="Web-{A02C984D-0D1C-ED7B-E875-D996E51A1E0C}" dt="2024-07-12T07:39:58.671" v="0" actId="14100"/>
        <pc:sldMkLst>
          <pc:docMk/>
          <pc:sldMk cId="355750652" sldId="2147378708"/>
        </pc:sldMkLst>
        <pc:spChg chg="mod">
          <ac:chgData name="神谷 聖二" userId="S::seiji.kamiya@tk.pacific.co.jp::517b2053-71b1-4492-bbd9-c8e4b39141e4" providerId="AD" clId="Web-{A02C984D-0D1C-ED7B-E875-D996E51A1E0C}" dt="2024-07-12T07:39:58.671" v="0" actId="14100"/>
          <ac:spMkLst>
            <pc:docMk/>
            <pc:sldMk cId="355750652" sldId="2147378708"/>
            <ac:spMk id="6" creationId="{A8716A6B-6EAA-4A8E-9F4B-40B17BD58816}"/>
          </ac:spMkLst>
        </pc:spChg>
      </pc:sldChg>
      <pc:sldChg chg="modSp">
        <pc:chgData name="神谷 聖二" userId="S::seiji.kamiya@tk.pacific.co.jp::517b2053-71b1-4492-bbd9-c8e4b39141e4" providerId="AD" clId="Web-{A02C984D-0D1C-ED7B-E875-D996E51A1E0C}" dt="2024-07-12T07:41:05.158" v="1" actId="14100"/>
        <pc:sldMkLst>
          <pc:docMk/>
          <pc:sldMk cId="3497080636" sldId="2147378710"/>
        </pc:sldMkLst>
        <pc:picChg chg="mod">
          <ac:chgData name="神谷 聖二" userId="S::seiji.kamiya@tk.pacific.co.jp::517b2053-71b1-4492-bbd9-c8e4b39141e4" providerId="AD" clId="Web-{A02C984D-0D1C-ED7B-E875-D996E51A1E0C}" dt="2024-07-12T07:41:05.158" v="1" actId="14100"/>
          <ac:picMkLst>
            <pc:docMk/>
            <pc:sldMk cId="3497080636" sldId="2147378710"/>
            <ac:picMk id="9" creationId="{E49B5309-848C-8288-7894-63BF86CA0951}"/>
          </ac:picMkLst>
        </pc:picChg>
      </pc:sldChg>
    </pc:docChg>
  </pc:docChgLst>
  <pc:docChgLst>
    <pc:chgData name="原田　惇" clId="Web-{2FB82AC1-2591-4DE5-B81B-EA0C2EE1C02E}"/>
    <pc:docChg chg="modSld sldOrd">
      <pc:chgData name="原田　惇" userId="" providerId="" clId="Web-{2FB82AC1-2591-4DE5-B81B-EA0C2EE1C02E}" dt="2024-04-18T06:29:41.553" v="69"/>
      <pc:docMkLst>
        <pc:docMk/>
      </pc:docMkLst>
      <pc:sldChg chg="addSp modSp">
        <pc:chgData name="原田　惇" userId="" providerId="" clId="Web-{2FB82AC1-2591-4DE5-B81B-EA0C2EE1C02E}" dt="2024-04-18T06:28:51.676" v="68" actId="1076"/>
        <pc:sldMkLst>
          <pc:docMk/>
          <pc:sldMk cId="548282329" sldId="2147377940"/>
        </pc:sldMkLst>
        <pc:spChg chg="add mod">
          <ac:chgData name="原田　惇" userId="" providerId="" clId="Web-{2FB82AC1-2591-4DE5-B81B-EA0C2EE1C02E}" dt="2024-04-18T06:28:51.676" v="68" actId="1076"/>
          <ac:spMkLst>
            <pc:docMk/>
            <pc:sldMk cId="548282329" sldId="2147377940"/>
            <ac:spMk id="7" creationId="{1E8DC314-BD13-5E0C-3F6F-B90A2074D664}"/>
          </ac:spMkLst>
        </pc:spChg>
      </pc:sldChg>
      <pc:sldChg chg="ord">
        <pc:chgData name="原田　惇" userId="" providerId="" clId="Web-{2FB82AC1-2591-4DE5-B81B-EA0C2EE1C02E}" dt="2024-04-18T06:29:41.553" v="69"/>
        <pc:sldMkLst>
          <pc:docMk/>
          <pc:sldMk cId="2061620207" sldId="2147378645"/>
        </pc:sldMkLst>
      </pc:sldChg>
      <pc:sldChg chg="modSp">
        <pc:chgData name="原田　惇" userId="" providerId="" clId="Web-{2FB82AC1-2591-4DE5-B81B-EA0C2EE1C02E}" dt="2024-04-18T06:28:38.254" v="67" actId="1076"/>
        <pc:sldMkLst>
          <pc:docMk/>
          <pc:sldMk cId="1541444175" sldId="2147378660"/>
        </pc:sldMkLst>
        <pc:spChg chg="mod">
          <ac:chgData name="原田　惇" userId="" providerId="" clId="Web-{2FB82AC1-2591-4DE5-B81B-EA0C2EE1C02E}" dt="2024-04-18T06:28:38.254" v="67" actId="1076"/>
          <ac:spMkLst>
            <pc:docMk/>
            <pc:sldMk cId="1541444175" sldId="2147378660"/>
            <ac:spMk id="2" creationId="{F94CF494-E0C2-22EA-8AE5-F92FB79F0C3D}"/>
          </ac:spMkLst>
        </pc:spChg>
      </pc:sldChg>
    </pc:docChg>
  </pc:docChgLst>
  <pc:docChgLst>
    <pc:chgData name="Masuda, Akihito" userId="e1ea6b8a-a5ff-4bfd-8576-9598cb6e892c" providerId="ADAL" clId="{A6B3FEFB-7D96-4BDB-87B3-BC7C8C08982D}"/>
    <pc:docChg chg="undo custSel modSld">
      <pc:chgData name="Masuda, Akihito" userId="e1ea6b8a-a5ff-4bfd-8576-9598cb6e892c" providerId="ADAL" clId="{A6B3FEFB-7D96-4BDB-87B3-BC7C8C08982D}" dt="2024-03-23T13:34:23.134" v="9"/>
      <pc:docMkLst>
        <pc:docMk/>
      </pc:docMkLst>
      <pc:sldChg chg="modSp mod">
        <pc:chgData name="Masuda, Akihito" userId="e1ea6b8a-a5ff-4bfd-8576-9598cb6e892c" providerId="ADAL" clId="{A6B3FEFB-7D96-4BDB-87B3-BC7C8C08982D}" dt="2024-03-23T12:58:16.358" v="0" actId="1076"/>
        <pc:sldMkLst>
          <pc:docMk/>
          <pc:sldMk cId="2088699351" sldId="2146847588"/>
        </pc:sldMkLst>
        <pc:spChg chg="mod">
          <ac:chgData name="Masuda, Akihito" userId="e1ea6b8a-a5ff-4bfd-8576-9598cb6e892c" providerId="ADAL" clId="{A6B3FEFB-7D96-4BDB-87B3-BC7C8C08982D}" dt="2024-03-23T12:58:16.358" v="0" actId="1076"/>
          <ac:spMkLst>
            <pc:docMk/>
            <pc:sldMk cId="2088699351" sldId="2146847588"/>
            <ac:spMk id="7" creationId="{F0D8E545-A466-48F4-9272-B878EF0DC16B}"/>
          </ac:spMkLst>
        </pc:spChg>
      </pc:sldChg>
      <pc:sldChg chg="modSp mod">
        <pc:chgData name="Masuda, Akihito" userId="e1ea6b8a-a5ff-4bfd-8576-9598cb6e892c" providerId="ADAL" clId="{A6B3FEFB-7D96-4BDB-87B3-BC7C8C08982D}" dt="2024-03-23T13:34:23.134" v="9"/>
        <pc:sldMkLst>
          <pc:docMk/>
          <pc:sldMk cId="2766274149" sldId="2146847591"/>
        </pc:sldMkLst>
        <pc:spChg chg="mod">
          <ac:chgData name="Masuda, Akihito" userId="e1ea6b8a-a5ff-4bfd-8576-9598cb6e892c" providerId="ADAL" clId="{A6B3FEFB-7D96-4BDB-87B3-BC7C8C08982D}" dt="2024-03-23T13:31:49.511" v="7" actId="1076"/>
          <ac:spMkLst>
            <pc:docMk/>
            <pc:sldMk cId="2766274149" sldId="2146847591"/>
            <ac:spMk id="7" creationId="{F0D8E545-A466-48F4-9272-B878EF0DC16B}"/>
          </ac:spMkLst>
        </pc:spChg>
        <pc:graphicFrameChg chg="mod">
          <ac:chgData name="Masuda, Akihito" userId="e1ea6b8a-a5ff-4bfd-8576-9598cb6e892c" providerId="ADAL" clId="{A6B3FEFB-7D96-4BDB-87B3-BC7C8C08982D}" dt="2024-03-23T13:34:23.134" v="9"/>
          <ac:graphicFrameMkLst>
            <pc:docMk/>
            <pc:sldMk cId="2766274149" sldId="2146847591"/>
            <ac:graphicFrameMk id="5" creationId="{E78F9D36-5310-41D4-8608-5BFFDB0F22CA}"/>
          </ac:graphicFrameMkLst>
        </pc:graphicFrameChg>
      </pc:sldChg>
      <pc:sldChg chg="modSp mod">
        <pc:chgData name="Masuda, Akihito" userId="e1ea6b8a-a5ff-4bfd-8576-9598cb6e892c" providerId="ADAL" clId="{A6B3FEFB-7D96-4BDB-87B3-BC7C8C08982D}" dt="2024-03-23T13:10:15.703" v="4"/>
        <pc:sldMkLst>
          <pc:docMk/>
          <pc:sldMk cId="2852443830" sldId="2147378632"/>
        </pc:sldMkLst>
        <pc:graphicFrameChg chg="mod">
          <ac:chgData name="Masuda, Akihito" userId="e1ea6b8a-a5ff-4bfd-8576-9598cb6e892c" providerId="ADAL" clId="{A6B3FEFB-7D96-4BDB-87B3-BC7C8C08982D}" dt="2024-03-23T13:10:15.703" v="4"/>
          <ac:graphicFrameMkLst>
            <pc:docMk/>
            <pc:sldMk cId="2852443830" sldId="2147378632"/>
            <ac:graphicFrameMk id="5" creationId="{E78F9D36-5310-41D4-8608-5BFFDB0F22CA}"/>
          </ac:graphicFrameMkLst>
        </pc:graphicFrameChg>
      </pc:sldChg>
    </pc:docChg>
  </pc:docChgLst>
</pc:chgInfo>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18831" cy="495029"/>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1"/>
            <a:ext cx="2918831" cy="495029"/>
          </a:xfrm>
          <a:prstGeom prst="rect">
            <a:avLst/>
          </a:prstGeom>
        </p:spPr>
        <p:txBody>
          <a:bodyPr vert="horz" lIns="90644" tIns="45322" rIns="90644" bIns="45322" rtlCol="0"/>
          <a:lstStyle>
            <a:lvl1pPr algn="r">
              <a:defRPr sz="1200"/>
            </a:lvl1pPr>
          </a:lstStyle>
          <a:p>
            <a:fld id="{CAE41466-77DA-46B4-BCF5-532C15AA3816}" type="datetimeFigureOut">
              <a:rPr kumimoji="1" lang="ja-JP" altLang="en-US" smtClean="0"/>
              <a:t>2025/2/9</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44" tIns="45322" rIns="90644" bIns="45322"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44" tIns="45322" rIns="90644" bIns="4532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7"/>
            <a:ext cx="2918831" cy="495028"/>
          </a:xfrm>
          <a:prstGeom prst="rect">
            <a:avLst/>
          </a:prstGeom>
        </p:spPr>
        <p:txBody>
          <a:bodyPr vert="horz" lIns="90644" tIns="45322" rIns="90644" bIns="4532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7"/>
            <a:ext cx="2918831" cy="495028"/>
          </a:xfrm>
          <a:prstGeom prst="rect">
            <a:avLst/>
          </a:prstGeom>
        </p:spPr>
        <p:txBody>
          <a:bodyPr vert="horz" lIns="90644" tIns="45322" rIns="90644" bIns="45322" rtlCol="0" anchor="b"/>
          <a:lstStyle>
            <a:lvl1pPr algn="r">
              <a:defRPr sz="1200"/>
            </a:lvl1pPr>
          </a:lstStyle>
          <a:p>
            <a:fld id="{FAA94981-7388-44D4-BF25-844A6ED5496F}" type="slidenum">
              <a:rPr kumimoji="1" lang="ja-JP" altLang="en-US" smtClean="0"/>
              <a:t>‹#›</a:t>
            </a:fld>
            <a:endParaRPr kumimoji="1" lang="ja-JP" altLang="en-US"/>
          </a:p>
        </p:txBody>
      </p:sp>
    </p:spTree>
    <p:extLst>
      <p:ext uri="{BB962C8B-B14F-4D97-AF65-F5344CB8AC3E}">
        <p14:creationId xmlns:p14="http://schemas.microsoft.com/office/powerpoint/2010/main" val="121415566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5.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6.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7.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a:t>
            </a:fld>
            <a:endParaRPr kumimoji="1" lang="ja-JP" altLang="en-US"/>
          </a:p>
        </p:txBody>
      </p:sp>
    </p:spTree>
    <p:extLst>
      <p:ext uri="{BB962C8B-B14F-4D97-AF65-F5344CB8AC3E}">
        <p14:creationId xmlns:p14="http://schemas.microsoft.com/office/powerpoint/2010/main" val="5547608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6</a:t>
            </a:fld>
            <a:endParaRPr kumimoji="1" lang="ja-JP" altLang="en-US"/>
          </a:p>
        </p:txBody>
      </p:sp>
    </p:spTree>
    <p:extLst>
      <p:ext uri="{BB962C8B-B14F-4D97-AF65-F5344CB8AC3E}">
        <p14:creationId xmlns:p14="http://schemas.microsoft.com/office/powerpoint/2010/main" val="4530334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7</a:t>
            </a:fld>
            <a:endParaRPr kumimoji="1" lang="ja-JP" altLang="en-US"/>
          </a:p>
        </p:txBody>
      </p:sp>
    </p:spTree>
    <p:extLst>
      <p:ext uri="{BB962C8B-B14F-4D97-AF65-F5344CB8AC3E}">
        <p14:creationId xmlns:p14="http://schemas.microsoft.com/office/powerpoint/2010/main" val="4220239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0</a:t>
            </a:fld>
            <a:endParaRPr kumimoji="1" lang="ja-JP" altLang="en-US"/>
          </a:p>
        </p:txBody>
      </p:sp>
    </p:spTree>
    <p:extLst>
      <p:ext uri="{BB962C8B-B14F-4D97-AF65-F5344CB8AC3E}">
        <p14:creationId xmlns:p14="http://schemas.microsoft.com/office/powerpoint/2010/main" val="14430614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4</a:t>
            </a:fld>
            <a:endParaRPr kumimoji="1" lang="ja-JP" altLang="en-US"/>
          </a:p>
        </p:txBody>
      </p:sp>
    </p:spTree>
    <p:extLst>
      <p:ext uri="{BB962C8B-B14F-4D97-AF65-F5344CB8AC3E}">
        <p14:creationId xmlns:p14="http://schemas.microsoft.com/office/powerpoint/2010/main" val="31228519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35</a:t>
            </a:fld>
            <a:endParaRPr kumimoji="1" lang="ja-JP" altLang="en-US"/>
          </a:p>
        </p:txBody>
      </p:sp>
    </p:spTree>
    <p:extLst>
      <p:ext uri="{BB962C8B-B14F-4D97-AF65-F5344CB8AC3E}">
        <p14:creationId xmlns:p14="http://schemas.microsoft.com/office/powerpoint/2010/main" val="37874760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0</a:t>
            </a:fld>
            <a:endParaRPr kumimoji="1" lang="ja-JP" altLang="en-US"/>
          </a:p>
        </p:txBody>
      </p:sp>
    </p:spTree>
    <p:extLst>
      <p:ext uri="{BB962C8B-B14F-4D97-AF65-F5344CB8AC3E}">
        <p14:creationId xmlns:p14="http://schemas.microsoft.com/office/powerpoint/2010/main" val="723426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1</a:t>
            </a:fld>
            <a:endParaRPr kumimoji="1" lang="ja-JP" altLang="en-US"/>
          </a:p>
        </p:txBody>
      </p:sp>
    </p:spTree>
    <p:extLst>
      <p:ext uri="{BB962C8B-B14F-4D97-AF65-F5344CB8AC3E}">
        <p14:creationId xmlns:p14="http://schemas.microsoft.com/office/powerpoint/2010/main" val="36273348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4</a:t>
            </a:fld>
            <a:endParaRPr kumimoji="1" lang="ja-JP" altLang="en-US"/>
          </a:p>
        </p:txBody>
      </p:sp>
    </p:spTree>
    <p:extLst>
      <p:ext uri="{BB962C8B-B14F-4D97-AF65-F5344CB8AC3E}">
        <p14:creationId xmlns:p14="http://schemas.microsoft.com/office/powerpoint/2010/main" val="811860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0</a:t>
            </a:fld>
            <a:endParaRPr kumimoji="1" lang="ja-JP" altLang="en-US"/>
          </a:p>
        </p:txBody>
      </p:sp>
    </p:spTree>
    <p:extLst>
      <p:ext uri="{BB962C8B-B14F-4D97-AF65-F5344CB8AC3E}">
        <p14:creationId xmlns:p14="http://schemas.microsoft.com/office/powerpoint/2010/main" val="251415356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1</a:t>
            </a:fld>
            <a:endParaRPr kumimoji="1" lang="ja-JP" altLang="en-US"/>
          </a:p>
        </p:txBody>
      </p:sp>
    </p:spTree>
    <p:extLst>
      <p:ext uri="{BB962C8B-B14F-4D97-AF65-F5344CB8AC3E}">
        <p14:creationId xmlns:p14="http://schemas.microsoft.com/office/powerpoint/2010/main" val="594363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4</a:t>
            </a:fld>
            <a:endParaRPr kumimoji="1" lang="ja-JP" altLang="en-US"/>
          </a:p>
        </p:txBody>
      </p:sp>
    </p:spTree>
    <p:extLst>
      <p:ext uri="{BB962C8B-B14F-4D97-AF65-F5344CB8AC3E}">
        <p14:creationId xmlns:p14="http://schemas.microsoft.com/office/powerpoint/2010/main" val="850662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2</a:t>
            </a:fld>
            <a:endParaRPr kumimoji="1" lang="ja-JP" altLang="en-US"/>
          </a:p>
        </p:txBody>
      </p:sp>
    </p:spTree>
    <p:extLst>
      <p:ext uri="{BB962C8B-B14F-4D97-AF65-F5344CB8AC3E}">
        <p14:creationId xmlns:p14="http://schemas.microsoft.com/office/powerpoint/2010/main" val="3639628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6</a:t>
            </a:fld>
            <a:endParaRPr kumimoji="1" lang="ja-JP" altLang="en-US"/>
          </a:p>
        </p:txBody>
      </p:sp>
    </p:spTree>
    <p:extLst>
      <p:ext uri="{BB962C8B-B14F-4D97-AF65-F5344CB8AC3E}">
        <p14:creationId xmlns:p14="http://schemas.microsoft.com/office/powerpoint/2010/main" val="24618997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59</a:t>
            </a:fld>
            <a:endParaRPr kumimoji="1" lang="ja-JP" altLang="en-US"/>
          </a:p>
        </p:txBody>
      </p:sp>
    </p:spTree>
    <p:extLst>
      <p:ext uri="{BB962C8B-B14F-4D97-AF65-F5344CB8AC3E}">
        <p14:creationId xmlns:p14="http://schemas.microsoft.com/office/powerpoint/2010/main" val="16395013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0</a:t>
            </a:fld>
            <a:endParaRPr kumimoji="1" lang="ja-JP" altLang="en-US"/>
          </a:p>
        </p:txBody>
      </p:sp>
    </p:spTree>
    <p:extLst>
      <p:ext uri="{BB962C8B-B14F-4D97-AF65-F5344CB8AC3E}">
        <p14:creationId xmlns:p14="http://schemas.microsoft.com/office/powerpoint/2010/main" val="10270489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1</a:t>
            </a:fld>
            <a:endParaRPr kumimoji="1" lang="ja-JP" altLang="en-US"/>
          </a:p>
        </p:txBody>
      </p:sp>
    </p:spTree>
    <p:extLst>
      <p:ext uri="{BB962C8B-B14F-4D97-AF65-F5344CB8AC3E}">
        <p14:creationId xmlns:p14="http://schemas.microsoft.com/office/powerpoint/2010/main" val="1139852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5</a:t>
            </a:fld>
            <a:endParaRPr kumimoji="1" lang="ja-JP" altLang="en-US"/>
          </a:p>
        </p:txBody>
      </p:sp>
    </p:spTree>
    <p:extLst>
      <p:ext uri="{BB962C8B-B14F-4D97-AF65-F5344CB8AC3E}">
        <p14:creationId xmlns:p14="http://schemas.microsoft.com/office/powerpoint/2010/main" val="314182284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6</a:t>
            </a:fld>
            <a:endParaRPr kumimoji="1" lang="ja-JP" altLang="en-US"/>
          </a:p>
        </p:txBody>
      </p:sp>
    </p:spTree>
    <p:extLst>
      <p:ext uri="{BB962C8B-B14F-4D97-AF65-F5344CB8AC3E}">
        <p14:creationId xmlns:p14="http://schemas.microsoft.com/office/powerpoint/2010/main" val="268951827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67</a:t>
            </a:fld>
            <a:endParaRPr kumimoji="1" lang="ja-JP" altLang="en-US"/>
          </a:p>
        </p:txBody>
      </p:sp>
    </p:spTree>
    <p:extLst>
      <p:ext uri="{BB962C8B-B14F-4D97-AF65-F5344CB8AC3E}">
        <p14:creationId xmlns:p14="http://schemas.microsoft.com/office/powerpoint/2010/main" val="3477196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7</a:t>
            </a:fld>
            <a:endParaRPr kumimoji="1" lang="ja-JP" altLang="en-US"/>
          </a:p>
        </p:txBody>
      </p:sp>
    </p:spTree>
    <p:extLst>
      <p:ext uri="{BB962C8B-B14F-4D97-AF65-F5344CB8AC3E}">
        <p14:creationId xmlns:p14="http://schemas.microsoft.com/office/powerpoint/2010/main" val="2697735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0</a:t>
            </a:fld>
            <a:endParaRPr kumimoji="1" lang="ja-JP" altLang="en-US"/>
          </a:p>
        </p:txBody>
      </p:sp>
    </p:spTree>
    <p:extLst>
      <p:ext uri="{BB962C8B-B14F-4D97-AF65-F5344CB8AC3E}">
        <p14:creationId xmlns:p14="http://schemas.microsoft.com/office/powerpoint/2010/main" val="2861286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1</a:t>
            </a:fld>
            <a:endParaRPr kumimoji="1" lang="ja-JP" altLang="en-US"/>
          </a:p>
        </p:txBody>
      </p:sp>
    </p:spTree>
    <p:extLst>
      <p:ext uri="{BB962C8B-B14F-4D97-AF65-F5344CB8AC3E}">
        <p14:creationId xmlns:p14="http://schemas.microsoft.com/office/powerpoint/2010/main" val="940636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2</a:t>
            </a:fld>
            <a:endParaRPr kumimoji="1" lang="ja-JP" altLang="en-US"/>
          </a:p>
        </p:txBody>
      </p:sp>
    </p:spTree>
    <p:extLst>
      <p:ext uri="{BB962C8B-B14F-4D97-AF65-F5344CB8AC3E}">
        <p14:creationId xmlns:p14="http://schemas.microsoft.com/office/powerpoint/2010/main" val="3901734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13</a:t>
            </a:fld>
            <a:endParaRPr kumimoji="1" lang="ja-JP" altLang="en-US"/>
          </a:p>
        </p:txBody>
      </p:sp>
    </p:spTree>
    <p:extLst>
      <p:ext uri="{BB962C8B-B14F-4D97-AF65-F5344CB8AC3E}">
        <p14:creationId xmlns:p14="http://schemas.microsoft.com/office/powerpoint/2010/main" val="3829581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4</a:t>
            </a:fld>
            <a:endParaRPr kumimoji="1" lang="ja-JP" altLang="en-US"/>
          </a:p>
        </p:txBody>
      </p:sp>
    </p:spTree>
    <p:extLst>
      <p:ext uri="{BB962C8B-B14F-4D97-AF65-F5344CB8AC3E}">
        <p14:creationId xmlns:p14="http://schemas.microsoft.com/office/powerpoint/2010/main" val="25622212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FAA94981-7388-44D4-BF25-844A6ED5496F}" type="slidenum">
              <a:rPr kumimoji="1" lang="ja-JP" altLang="en-US" smtClean="0"/>
              <a:t>25</a:t>
            </a:fld>
            <a:endParaRPr kumimoji="1" lang="ja-JP" altLang="en-US"/>
          </a:p>
        </p:txBody>
      </p:sp>
    </p:spTree>
    <p:extLst>
      <p:ext uri="{BB962C8B-B14F-4D97-AF65-F5344CB8AC3E}">
        <p14:creationId xmlns:p14="http://schemas.microsoft.com/office/powerpoint/2010/main" val="2810477889"/>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4.xml" Type="http://schemas.openxmlformats.org/officeDocument/2006/relationships/tags"/><Relationship Id="rId2" Target="../tags/tag5.xml" Type="http://schemas.openxmlformats.org/officeDocument/2006/relationships/tags"/><Relationship Id="rId3" Target="../slideMasters/slideMaster1.xml" Type="http://schemas.openxmlformats.org/officeDocument/2006/relationships/slideMaster"/><Relationship Id="rId4" Target="../embeddings/oleObject3.bin" Type="http://schemas.openxmlformats.org/officeDocument/2006/relationships/oleObject"/><Relationship Id="rId5" Target="../media/image6.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1"/>
            </p:custDataLst>
            <p:extLst>
              <p:ext uri="{D42A27DB-BD31-4B8C-83A1-F6EECF244321}">
                <p14:modId xmlns:p14="http://schemas.microsoft.com/office/powerpoint/2010/main" val="1452054197"/>
              </p:ext>
            </p:extLst>
          </p:nvPr>
        </p:nvGraphicFramePr>
        <p:xfrm>
          <a:off x="1" y="3"/>
          <a:ext cx="211666" cy="158751"/>
        </p:xfrm>
        <a:graphic>
          <a:graphicData uri="http://schemas.openxmlformats.org/presentationml/2006/ole">
            <mc:AlternateContent xmlns:mc="http://schemas.openxmlformats.org/markup-compatibility/2006">
              <mc:Choice xmlns:v="urn:schemas-microsoft-com:vml" Requires="v">
                <p:oleObj name="think-cell スライド" r:id="rId3" imgW="0" imgH="0" progId="TCLayout.ActiveDocument.1">
                  <p:embed/>
                </p:oleObj>
              </mc:Choice>
              <mc:Fallback>
                <p:oleObj name="think-cell スライド" r:id="rId3"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3"/>
                        <a:ext cx="211666" cy="158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23" name="Text Placeholder 32"/>
          <p:cNvSpPr>
            <a:spLocks noGrp="1"/>
          </p:cNvSpPr>
          <p:nvPr>
            <p:ph type="body" sz="quarter" idx="10" hasCustomPrompt="1"/>
          </p:nvPr>
        </p:nvSpPr>
        <p:spPr>
          <a:xfrm>
            <a:off x="4798549" y="429309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18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t>2023/MM/DD</a:t>
            </a:r>
          </a:p>
        </p:txBody>
      </p:sp>
      <p:sp>
        <p:nvSpPr>
          <p:cNvPr id="24" name="Title 1"/>
          <p:cNvSpPr>
            <a:spLocks noGrp="1"/>
          </p:cNvSpPr>
          <p:nvPr>
            <p:ph type="ctrTitle" hasCustomPrompt="1"/>
          </p:nvPr>
        </p:nvSpPr>
        <p:spPr>
          <a:xfrm>
            <a:off x="767408" y="1498110"/>
            <a:ext cx="10657184" cy="1867389"/>
          </a:xfrm>
          <a:prstGeom prst="rect">
            <a:avLst/>
          </a:prstGeom>
        </p:spPr>
        <p:txBody>
          <a:bodyPr vert="horz" lIns="0" tIns="0" anchor="ctr" anchorCtr="0">
            <a:noAutofit/>
          </a:bodyPr>
          <a:lstStyle>
            <a:lvl1pPr marL="0" indent="0" algn="l" rtl="0" eaLnBrk="1" fontAlgn="base" hangingPunct="1">
              <a:lnSpc>
                <a:spcPct val="100000"/>
              </a:lnSpc>
              <a:spcBef>
                <a:spcPct val="0"/>
              </a:spcBef>
              <a:spcAft>
                <a:spcPts val="0"/>
              </a:spcAft>
              <a:buFont typeface="Arial" charset="0"/>
              <a:buNone/>
              <a:defRPr kumimoji="1" lang="en-GB" sz="2400" b="1" kern="1200" spc="0" baseline="0" dirty="0">
                <a:solidFill>
                  <a:schemeClr val="tx1"/>
                </a:solidFill>
                <a:latin typeface="+mj-lt"/>
                <a:ea typeface="+mn-ea"/>
                <a:cs typeface="Arial" pitchFamily="34" charset="0"/>
              </a:defRPr>
            </a:lvl1pPr>
          </a:lstStyle>
          <a:p>
            <a:pPr marL="0" lvl="0" indent="0" algn="l" rtl="0" eaLnBrk="1" fontAlgn="base" hangingPunct="1">
              <a:lnSpc>
                <a:spcPct val="100000"/>
              </a:lnSpc>
              <a:spcBef>
                <a:spcPct val="0"/>
              </a:spcBef>
              <a:spcAft>
                <a:spcPts val="0"/>
              </a:spcAft>
              <a:buFont typeface="Arial" charset="0"/>
              <a:buNone/>
            </a:pPr>
            <a:r>
              <a:rPr lang="en-US" altLang="ja-JP"/>
              <a:t>FY2024 </a:t>
            </a:r>
            <a:r>
              <a:rPr lang="ja-JP" altLang="en-US"/>
              <a:t>日本版</a:t>
            </a:r>
            <a:r>
              <a:rPr lang="en-US" altLang="ja-JP" err="1"/>
              <a:t>MaaS</a:t>
            </a:r>
            <a:r>
              <a:rPr lang="ja-JP" altLang="en-US"/>
              <a:t>推進・支援事業</a:t>
            </a:r>
            <a:br>
              <a:rPr lang="en-US" altLang="ja-JP"/>
            </a:br>
            <a:r>
              <a:rPr lang="en-US" altLang="ja-JP"/>
              <a:t>【</a:t>
            </a:r>
            <a:r>
              <a:rPr lang="ja-JP" altLang="en-US"/>
              <a:t>プロジェクト名</a:t>
            </a:r>
            <a:r>
              <a:rPr lang="en-US" altLang="ja-JP"/>
              <a:t>】</a:t>
            </a:r>
            <a:br>
              <a:rPr lang="en-US" altLang="ja-JP"/>
            </a:br>
            <a:br>
              <a:rPr lang="en-US" altLang="ja-JP"/>
            </a:br>
            <a:r>
              <a:rPr lang="ja-JP" altLang="en-US"/>
              <a:t>業務実施計画書</a:t>
            </a:r>
            <a:endParaRPr lang="en-GB"/>
          </a:p>
        </p:txBody>
      </p:sp>
      <p:sp>
        <p:nvSpPr>
          <p:cNvPr id="25" name="Text Placeholder 32"/>
          <p:cNvSpPr>
            <a:spLocks noGrp="1"/>
          </p:cNvSpPr>
          <p:nvPr>
            <p:ph type="body" sz="quarter" idx="12" hasCustomPrompt="1"/>
          </p:nvPr>
        </p:nvSpPr>
        <p:spPr>
          <a:xfrm>
            <a:off x="4798549" y="489232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ltLang="ja-JP"/>
              <a:t>※</a:t>
            </a:r>
            <a:r>
              <a:rPr lang="ja-JP" altLang="en-US"/>
              <a:t>実施企業名 </a:t>
            </a:r>
            <a:r>
              <a:rPr lang="en-US" altLang="ja-JP"/>
              <a:t>or JV</a:t>
            </a:r>
            <a:r>
              <a:rPr lang="ja-JP" altLang="en-US"/>
              <a:t>名</a:t>
            </a:r>
            <a:endParaRPr lang="en-US"/>
          </a:p>
        </p:txBody>
      </p:sp>
      <p:sp>
        <p:nvSpPr>
          <p:cNvPr id="2" name="テキスト ボックス 1">
            <a:extLst>
              <a:ext uri="{FF2B5EF4-FFF2-40B4-BE49-F238E27FC236}">
                <a16:creationId xmlns:a16="http://schemas.microsoft.com/office/drawing/2014/main" id="{A3FB6309-E751-E5DF-C7C2-D7D80856905C}"/>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3" name="図 2">
            <a:extLst>
              <a:ext uri="{FF2B5EF4-FFF2-40B4-BE49-F238E27FC236}">
                <a16:creationId xmlns:a16="http://schemas.microsoft.com/office/drawing/2014/main" id="{98005F8C-E287-4376-1BEE-6B296973F65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91536866"/>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17826CC-B2A5-429D-07C7-0476B4A427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コンテンツ プレースホルダ 2">
            <a:extLst>
              <a:ext uri="{FF2B5EF4-FFF2-40B4-BE49-F238E27FC236}">
                <a16:creationId xmlns:a16="http://schemas.microsoft.com/office/drawing/2014/main" id="{CF473317-4BD6-3380-2257-DAA411031904}"/>
              </a:ext>
            </a:extLst>
          </p:cNvPr>
          <p:cNvSpPr>
            <a:spLocks noGrp="1"/>
          </p:cNvSpPr>
          <p:nvPr>
            <p:ph idx="1"/>
          </p:nvPr>
        </p:nvSpPr>
        <p:spPr>
          <a:xfrm>
            <a:off x="292100" y="764704"/>
            <a:ext cx="11595100" cy="5712296"/>
          </a:xfrm>
          <a:prstGeom prst="rect">
            <a:avLst/>
          </a:prstGeom>
        </p:spPr>
        <p:txBody>
          <a:bodyPr/>
          <a:lstStyle>
            <a:lvl1pPr>
              <a:defRPr sz="1200">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182247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4"/>
          <a:stretch>
            <a:fillRect/>
          </a:stretch>
        </p:blipFill>
        <p:spPr>
          <a:xfrm>
            <a:off x="4800495" y="3142463"/>
            <a:ext cx="2365453" cy="573074"/>
          </a:xfrm>
          <a:prstGeom prst="rect">
            <a:avLst/>
          </a:prstGeom>
        </p:spPr>
      </p:pic>
    </p:spTree>
    <p:extLst>
      <p:ext uri="{BB962C8B-B14F-4D97-AF65-F5344CB8AC3E}">
        <p14:creationId xmlns:p14="http://schemas.microsoft.com/office/powerpoint/2010/main" val="3540882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Subhead (top) and Subtitle">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09345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215626"/>
            <a:ext cx="11376000" cy="415498"/>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2400" b="1">
                <a:solidFill>
                  <a:schemeClr val="bg1">
                    <a:lumMod val="50000"/>
                  </a:schemeClr>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655357"/>
            <a:ext cx="11376000" cy="432000"/>
          </a:xfrm>
          <a:prstGeom prst="rect">
            <a:avLst/>
          </a:prstGeom>
        </p:spPr>
        <p:txBody>
          <a:bodyPr vert="horz" anchor="ctr"/>
          <a:lstStyle>
            <a:lvl1pPr>
              <a:lnSpc>
                <a:spcPct val="80000"/>
              </a:lnSpc>
              <a:defRPr sz="3200" b="1">
                <a:solidFill>
                  <a:schemeClr val="tx1"/>
                </a:solidFill>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7" name="テキスト ボックス 6">
            <a:extLst>
              <a:ext uri="{FF2B5EF4-FFF2-40B4-BE49-F238E27FC236}">
                <a16:creationId xmlns:a16="http://schemas.microsoft.com/office/drawing/2014/main" id="{0C6B6BC9-2B8A-45A2-ABFD-3C7DD87E6848}"/>
              </a:ext>
            </a:extLst>
          </p:cNvPr>
          <p:cNvSpPr txBox="1"/>
          <p:nvPr userDrawn="1"/>
        </p:nvSpPr>
        <p:spPr>
          <a:xfrm>
            <a:off x="11801835" y="6623715"/>
            <a:ext cx="287506" cy="226591"/>
          </a:xfrm>
          <a:prstGeom prst="rect">
            <a:avLst/>
          </a:prstGeom>
          <a:noFill/>
        </p:spPr>
        <p:txBody>
          <a:bodyPr wrap="none" lIns="36000" tIns="36000" rIns="36000" bIns="36000" rtlCol="0">
            <a:spAutoFit/>
          </a:bodyPr>
          <a:lstStyle/>
          <a:p>
            <a:pPr algn="ctr"/>
            <a:fld id="{989496C2-B50A-F244-A0A1-E3849033C8B1}" type="slidenum">
              <a:rPr lang="en-GB" altLang="ja-JP" sz="1000" smtClean="0">
                <a:solidFill>
                  <a:schemeClr val="bg1">
                    <a:lumMod val="50000"/>
                  </a:schemeClr>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1" lang="ja-JP" altLang="en-US" sz="1000" i="1">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0344041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theme/theme1.xml" Type="http://schemas.openxmlformats.org/officeDocument/2006/relationships/theme"/><Relationship Id="rId6" Target="../tags/tag2.xml" Type="http://schemas.openxmlformats.org/officeDocument/2006/relationships/tags"/><Relationship Id="rId7" Target="../embeddings/oleObject1.bin" Type="http://schemas.openxmlformats.org/officeDocument/2006/relationships/oleObject"/><Relationship Id="rId8" Target="../media/image1.emf" Type="http://schemas.openxmlformats.org/officeDocument/2006/relationships/image"/><Relationship Id="rId9" Target="../media/image2.png"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7D6AE8-0AE8-AE92-3DEF-3A63419E8C47}"/>
              </a:ext>
            </a:extLst>
          </p:cNvPr>
          <p:cNvGraphicFramePr>
            <a:graphicFrameLocks noChangeAspect="1"/>
          </p:cNvGraphicFramePr>
          <p:nvPr userDrawn="1">
            <p:custDataLst>
              <p:tags r:id="rId6"/>
            </p:custDataLst>
            <p:extLst>
              <p:ext uri="{D42A27DB-BD31-4B8C-83A1-F6EECF244321}">
                <p14:modId xmlns:p14="http://schemas.microsoft.com/office/powerpoint/2010/main" val="368171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08" imgH="408" progId="TCLayout.ActiveDocument.1">
                  <p:embed/>
                </p:oleObj>
              </mc:Choice>
              <mc:Fallback>
                <p:oleObj name="think-cell スライド" r:id="rId7" imgW="408" imgH="408" progId="TCLayout.ActiveDocument.1">
                  <p:embed/>
                  <p:pic>
                    <p:nvPicPr>
                      <p:cNvPr id="2" name="think-cell data - do not delete" hidden="1">
                        <a:extLst>
                          <a:ext uri="{FF2B5EF4-FFF2-40B4-BE49-F238E27FC236}">
                            <a16:creationId xmlns:a16="http://schemas.microsoft.com/office/drawing/2014/main" id="{FD7D6AE8-0AE8-AE92-3DEF-3A63419E8C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38" name="テキスト プレースホルダー 37">
            <a:extLst>
              <a:ext uri="{FF2B5EF4-FFF2-40B4-BE49-F238E27FC236}">
                <a16:creationId xmlns:a16="http://schemas.microsoft.com/office/drawing/2014/main" id="{1ECE4958-08A0-BD8D-7D5D-D4A7BB6A39C6}"/>
              </a:ext>
            </a:extLst>
          </p:cNvPr>
          <p:cNvSpPr>
            <a:spLocks noGrp="1"/>
          </p:cNvSpPr>
          <p:nvPr>
            <p:ph type="body" idx="1"/>
          </p:nvPr>
        </p:nvSpPr>
        <p:spPr>
          <a:xfrm>
            <a:off x="292100" y="2133600"/>
            <a:ext cx="11595100" cy="4343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テキスト ボックス 2">
            <a:extLst>
              <a:ext uri="{FF2B5EF4-FFF2-40B4-BE49-F238E27FC236}">
                <a16:creationId xmlns:a16="http://schemas.microsoft.com/office/drawing/2014/main" id="{87D0FF6D-A520-87F6-851A-32670B6B9442}"/>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4" name="図 3">
            <a:extLst>
              <a:ext uri="{FF2B5EF4-FFF2-40B4-BE49-F238E27FC236}">
                <a16:creationId xmlns:a16="http://schemas.microsoft.com/office/drawing/2014/main" id="{C12C3DD6-97B4-BE5F-B436-9C7F3023ECB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162003807"/>
      </p:ext>
    </p:extLst>
  </p:cSld>
  <p:clrMap bg1="lt1" tx1="dk1" bg2="lt2" tx2="dk2" accent1="accent1" accent2="accent2" accent3="accent3" accent4="accent4" accent5="accent5" accent6="accent6" hlink="hlink" folHlink="folHlink"/>
  <p:sldLayoutIdLst>
    <p:sldLayoutId id="2147483756" r:id="rId1"/>
    <p:sldLayoutId id="2147483759" r:id="rId2"/>
    <p:sldLayoutId id="2147483760" r:id="rId3"/>
    <p:sldLayoutId id="2147483761" r:id="rId4"/>
  </p:sldLayoutIdLst>
  <p:hf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F26B43"/>
          </p15:clr>
        </p15:guide>
        <p15:guide id="2" pos="179">
          <p15:clr>
            <a:srgbClr val="F26B43"/>
          </p15:clr>
        </p15:guide>
        <p15:guide id="3" pos="7494">
          <p15:clr>
            <a:srgbClr val="F26B43"/>
          </p15:clr>
        </p15:guide>
        <p15:guide id="4" orient="horz" pos="4090">
          <p15:clr>
            <a:srgbClr val="F26B43"/>
          </p15:clr>
        </p15:guide>
      </p15:sldGuideLst>
    </p:ext>
  </p:extLst>
</p:sldMaster>
</file>

<file path=ppt/slides/_rels/slide1.xml.rels><?xml version="1.0" encoding="UTF-8" standalone="yes"?><Relationships xmlns="http://schemas.openxmlformats.org/package/2006/relationships"><Relationship Id="rId1" Target="../tags/tag6.xml" Type="http://schemas.openxmlformats.org/officeDocument/2006/relationships/tags"/><Relationship Id="rId2" Target="../slideLayouts/slideLayout1.xml" Type="http://schemas.openxmlformats.org/officeDocument/2006/relationships/slideLayout"/><Relationship Id="rId3" Target="../embeddings/oleObject4.bin" Type="http://schemas.openxmlformats.org/officeDocument/2006/relationships/oleObject"/><Relationship Id="rId4" Target="../media/image7.emf" Type="http://schemas.openxmlformats.org/officeDocument/2006/relationships/image"/></Relationships>
</file>

<file path=ppt/slides/_rels/slide10.xml.rels><?xml version="1.0" encoding="UTF-8" standalone="yes"?><Relationships xmlns="http://schemas.openxmlformats.org/package/2006/relationships"><Relationship Id="rId1" Target="../tags/tag15.xml" Type="http://schemas.openxmlformats.org/officeDocument/2006/relationships/tags"/><Relationship Id="rId2" Target="../slideLayouts/slideLayout4.xml" Type="http://schemas.openxmlformats.org/officeDocument/2006/relationships/slideLayout"/><Relationship Id="rId3" Target="../notesSlides/notesSlide4.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1.xml.rels><?xml version="1.0" encoding="UTF-8" standalone="yes"?><Relationships xmlns="http://schemas.openxmlformats.org/package/2006/relationships"><Relationship Id="rId1" Target="../tags/tag16.xml" Type="http://schemas.openxmlformats.org/officeDocument/2006/relationships/tags"/><Relationship Id="rId2" Target="../slideLayouts/slideLayout4.xml" Type="http://schemas.openxmlformats.org/officeDocument/2006/relationships/slideLayout"/><Relationship Id="rId3" Target="../notesSlides/notesSlide5.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2.xml.rels><?xml version="1.0" encoding="UTF-8" standalone="yes"?><Relationships xmlns="http://schemas.openxmlformats.org/package/2006/relationships"><Relationship Id="rId1" Target="../tags/tag17.xml" Type="http://schemas.openxmlformats.org/officeDocument/2006/relationships/tags"/><Relationship Id="rId2" Target="../slideLayouts/slideLayout4.xml" Type="http://schemas.openxmlformats.org/officeDocument/2006/relationships/slideLayout"/><Relationship Id="rId3" Target="../notesSlides/notesSlide6.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13.xml.rels><?xml version="1.0" encoding="UTF-8" standalone="yes"?><Relationships xmlns="http://schemas.openxmlformats.org/package/2006/relationships"><Relationship Id="rId1" Target="../tags/tag18.xml" Type="http://schemas.openxmlformats.org/officeDocument/2006/relationships/tags"/><Relationship Id="rId2" Target="../slideLayouts/slideLayout4.xml" Type="http://schemas.openxmlformats.org/officeDocument/2006/relationships/slideLayout"/><Relationship Id="rId3" Target="../notesSlides/notesSlide7.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14.xml.rels><?xml version="1.0" encoding="UTF-8" standalone="yes"?><Relationships xmlns="http://schemas.openxmlformats.org/package/2006/relationships"><Relationship Id="rId1" Target="../tags/tag19.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5.xml.rels><?xml version="1.0" encoding="UTF-8" standalone="yes"?><Relationships xmlns="http://schemas.openxmlformats.org/package/2006/relationships"><Relationship Id="rId1" Target="../tags/tag20.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6.xml.rels><?xml version="1.0" encoding="UTF-8" standalone="yes"?><Relationships xmlns="http://schemas.openxmlformats.org/package/2006/relationships"><Relationship Id="rId1" Target="../tags/tag2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7.xml.rels><?xml version="1.0" encoding="UTF-8" standalone="yes"?><Relationships xmlns="http://schemas.openxmlformats.org/package/2006/relationships"><Relationship Id="rId1" Target="../tags/tag2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8.xml.rels><?xml version="1.0" encoding="UTF-8" standalone="yes"?><Relationships xmlns="http://schemas.openxmlformats.org/package/2006/relationships"><Relationship Id="rId1" Target="../tags/tag23.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19.xml.rels><?xml version="1.0" encoding="UTF-8" standalone="yes"?><Relationships xmlns="http://schemas.openxmlformats.org/package/2006/relationships"><Relationship Id="rId1" Target="../tags/tag2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xml.rels><?xml version="1.0" encoding="UTF-8" standalone="yes"?><Relationships xmlns="http://schemas.openxmlformats.org/package/2006/relationships"><Relationship Id="rId1" Target="../tags/tag7.xml" Type="http://schemas.openxmlformats.org/officeDocument/2006/relationships/tags"/><Relationship Id="rId2" Target="../slideLayouts/slideLayout4.xml" Type="http://schemas.openxmlformats.org/officeDocument/2006/relationships/slideLayout"/><Relationship Id="rId3" Target="../embeddings/oleObject5.bin" Type="http://schemas.openxmlformats.org/officeDocument/2006/relationships/oleObject"/><Relationship Id="rId4" Target="../media/image8.emf" Type="http://schemas.openxmlformats.org/officeDocument/2006/relationships/image"/></Relationships>
</file>

<file path=ppt/slides/_rels/slide20.xml.rels><?xml version="1.0" encoding="UTF-8" standalone="yes"?><Relationships xmlns="http://schemas.openxmlformats.org/package/2006/relationships"><Relationship Id="rId1" Target="../tags/tag25.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1.xml.rels><?xml version="1.0" encoding="UTF-8" standalone="yes"?><Relationships xmlns="http://schemas.openxmlformats.org/package/2006/relationships"><Relationship Id="rId1" Target="../tags/tag26.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2.xml.rels><?xml version="1.0" encoding="UTF-8" standalone="yes"?><Relationships xmlns="http://schemas.openxmlformats.org/package/2006/relationships"><Relationship Id="rId1" Target="../tags/tag27.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3.xml.rels><?xml version="1.0" encoding="UTF-8" standalone="yes"?><Relationships xmlns="http://schemas.openxmlformats.org/package/2006/relationships"><Relationship Id="rId1" Target="../tags/tag28.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24.xml.rels><?xml version="1.0" encoding="UTF-8" standalone="yes"?><Relationships xmlns="http://schemas.openxmlformats.org/package/2006/relationships"><Relationship Id="rId1" Target="../tags/tag29.xml" Type="http://schemas.openxmlformats.org/officeDocument/2006/relationships/tags"/><Relationship Id="rId2" Target="../slideLayouts/slideLayout4.xml" Type="http://schemas.openxmlformats.org/officeDocument/2006/relationships/slideLayout"/><Relationship Id="rId3" Target="../notesSlides/notesSlide8.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25.xml.rels><?xml version="1.0" encoding="UTF-8" standalone="yes"?><Relationships xmlns="http://schemas.openxmlformats.org/package/2006/relationships"><Relationship Id="rId1" Target="../tags/tag30.xml" Type="http://schemas.openxmlformats.org/officeDocument/2006/relationships/tags"/><Relationship Id="rId2" Target="../slideLayouts/slideLayout4.xml" Type="http://schemas.openxmlformats.org/officeDocument/2006/relationships/slideLayout"/><Relationship Id="rId3" Target="../notesSlides/notesSlide9.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26.xml.rels><?xml version="1.0" encoding="UTF-8" standalone="yes"?><Relationships xmlns="http://schemas.openxmlformats.org/package/2006/relationships"><Relationship Id="rId1" Target="../tags/tag31.xml" Type="http://schemas.openxmlformats.org/officeDocument/2006/relationships/tags"/><Relationship Id="rId2" Target="../slideLayouts/slideLayout4.xml" Type="http://schemas.openxmlformats.org/officeDocument/2006/relationships/slideLayout"/><Relationship Id="rId3" Target="../notesSlides/notesSlide10.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27.xml.rels><?xml version="1.0" encoding="UTF-8" standalone="yes"?><Relationships xmlns="http://schemas.openxmlformats.org/package/2006/relationships"><Relationship Id="rId1" Target="../tags/tag32.xml" Type="http://schemas.openxmlformats.org/officeDocument/2006/relationships/tags"/><Relationship Id="rId2" Target="../slideLayouts/slideLayout4.xml" Type="http://schemas.openxmlformats.org/officeDocument/2006/relationships/slideLayout"/><Relationship Id="rId3" Target="../notesSlides/notesSlide11.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 Id="rId6" Target="../media/image27.png" Type="http://schemas.openxmlformats.org/officeDocument/2006/relationships/image"/></Relationships>
</file>

<file path=ppt/slides/_rels/slide28.xml.rels><?xml version="1.0" encoding="UTF-8" standalone="yes"?><Relationships xmlns="http://schemas.openxmlformats.org/package/2006/relationships"><Relationship Id="rId1" Target="../tags/tag33.xml" Type="http://schemas.openxmlformats.org/officeDocument/2006/relationships/tags"/><Relationship Id="rId2" Target="../slideLayouts/slideLayout4.xml" Type="http://schemas.openxmlformats.org/officeDocument/2006/relationships/slideLayout"/><Relationship Id="rId3" Target="../media/image28.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 Id="rId6" Target="../media/image29.png" Type="http://schemas.openxmlformats.org/officeDocument/2006/relationships/image"/><Relationship Id="rId7" Target="../media/image30.svg" Type="http://schemas.openxmlformats.org/officeDocument/2006/relationships/image"/><Relationship Id="rId8" Target="../media/image31.png" Type="http://schemas.openxmlformats.org/officeDocument/2006/relationships/image"/><Relationship Id="rId9" Target="../media/image32.svg" Type="http://schemas.openxmlformats.org/officeDocument/2006/relationships/image"/></Relationships>
</file>

<file path=ppt/slides/_rels/slide29.xml.rels><?xml version="1.0" encoding="UTF-8" standalone="yes"?><Relationships xmlns="http://schemas.openxmlformats.org/package/2006/relationships"><Relationship Id="rId1" Target="../tags/tag34.xml" Type="http://schemas.openxmlformats.org/officeDocument/2006/relationships/tags"/><Relationship Id="rId2" Target="../slideLayouts/slideLayout4.xml" Type="http://schemas.openxmlformats.org/officeDocument/2006/relationships/slideLayout"/><Relationship Id="rId3" Target="../media/image33.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s>
</file>

<file path=ppt/slides/_rels/slide3.xml.rels><?xml version="1.0" encoding="UTF-8" standalone="yes"?><Relationships xmlns="http://schemas.openxmlformats.org/package/2006/relationships"><Relationship Id="rId1" Target="../tags/tag8.xml" Type="http://schemas.openxmlformats.org/officeDocument/2006/relationships/tags"/><Relationship Id="rId2" Target="../slideLayouts/slideLayout4.xml" Type="http://schemas.openxmlformats.org/officeDocument/2006/relationships/slideLayout"/><Relationship Id="rId3" Target="../notesSlides/notesSlide1.xml" Type="http://schemas.openxmlformats.org/officeDocument/2006/relationships/notesSlide"/><Relationship Id="rId4" Target="../embeddings/oleObject5.bin" Type="http://schemas.openxmlformats.org/officeDocument/2006/relationships/oleObject"/><Relationship Id="rId5" Target="../media/image8.emf" Type="http://schemas.openxmlformats.org/officeDocument/2006/relationships/image"/></Relationships>
</file>

<file path=ppt/slides/_rels/slide30.xml.rels><?xml version="1.0" encoding="UTF-8" standalone="yes"?><Relationships xmlns="http://schemas.openxmlformats.org/package/2006/relationships"><Relationship Id="rId1" Target="../tags/tag35.xml" Type="http://schemas.openxmlformats.org/officeDocument/2006/relationships/tags"/><Relationship Id="rId2" Target="../slideLayouts/slideLayout4.xml" Type="http://schemas.openxmlformats.org/officeDocument/2006/relationships/slideLayout"/><Relationship Id="rId3" Target="../notesSlides/notesSlide12.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31.xml.rels><?xml version="1.0" encoding="UTF-8" standalone="yes"?><Relationships xmlns="http://schemas.openxmlformats.org/package/2006/relationships"><Relationship Id="rId1" Target="../tags/tag36.xml" Type="http://schemas.openxmlformats.org/officeDocument/2006/relationships/tags"/><Relationship Id="rId2" Target="../slideLayouts/slideLayout4.xml" Type="http://schemas.openxmlformats.org/officeDocument/2006/relationships/slideLayout"/><Relationship Id="rId3" Target="../media/image34.png" Type="http://schemas.openxmlformats.org/officeDocument/2006/relationships/image"/><Relationship Id="rId4" Target="../embeddings/oleObject7.bin" Type="http://schemas.openxmlformats.org/officeDocument/2006/relationships/oleObject"/><Relationship Id="rId5" Target="../media/image35.emf" Type="http://schemas.openxmlformats.org/officeDocument/2006/relationships/image"/></Relationships>
</file>

<file path=ppt/slides/_rels/slide32.xml.rels><?xml version="1.0" encoding="UTF-8" standalone="yes"?><Relationships xmlns="http://schemas.openxmlformats.org/package/2006/relationships"><Relationship Id="rId1" Target="../tags/tag37.xml" Type="http://schemas.openxmlformats.org/officeDocument/2006/relationships/tags"/><Relationship Id="rId2" Target="../slideLayouts/slideLayout4.xml" Type="http://schemas.openxmlformats.org/officeDocument/2006/relationships/slideLayout"/><Relationship Id="rId3" Target="../embeddings/oleObject7.bin" Type="http://schemas.openxmlformats.org/officeDocument/2006/relationships/oleObject"/><Relationship Id="rId4" Target="../media/image35.emf" Type="http://schemas.openxmlformats.org/officeDocument/2006/relationships/image"/></Relationships>
</file>

<file path=ppt/slides/_rels/slide33.xml.rels><?xml version="1.0" encoding="UTF-8" standalone="yes"?><Relationships xmlns="http://schemas.openxmlformats.org/package/2006/relationships"><Relationship Id="rId1" Target="../tags/tag38.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34.xml.rels><?xml version="1.0" encoding="UTF-8" standalone="yes"?><Relationships xmlns="http://schemas.openxmlformats.org/package/2006/relationships"><Relationship Id="rId1" Target="../tags/tag39.xml" Type="http://schemas.openxmlformats.org/officeDocument/2006/relationships/tags"/><Relationship Id="rId2" Target="../slideLayouts/slideLayout4.xml" Type="http://schemas.openxmlformats.org/officeDocument/2006/relationships/slideLayout"/><Relationship Id="rId3" Target="../notesSlides/notesSlide13.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35.xml.rels><?xml version="1.0" encoding="UTF-8" standalone="yes"?><Relationships xmlns="http://schemas.openxmlformats.org/package/2006/relationships"><Relationship Id="rId1" Target="../tags/tag40.xml" Type="http://schemas.openxmlformats.org/officeDocument/2006/relationships/tags"/><Relationship Id="rId2" Target="../slideLayouts/slideLayout4.xml" Type="http://schemas.openxmlformats.org/officeDocument/2006/relationships/slideLayout"/><Relationship Id="rId3" Target="../notesSlides/notesSlide14.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36.xml.rels><?xml version="1.0" encoding="UTF-8" standalone="yes"?><Relationships xmlns="http://schemas.openxmlformats.org/package/2006/relationships"><Relationship Id="rId1" Target="../tags/tag4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37.xml.rels><?xml version="1.0" encoding="UTF-8" standalone="yes"?><Relationships xmlns="http://schemas.openxmlformats.org/package/2006/relationships"><Relationship Id="rId1" Target="../tags/tag4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38.xml.rels><?xml version="1.0" encoding="UTF-8" standalone="yes"?><Relationships xmlns="http://schemas.openxmlformats.org/package/2006/relationships"><Relationship Id="rId1" Target="../tags/tag43.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39.xml.rels><?xml version="1.0" encoding="UTF-8" standalone="yes"?><Relationships xmlns="http://schemas.openxmlformats.org/package/2006/relationships"><Relationship Id="rId1" Target="../tags/tag4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xml.rels><?xml version="1.0" encoding="UTF-8" standalone="yes"?><Relationships xmlns="http://schemas.openxmlformats.org/package/2006/relationships"><Relationship Id="rId1" Target="../tags/tag9.xml" Type="http://schemas.openxmlformats.org/officeDocument/2006/relationships/tags"/><Relationship Id="rId2" Target="../slideLayouts/slideLayout4.xml" Type="http://schemas.openxmlformats.org/officeDocument/2006/relationships/slideLayout"/><Relationship Id="rId3" Target="../notesSlides/notesSlide2.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40.xml.rels><?xml version="1.0" encoding="UTF-8" standalone="yes"?><Relationships xmlns="http://schemas.openxmlformats.org/package/2006/relationships"><Relationship Id="rId1" Target="../tags/tag45.xml" Type="http://schemas.openxmlformats.org/officeDocument/2006/relationships/tags"/><Relationship Id="rId2" Target="../slideLayouts/slideLayout4.xml" Type="http://schemas.openxmlformats.org/officeDocument/2006/relationships/slideLayout"/><Relationship Id="rId3" Target="../notesSlides/notesSlide15.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41.xml.rels><?xml version="1.0" encoding="UTF-8" standalone="yes"?><Relationships xmlns="http://schemas.openxmlformats.org/package/2006/relationships"><Relationship Id="rId1" Target="../tags/tag46.xml" Type="http://schemas.openxmlformats.org/officeDocument/2006/relationships/tags"/><Relationship Id="rId2" Target="../slideLayouts/slideLayout4.xml" Type="http://schemas.openxmlformats.org/officeDocument/2006/relationships/slideLayout"/><Relationship Id="rId3" Target="../notesSlides/notesSlide16.xml" Type="http://schemas.openxmlformats.org/officeDocument/2006/relationships/notesSlide"/><Relationship Id="rId4" Target="../media/image27.png" Type="http://schemas.openxmlformats.org/officeDocument/2006/relationships/image"/><Relationship Id="rId5" Target="../embeddings/oleObject6.bin" Type="http://schemas.openxmlformats.org/officeDocument/2006/relationships/oleObject"/><Relationship Id="rId6" Target="../media/image1.emf" Type="http://schemas.openxmlformats.org/officeDocument/2006/relationships/image"/></Relationships>
</file>

<file path=ppt/slides/_rels/slide42.xml.rels><?xml version="1.0" encoding="UTF-8" standalone="yes"?><Relationships xmlns="http://schemas.openxmlformats.org/package/2006/relationships"><Relationship Id="rId1" Target="../tags/tag47.xml" Type="http://schemas.openxmlformats.org/officeDocument/2006/relationships/tags"/><Relationship Id="rId2" Target="../slideLayouts/slideLayout4.xml" Type="http://schemas.openxmlformats.org/officeDocument/2006/relationships/slideLayout"/><Relationship Id="rId3" Target="../media/image28.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 Id="rId6" Target="../media/image29.png" Type="http://schemas.openxmlformats.org/officeDocument/2006/relationships/image"/><Relationship Id="rId7" Target="../media/image30.svg" Type="http://schemas.openxmlformats.org/officeDocument/2006/relationships/image"/><Relationship Id="rId8" Target="../media/image31.png" Type="http://schemas.openxmlformats.org/officeDocument/2006/relationships/image"/><Relationship Id="rId9" Target="../media/image32.svg" Type="http://schemas.openxmlformats.org/officeDocument/2006/relationships/image"/></Relationships>
</file>

<file path=ppt/slides/_rels/slide43.xml.rels><?xml version="1.0" encoding="UTF-8" standalone="yes"?><Relationships xmlns="http://schemas.openxmlformats.org/package/2006/relationships"><Relationship Id="rId1" Target="../tags/tag48.xml" Type="http://schemas.openxmlformats.org/officeDocument/2006/relationships/tags"/><Relationship Id="rId2" Target="../slideLayouts/slideLayout4.xml" Type="http://schemas.openxmlformats.org/officeDocument/2006/relationships/slideLayout"/><Relationship Id="rId3" Target="../media/image33.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s>
</file>

<file path=ppt/slides/_rels/slide44.xml.rels><?xml version="1.0" encoding="UTF-8" standalone="yes"?><Relationships xmlns="http://schemas.openxmlformats.org/package/2006/relationships"><Relationship Id="rId1" Target="../tags/tag49.xml" Type="http://schemas.openxmlformats.org/officeDocument/2006/relationships/tags"/><Relationship Id="rId2" Target="../slideLayouts/slideLayout4.xml" Type="http://schemas.openxmlformats.org/officeDocument/2006/relationships/slideLayout"/><Relationship Id="rId3" Target="../notesSlides/notesSlide17.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45.xml.rels><?xml version="1.0" encoding="UTF-8" standalone="yes"?><Relationships xmlns="http://schemas.openxmlformats.org/package/2006/relationships"><Relationship Id="rId1" Target="../tags/tag50.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6.xml.rels><?xml version="1.0" encoding="UTF-8" standalone="yes"?><Relationships xmlns="http://schemas.openxmlformats.org/package/2006/relationships"><Relationship Id="rId1" Target="../tags/tag5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47.xml.rels><?xml version="1.0" encoding="UTF-8" standalone="yes"?><Relationships xmlns="http://schemas.openxmlformats.org/package/2006/relationships"><Relationship Id="rId1" Target="../tags/tag52.xml" Type="http://schemas.openxmlformats.org/officeDocument/2006/relationships/tags"/><Relationship Id="rId2" Target="../slideLayouts/slideLayout4.xml" Type="http://schemas.openxmlformats.org/officeDocument/2006/relationships/slideLayout"/><Relationship Id="rId3" Target="../media/image34.png" Type="http://schemas.openxmlformats.org/officeDocument/2006/relationships/image"/><Relationship Id="rId4" Target="../embeddings/oleObject7.bin" Type="http://schemas.openxmlformats.org/officeDocument/2006/relationships/oleObject"/><Relationship Id="rId5" Target="../media/image35.emf" Type="http://schemas.openxmlformats.org/officeDocument/2006/relationships/image"/></Relationships>
</file>

<file path=ppt/slides/_rels/slide48.xml.rels><?xml version="1.0" encoding="UTF-8" standalone="yes"?><Relationships xmlns="http://schemas.openxmlformats.org/package/2006/relationships"><Relationship Id="rId1" Target="../tags/tag53.xml" Type="http://schemas.openxmlformats.org/officeDocument/2006/relationships/tags"/><Relationship Id="rId2" Target="../slideLayouts/slideLayout4.xml" Type="http://schemas.openxmlformats.org/officeDocument/2006/relationships/slideLayout"/><Relationship Id="rId3" Target="../embeddings/oleObject7.bin" Type="http://schemas.openxmlformats.org/officeDocument/2006/relationships/oleObject"/><Relationship Id="rId4" Target="../media/image35.emf" Type="http://schemas.openxmlformats.org/officeDocument/2006/relationships/image"/></Relationships>
</file>

<file path=ppt/slides/_rels/slide49.xml.rels><?xml version="1.0" encoding="UTF-8" standalone="yes"?><Relationships xmlns="http://schemas.openxmlformats.org/package/2006/relationships"><Relationship Id="rId1" Target="../tags/tag5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5.xml.rels><?xml version="1.0" encoding="UTF-8" standalone="yes"?><Relationships xmlns="http://schemas.openxmlformats.org/package/2006/relationships"><Relationship Id="rId1" Target="../tags/tag10.xml" Type="http://schemas.openxmlformats.org/officeDocument/2006/relationships/tags"/><Relationship Id="rId10" Target="../media/image15.png" Type="http://schemas.openxmlformats.org/officeDocument/2006/relationships/image"/><Relationship Id="rId11" Target="../media/image16.png" Type="http://schemas.openxmlformats.org/officeDocument/2006/relationships/image"/><Relationship Id="rId12" Target="../media/image17.png" Type="http://schemas.openxmlformats.org/officeDocument/2006/relationships/image"/><Relationship Id="rId13" Target="../media/image18.png" Type="http://schemas.openxmlformats.org/officeDocument/2006/relationships/image"/><Relationship Id="rId14" Target="../media/image19.png" Type="http://schemas.openxmlformats.org/officeDocument/2006/relationships/image"/><Relationship Id="rId15" Target="../media/image20.png" Type="http://schemas.openxmlformats.org/officeDocument/2006/relationships/image"/><Relationship Id="rId16" Target="../media/image21.png" Type="http://schemas.openxmlformats.org/officeDocument/2006/relationships/image"/><Relationship Id="rId17" Target="../media/image22.png" Type="http://schemas.openxmlformats.org/officeDocument/2006/relationships/image"/><Relationship Id="rId18" Target="../media/image23.png" Type="http://schemas.openxmlformats.org/officeDocument/2006/relationships/image"/><Relationship Id="rId19" Target="../media/image24.png" Type="http://schemas.openxmlformats.org/officeDocument/2006/relationships/image"/><Relationship Id="rId2" Target="../slideLayouts/slideLayout4.xml" Type="http://schemas.openxmlformats.org/officeDocument/2006/relationships/slideLayout"/><Relationship Id="rId20" Target="../media/image25.png" Type="http://schemas.openxmlformats.org/officeDocument/2006/relationships/image"/><Relationship Id="rId21" Target="../media/image26.png" Type="http://schemas.openxmlformats.org/officeDocument/2006/relationships/image"/><Relationship Id="rId3" Target="../embeddings/oleObject6.bin" Type="http://schemas.openxmlformats.org/officeDocument/2006/relationships/oleObject"/><Relationship Id="rId4" Target="../media/image1.emf" Type="http://schemas.openxmlformats.org/officeDocument/2006/relationships/image"/><Relationship Id="rId5" Target="../media/image10.png" Type="http://schemas.openxmlformats.org/officeDocument/2006/relationships/image"/><Relationship Id="rId6" Target="../media/image11.png" Type="http://schemas.openxmlformats.org/officeDocument/2006/relationships/image"/><Relationship Id="rId7" Target="../media/image12.png" Type="http://schemas.openxmlformats.org/officeDocument/2006/relationships/image"/><Relationship Id="rId8" Target="../media/image13.png" Type="http://schemas.openxmlformats.org/officeDocument/2006/relationships/image"/><Relationship Id="rId9" Target="../media/image14.png" Type="http://schemas.openxmlformats.org/officeDocument/2006/relationships/image"/></Relationships>
</file>

<file path=ppt/slides/_rels/slide50.xml.rels><?xml version="1.0" encoding="UTF-8" standalone="yes"?><Relationships xmlns="http://schemas.openxmlformats.org/package/2006/relationships"><Relationship Id="rId1" Target="../tags/tag55.xml" Type="http://schemas.openxmlformats.org/officeDocument/2006/relationships/tags"/><Relationship Id="rId2" Target="../slideLayouts/slideLayout4.xml" Type="http://schemas.openxmlformats.org/officeDocument/2006/relationships/slideLayout"/><Relationship Id="rId3" Target="../notesSlides/notesSlide18.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51.xml.rels><?xml version="1.0" encoding="UTF-8" standalone="yes"?><Relationships xmlns="http://schemas.openxmlformats.org/package/2006/relationships"><Relationship Id="rId1" Target="../tags/tag56.xml" Type="http://schemas.openxmlformats.org/officeDocument/2006/relationships/tags"/><Relationship Id="rId2" Target="../slideLayouts/slideLayout4.xml" Type="http://schemas.openxmlformats.org/officeDocument/2006/relationships/slideLayout"/><Relationship Id="rId3" Target="../notesSlides/notesSlide19.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52.xml.rels><?xml version="1.0" encoding="UTF-8" standalone="yes"?><Relationships xmlns="http://schemas.openxmlformats.org/package/2006/relationships"><Relationship Id="rId1" Target="../tags/tag57.xml" Type="http://schemas.openxmlformats.org/officeDocument/2006/relationships/tags"/><Relationship Id="rId2" Target="../slideLayouts/slideLayout4.xml" Type="http://schemas.openxmlformats.org/officeDocument/2006/relationships/slideLayout"/><Relationship Id="rId3" Target="../notesSlides/notesSlide20.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53.xml.rels><?xml version="1.0" encoding="UTF-8" standalone="yes"?><Relationships xmlns="http://schemas.openxmlformats.org/package/2006/relationships"><Relationship Id="rId1" Target="../tags/tag58.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54.xml.rels><?xml version="1.0" encoding="UTF-8" standalone="yes"?><Relationships xmlns="http://schemas.openxmlformats.org/package/2006/relationships"><Relationship Id="rId1" Target="../tags/tag59.xml" Type="http://schemas.openxmlformats.org/officeDocument/2006/relationships/tags"/><Relationship Id="rId2" Target="../slideLayouts/slideLayout4.xml" Type="http://schemas.openxmlformats.org/officeDocument/2006/relationships/slideLayout"/><Relationship Id="rId3" Target="../media/image28.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 Id="rId6" Target="../media/image29.png" Type="http://schemas.openxmlformats.org/officeDocument/2006/relationships/image"/><Relationship Id="rId7" Target="../media/image30.svg" Type="http://schemas.openxmlformats.org/officeDocument/2006/relationships/image"/><Relationship Id="rId8" Target="../media/image31.png" Type="http://schemas.openxmlformats.org/officeDocument/2006/relationships/image"/><Relationship Id="rId9" Target="../media/image32.svg" Type="http://schemas.openxmlformats.org/officeDocument/2006/relationships/image"/></Relationships>
</file>

<file path=ppt/slides/_rels/slide55.xml.rels><?xml version="1.0" encoding="UTF-8" standalone="yes"?><Relationships xmlns="http://schemas.openxmlformats.org/package/2006/relationships"><Relationship Id="rId1" Target="../tags/tag60.xml" Type="http://schemas.openxmlformats.org/officeDocument/2006/relationships/tags"/><Relationship Id="rId2" Target="../slideLayouts/slideLayout4.xml" Type="http://schemas.openxmlformats.org/officeDocument/2006/relationships/slideLayout"/><Relationship Id="rId3" Target="../media/image33.png" Type="http://schemas.openxmlformats.org/officeDocument/2006/relationships/image"/><Relationship Id="rId4" Target="../embeddings/oleObject7.bin" Type="http://schemas.openxmlformats.org/officeDocument/2006/relationships/oleObject"/><Relationship Id="rId5" Target="../media/image1.emf" Type="http://schemas.openxmlformats.org/officeDocument/2006/relationships/image"/></Relationships>
</file>

<file path=ppt/slides/_rels/slide56.xml.rels><?xml version="1.0" encoding="UTF-8" standalone="yes"?><Relationships xmlns="http://schemas.openxmlformats.org/package/2006/relationships"><Relationship Id="rId1" Target="../tags/tag61.xml" Type="http://schemas.openxmlformats.org/officeDocument/2006/relationships/tags"/><Relationship Id="rId2" Target="../slideLayouts/slideLayout4.xml" Type="http://schemas.openxmlformats.org/officeDocument/2006/relationships/slideLayout"/><Relationship Id="rId3" Target="../notesSlides/notesSlide21.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57.xml.rels><?xml version="1.0" encoding="UTF-8" standalone="yes"?><Relationships xmlns="http://schemas.openxmlformats.org/package/2006/relationships"><Relationship Id="rId1" Target="../tags/tag62.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 Id="rId5" Target="../media/image37.png" Type="http://schemas.openxmlformats.org/officeDocument/2006/relationships/image"/></Relationships>
</file>

<file path=ppt/slides/_rels/slide58.xml.rels><?xml version="1.0" encoding="UTF-8" standalone="yes"?><Relationships xmlns="http://schemas.openxmlformats.org/package/2006/relationships"><Relationship Id="rId1" Target="../tags/tag63.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59.xml.rels><?xml version="1.0" encoding="UTF-8" standalone="yes"?><Relationships xmlns="http://schemas.openxmlformats.org/package/2006/relationships"><Relationship Id="rId1" Target="../tags/tag64.xml" Type="http://schemas.openxmlformats.org/officeDocument/2006/relationships/tags"/><Relationship Id="rId2" Target="../slideLayouts/slideLayout4.xml" Type="http://schemas.openxmlformats.org/officeDocument/2006/relationships/slideLayout"/><Relationship Id="rId3" Target="../notesSlides/notesSlide22.xml" Type="http://schemas.openxmlformats.org/officeDocument/2006/relationships/notesSlide"/><Relationship Id="rId4" Target="../embeddings/oleObject6.bin" Type="http://schemas.openxmlformats.org/officeDocument/2006/relationships/oleObject"/><Relationship Id="rId5" Target="../media/image9.emf" Type="http://schemas.openxmlformats.org/officeDocument/2006/relationships/image"/></Relationships>
</file>

<file path=ppt/slides/_rels/slide6.xml.rels><?xml version="1.0" encoding="UTF-8" standalone="yes"?><Relationships xmlns="http://schemas.openxmlformats.org/package/2006/relationships"><Relationship Id="rId1" Target="../tags/tag11.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60.xml.rels><?xml version="1.0" encoding="UTF-8" standalone="yes"?><Relationships xmlns="http://schemas.openxmlformats.org/package/2006/relationships"><Relationship Id="rId1" Target="../tags/tag65.xml" Type="http://schemas.openxmlformats.org/officeDocument/2006/relationships/tags"/><Relationship Id="rId2" Target="../slideLayouts/slideLayout4.xml" Type="http://schemas.openxmlformats.org/officeDocument/2006/relationships/slideLayout"/><Relationship Id="rId3" Target="../notesSlides/notesSlide23.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61.xml.rels><?xml version="1.0" encoding="UTF-8" standalone="yes"?><Relationships xmlns="http://schemas.openxmlformats.org/package/2006/relationships"><Relationship Id="rId1" Target="../tags/tag66.xml" Type="http://schemas.openxmlformats.org/officeDocument/2006/relationships/tags"/><Relationship Id="rId2" Target="../slideLayouts/slideLayout4.xml" Type="http://schemas.openxmlformats.org/officeDocument/2006/relationships/slideLayout"/><Relationship Id="rId3" Target="../notesSlides/notesSlide24.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62.xml.rels><?xml version="1.0" encoding="UTF-8" standalone="yes"?><Relationships xmlns="http://schemas.openxmlformats.org/package/2006/relationships"><Relationship Id="rId1" Target="../tags/tag67.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63.xml.rels><?xml version="1.0" encoding="UTF-8" standalone="yes"?><Relationships xmlns="http://schemas.openxmlformats.org/package/2006/relationships"><Relationship Id="rId1" Target="../tags/tag68.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64.xml.rels><?xml version="1.0" encoding="UTF-8" standalone="yes"?><Relationships xmlns="http://schemas.openxmlformats.org/package/2006/relationships"><Relationship Id="rId1" Target="../tags/tag69.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36.emf" Type="http://schemas.openxmlformats.org/officeDocument/2006/relationships/image"/></Relationships>
</file>

<file path=ppt/slides/_rels/slide65.xml.rels><?xml version="1.0" encoding="UTF-8" standalone="yes"?><Relationships xmlns="http://schemas.openxmlformats.org/package/2006/relationships"><Relationship Id="rId1" Target="../tags/tag70.xml" Type="http://schemas.openxmlformats.org/officeDocument/2006/relationships/tags"/><Relationship Id="rId2" Target="../slideLayouts/slideLayout4.xml" Type="http://schemas.openxmlformats.org/officeDocument/2006/relationships/slideLayout"/><Relationship Id="rId3" Target="../notesSlides/notesSlide25.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66.xml.rels><?xml version="1.0" encoding="UTF-8" standalone="yes"?><Relationships xmlns="http://schemas.openxmlformats.org/package/2006/relationships"><Relationship Id="rId1" Target="../tags/tag71.xml" Type="http://schemas.openxmlformats.org/officeDocument/2006/relationships/tags"/><Relationship Id="rId2" Target="../slideLayouts/slideLayout4.xml" Type="http://schemas.openxmlformats.org/officeDocument/2006/relationships/slideLayout"/><Relationship Id="rId3" Target="../notesSlides/notesSlide26.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67.xml.rels><?xml version="1.0" encoding="UTF-8" standalone="yes"?><Relationships xmlns="http://schemas.openxmlformats.org/package/2006/relationships"><Relationship Id="rId1" Target="../tags/tag72.xml" Type="http://schemas.openxmlformats.org/officeDocument/2006/relationships/tags"/><Relationship Id="rId2" Target="../slideLayouts/slideLayout4.xml" Type="http://schemas.openxmlformats.org/officeDocument/2006/relationships/slideLayout"/><Relationship Id="rId3" Target="../notesSlides/notesSlide27.xml" Type="http://schemas.openxmlformats.org/officeDocument/2006/relationships/notesSlide"/><Relationship Id="rId4" Target="../embeddings/oleObject6.bin" Type="http://schemas.openxmlformats.org/officeDocument/2006/relationships/oleObject"/><Relationship Id="rId5" Target="../media/image36.emf" Type="http://schemas.openxmlformats.org/officeDocument/2006/relationships/image"/></Relationships>
</file>

<file path=ppt/slides/_rels/slide68.xml.rels><?xml version="1.0" encoding="UTF-8" standalone="yes"?><Relationships xmlns="http://schemas.openxmlformats.org/package/2006/relationships"><Relationship Id="rId1" Target="../slideLayouts/slideLayout3.xml" Type="http://schemas.openxmlformats.org/officeDocument/2006/relationships/slideLayout"/></Relationships>
</file>

<file path=ppt/slides/_rels/slide7.xml.rels><?xml version="1.0" encoding="UTF-8" standalone="yes"?><Relationships xmlns="http://schemas.openxmlformats.org/package/2006/relationships"><Relationship Id="rId1" Target="../tags/tag12.xml" Type="http://schemas.openxmlformats.org/officeDocument/2006/relationships/tags"/><Relationship Id="rId2" Target="../slideLayouts/slideLayout4.xml" Type="http://schemas.openxmlformats.org/officeDocument/2006/relationships/slideLayout"/><Relationship Id="rId3" Target="../notesSlides/notesSlide3.xml" Type="http://schemas.openxmlformats.org/officeDocument/2006/relationships/notesSlide"/><Relationship Id="rId4" Target="../embeddings/oleObject6.bin" Type="http://schemas.openxmlformats.org/officeDocument/2006/relationships/oleObject"/><Relationship Id="rId5" Target="../media/image1.emf" Type="http://schemas.openxmlformats.org/officeDocument/2006/relationships/image"/></Relationships>
</file>

<file path=ppt/slides/_rels/slide8.xml.rels><?xml version="1.0" encoding="UTF-8" standalone="yes"?><Relationships xmlns="http://schemas.openxmlformats.org/package/2006/relationships"><Relationship Id="rId1" Target="../tags/tag13.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_rels/slide9.xml.rels><?xml version="1.0" encoding="UTF-8" standalone="yes"?><Relationships xmlns="http://schemas.openxmlformats.org/package/2006/relationships"><Relationship Id="rId1" Target="../tags/tag14.xml" Type="http://schemas.openxmlformats.org/officeDocument/2006/relationships/tags"/><Relationship Id="rId2" Target="../slideLayouts/slideLayout4.xml" Type="http://schemas.openxmlformats.org/officeDocument/2006/relationships/slideLayout"/><Relationship Id="rId3" Target="../embeddings/oleObject6.bin" Type="http://schemas.openxmlformats.org/officeDocument/2006/relationships/oleObject"/><Relationship Id="rId4" Target="../media/image1.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C7451F4C-EFF2-48F0-B299-286FFCBFB2AB}"/>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0" imgH="469" progId="TCLayout.ActiveDocument.1">
                  <p:embed/>
                </p:oleObj>
              </mc:Choice>
              <mc:Fallback>
                <p:oleObj name="think-cell スライド" r:id="rId3" imgW="470" imgH="469" progId="TCLayout.ActiveDocument.1">
                  <p:embed/>
                  <p:pic>
                    <p:nvPicPr>
                      <p:cNvPr id="6" name="オブジェクト 5" hidden="1">
                        <a:extLst>
                          <a:ext uri="{FF2B5EF4-FFF2-40B4-BE49-F238E27FC236}">
                            <a16:creationId xmlns:a16="http://schemas.microsoft.com/office/drawing/2014/main" id="{C7451F4C-EFF2-48F0-B299-286FFCBFB2AB}"/>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1F2F2840-6B61-4DF2-B42A-EAA99F678FEE}"/>
              </a:ext>
            </a:extLst>
          </p:cNvPr>
          <p:cNvSpPr>
            <a:spLocks noGrp="1"/>
          </p:cNvSpPr>
          <p:nvPr>
            <p:ph type="body" sz="quarter" idx="10"/>
          </p:nvPr>
        </p:nvSpPr>
        <p:spPr/>
        <p:txBody>
          <a:bodyPr/>
          <a:lstStyle/>
          <a:p>
            <a:pPr algn="r">
              <a:spcBef>
                <a:spcPts val="600"/>
              </a:spcBef>
            </a:pPr>
            <a:r>
              <a:rPr lang="en-US" altLang="ja-JP" sz="2400" b="0"/>
              <a:t>202</a:t>
            </a:r>
            <a:r>
              <a:rPr lang="ja-JP" altLang="en-US" sz="2400" b="0"/>
              <a:t>５</a:t>
            </a:r>
            <a:r>
              <a:rPr lang="en-US" altLang="ja-JP" sz="2400" b="0"/>
              <a:t>/XX/</a:t>
            </a:r>
            <a:r>
              <a:rPr lang="en-US" altLang="ja-JP" sz="2400" b="0">
                <a:solidFill>
                  <a:srgbClr val="0070C0"/>
                </a:solidFill>
              </a:rPr>
              <a:t>XX</a:t>
            </a:r>
            <a:endParaRPr lang="ja-JP" altLang="en-US" sz="2400" b="0">
              <a:solidFill>
                <a:srgbClr val="0070C0"/>
              </a:solidFill>
            </a:endParaRPr>
          </a:p>
        </p:txBody>
      </p:sp>
      <p:sp>
        <p:nvSpPr>
          <p:cNvPr id="3" name="タイトル 2">
            <a:extLst>
              <a:ext uri="{FF2B5EF4-FFF2-40B4-BE49-F238E27FC236}">
                <a16:creationId xmlns:a16="http://schemas.microsoft.com/office/drawing/2014/main" id="{C57F1E1F-3521-45C1-9CD2-360C7A8ED649}"/>
              </a:ext>
            </a:extLst>
          </p:cNvPr>
          <p:cNvSpPr>
            <a:spLocks noGrp="1"/>
          </p:cNvSpPr>
          <p:nvPr>
            <p:ph type="ctrTitle"/>
          </p:nvPr>
        </p:nvSpPr>
        <p:spPr>
          <a:xfrm>
            <a:off x="767408" y="1498110"/>
            <a:ext cx="10657184" cy="2416665"/>
          </a:xfrm>
          <a:noFill/>
        </p:spPr>
        <p:txBody>
          <a:bodyPr vert="horz" wrap="none" anchor="t">
            <a:normAutofit fontScale="90000"/>
          </a:bodyPr>
          <a:lstStyle/>
          <a:p>
            <a:pPr>
              <a:spcBef>
                <a:spcPts val="1200"/>
              </a:spcBef>
            </a:pPr>
            <a:r>
              <a:rPr lang="en-US" altLang="ja-JP" sz="3200"/>
              <a:t>FY2025 </a:t>
            </a:r>
            <a:r>
              <a:rPr lang="ja-JP" altLang="en-US" sz="3200"/>
              <a:t>日本版</a:t>
            </a:r>
            <a:r>
              <a:rPr lang="en-US" altLang="ja-JP" sz="3200" err="1"/>
              <a:t>MaaS</a:t>
            </a:r>
            <a:r>
              <a:rPr lang="ja-JP" altLang="en-US" sz="3200"/>
              <a:t>推進・支援事業</a:t>
            </a:r>
            <a:br>
              <a:rPr lang="en-US" altLang="ja-JP" sz="3200"/>
            </a:br>
            <a:r>
              <a:rPr lang="en-US" altLang="ja-JP" sz="3200"/>
              <a:t>【</a:t>
            </a:r>
            <a:r>
              <a:rPr lang="en-US" altLang="ja-JP" sz="3200">
                <a:solidFill>
                  <a:srgbClr val="0070C0"/>
                </a:solidFill>
              </a:rPr>
              <a:t>[</a:t>
            </a:r>
            <a:r>
              <a:rPr lang="ja-JP" altLang="en-US" sz="3200">
                <a:solidFill>
                  <a:srgbClr val="0070C0"/>
                </a:solidFill>
              </a:rPr>
              <a:t>プロジェクト名</a:t>
            </a:r>
            <a:r>
              <a:rPr lang="en-US" altLang="ja-JP" sz="3200">
                <a:solidFill>
                  <a:srgbClr val="0070C0"/>
                </a:solidFill>
              </a:rPr>
              <a:t>]】</a:t>
            </a:r>
            <a:br>
              <a:rPr lang="en-US" altLang="ja-JP" sz="3200">
                <a:solidFill>
                  <a:srgbClr val="FF0000"/>
                </a:solidFill>
              </a:rPr>
            </a:br>
            <a:br>
              <a:rPr lang="en-US" altLang="ja-JP" sz="3200" u="sng">
                <a:solidFill>
                  <a:srgbClr val="FF0000"/>
                </a:solidFill>
              </a:rPr>
            </a:br>
            <a:br>
              <a:rPr lang="en-US" altLang="ja-JP" sz="3200" u="sng">
                <a:solidFill>
                  <a:srgbClr val="FF0000"/>
                </a:solidFill>
              </a:rPr>
            </a:br>
            <a:r>
              <a:rPr lang="ja-JP" altLang="en-US" sz="3200"/>
              <a:t>実施計画書</a:t>
            </a:r>
          </a:p>
        </p:txBody>
      </p:sp>
      <p:sp>
        <p:nvSpPr>
          <p:cNvPr id="5" name="テキスト プレースホルダー 4">
            <a:extLst>
              <a:ext uri="{FF2B5EF4-FFF2-40B4-BE49-F238E27FC236}">
                <a16:creationId xmlns:a16="http://schemas.microsoft.com/office/drawing/2014/main" id="{9481A0E3-366D-4687-A4B2-6C58A1A7C6CC}"/>
              </a:ext>
            </a:extLst>
          </p:cNvPr>
          <p:cNvSpPr>
            <a:spLocks noGrp="1"/>
          </p:cNvSpPr>
          <p:nvPr>
            <p:ph type="body" sz="quarter" idx="12"/>
          </p:nvPr>
        </p:nvSpPr>
        <p:spPr>
          <a:prstGeom prst="rect">
            <a:avLst/>
          </a:prstGeom>
        </p:spPr>
        <p:txBody>
          <a:bodyPr wrap="none"/>
          <a:lstStyle/>
          <a:p>
            <a:pPr algn="r">
              <a:spcBef>
                <a:spcPts val="600"/>
              </a:spcBef>
            </a:pPr>
            <a:r>
              <a:rPr lang="en-US" altLang="ja-JP" sz="2400">
                <a:solidFill>
                  <a:srgbClr val="0070C0"/>
                </a:solidFill>
              </a:rPr>
              <a:t>[</a:t>
            </a:r>
            <a:r>
              <a:rPr lang="ja-JP" altLang="en-US" sz="2400">
                <a:solidFill>
                  <a:srgbClr val="0070C0"/>
                </a:solidFill>
              </a:rPr>
              <a:t>事業者名</a:t>
            </a:r>
            <a:r>
              <a:rPr lang="en-US" altLang="ja-JP" sz="2400">
                <a:solidFill>
                  <a:srgbClr val="0070C0"/>
                </a:solidFill>
              </a:rPr>
              <a:t>]</a:t>
            </a:r>
            <a:endParaRPr lang="ja-JP" altLang="en-US" sz="2400" b="0">
              <a:solidFill>
                <a:srgbClr val="0070C0"/>
              </a:solidFill>
            </a:endParaRPr>
          </a:p>
        </p:txBody>
      </p:sp>
      <p:sp>
        <p:nvSpPr>
          <p:cNvPr id="7" name="テキスト ボックス 6">
            <a:extLst>
              <a:ext uri="{FF2B5EF4-FFF2-40B4-BE49-F238E27FC236}">
                <a16:creationId xmlns:a16="http://schemas.microsoft.com/office/drawing/2014/main" id="{C23EF085-1DE8-3334-557F-6FB6ECFBC739}"/>
              </a:ext>
            </a:extLst>
          </p:cNvPr>
          <p:cNvSpPr txBox="1"/>
          <p:nvPr/>
        </p:nvSpPr>
        <p:spPr>
          <a:xfrm>
            <a:off x="626599" y="4419264"/>
            <a:ext cx="8343900" cy="1413686"/>
          </a:xfrm>
          <a:prstGeom prst="rect">
            <a:avLst/>
          </a:prstGeom>
          <a:solidFill>
            <a:srgbClr val="F3817B">
              <a:alpha val="60000"/>
            </a:srgbClr>
          </a:solidFill>
        </p:spPr>
        <p:txBody>
          <a:bodyPr wrap="square" anchor="ctr">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0" cap="none" spc="0" normalizeH="0" baseline="0" noProof="0">
                <a:ln>
                  <a:noFill/>
                </a:ln>
                <a:solidFill>
                  <a:srgbClr val="FFFFFF"/>
                </a:solidFill>
                <a:effectLst/>
                <a:uLnTx/>
                <a:uFillTx/>
              </a:rPr>
              <a:t>レイアウトを変更しないでください（収まりきらない場合はページを追加してください）</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0" cap="none" spc="0" normalizeH="0" baseline="0" noProof="0">
                <a:ln>
                  <a:noFill/>
                </a:ln>
                <a:solidFill>
                  <a:srgbClr val="FFFFFF"/>
                </a:solidFill>
                <a:effectLst/>
                <a:uLnTx/>
                <a:uFillTx/>
              </a:rPr>
              <a:t>青字は記載例です。提出時は必ずすべて削除して提出してください</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600" b="0" i="0" u="none" strike="noStrike" kern="0" cap="none" spc="0" normalizeH="0" baseline="0" noProof="0">
                <a:ln>
                  <a:noFill/>
                </a:ln>
                <a:solidFill>
                  <a:srgbClr val="FFFFFF"/>
                </a:solidFill>
                <a:effectLst/>
                <a:uLnTx/>
                <a:uFillTx/>
              </a:rPr>
              <a:t>ピンクのメモは記載をガイドするためのものですので、提出時には必ずすべて削除してください。</a:t>
            </a:r>
          </a:p>
        </p:txBody>
      </p:sp>
    </p:spTree>
    <p:extLst>
      <p:ext uri="{BB962C8B-B14F-4D97-AF65-F5344CB8AC3E}">
        <p14:creationId xmlns:p14="http://schemas.microsoft.com/office/powerpoint/2010/main" val="23557866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9B11EE97-61F3-4EB1-88AA-CC1F6202EC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9B11EE97-61F3-4EB1-88AA-CC1F6202E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745DF5B-1B9B-44D3-BEB6-FB1E031D5C03}"/>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4" name="タイトル 3">
            <a:extLst>
              <a:ext uri="{FF2B5EF4-FFF2-40B4-BE49-F238E27FC236}">
                <a16:creationId xmlns:a16="http://schemas.microsoft.com/office/drawing/2014/main" id="{29DB748F-EFF5-4509-B381-6B8D73B31303}"/>
              </a:ext>
            </a:extLst>
          </p:cNvPr>
          <p:cNvSpPr>
            <a:spLocks noGrp="1"/>
          </p:cNvSpPr>
          <p:nvPr>
            <p:ph type="title"/>
          </p:nvPr>
        </p:nvSpPr>
        <p:spPr/>
        <p:txBody>
          <a:bodyPr vert="horz"/>
          <a:lstStyle/>
          <a:p>
            <a:r>
              <a:rPr kumimoji="1" lang="ja-JP" altLang="en-US"/>
              <a:t>５</a:t>
            </a:r>
            <a:r>
              <a:rPr kumimoji="1" lang="en-US" altLang="ja-JP"/>
              <a:t>.</a:t>
            </a:r>
            <a:r>
              <a:rPr kumimoji="1" lang="ja-JP" altLang="en-US"/>
              <a:t>想定事業機会</a:t>
            </a:r>
          </a:p>
        </p:txBody>
      </p:sp>
      <p:sp>
        <p:nvSpPr>
          <p:cNvPr id="8" name="テキスト プレースホルダー 7">
            <a:extLst>
              <a:ext uri="{FF2B5EF4-FFF2-40B4-BE49-F238E27FC236}">
                <a16:creationId xmlns:a16="http://schemas.microsoft.com/office/drawing/2014/main" id="{9D610DBF-17F7-608B-8680-1CFA54E54E02}"/>
              </a:ext>
            </a:extLst>
          </p:cNvPr>
          <p:cNvSpPr>
            <a:spLocks noGrp="1"/>
          </p:cNvSpPr>
          <p:nvPr>
            <p:ph type="body" sz="quarter" idx="4294967295"/>
          </p:nvPr>
        </p:nvSpPr>
        <p:spPr>
          <a:xfrm>
            <a:off x="300779" y="1221389"/>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ja-JP" altLang="en-US" sz="1800" i="0" u="none" strike="noStrike" kern="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本プロジェクトで開発した</a:t>
            </a:r>
            <a:r>
              <a:rPr kumimoji="1" lang="en-US" altLang="ja-JP" sz="1800" i="0" u="none" strike="noStrike" kern="0" cap="none" spc="0" normalizeH="0" baseline="0" noProof="0" err="1">
                <a:ln>
                  <a:noFill/>
                </a:ln>
                <a:solidFill>
                  <a:srgbClr val="0070C0"/>
                </a:solidFill>
                <a:effectLst/>
                <a:uLnTx/>
                <a:uFillTx/>
                <a:latin typeface="Meiryo UI" panose="020B0604030504040204" pitchFamily="50" charset="-128"/>
                <a:ea typeface="Meiryo UI" panose="020B0604030504040204" pitchFamily="50" charset="-128"/>
                <a:cs typeface="+mn-cs"/>
              </a:rPr>
              <a:t>MaaS</a:t>
            </a:r>
            <a:r>
              <a:rPr kumimoji="1" lang="ja-JP" altLang="en-US" sz="1800" i="0" u="none" strike="noStrike" kern="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アプリの横展開</a:t>
            </a:r>
          </a:p>
        </p:txBody>
      </p:sp>
      <p:graphicFrame>
        <p:nvGraphicFramePr>
          <p:cNvPr id="2" name="表 3">
            <a:extLst>
              <a:ext uri="{FF2B5EF4-FFF2-40B4-BE49-F238E27FC236}">
                <a16:creationId xmlns:a16="http://schemas.microsoft.com/office/drawing/2014/main" id="{11947C01-3F25-5707-DF65-95146B28736C}"/>
              </a:ext>
            </a:extLst>
          </p:cNvPr>
          <p:cNvGraphicFramePr>
            <a:graphicFrameLocks noGrp="1"/>
          </p:cNvGraphicFramePr>
          <p:nvPr>
            <p:extLst>
              <p:ext uri="{D42A27DB-BD31-4B8C-83A1-F6EECF244321}">
                <p14:modId xmlns:p14="http://schemas.microsoft.com/office/powerpoint/2010/main" val="1259605220"/>
              </p:ext>
            </p:extLst>
          </p:nvPr>
        </p:nvGraphicFramePr>
        <p:xfrm>
          <a:off x="302400" y="1859243"/>
          <a:ext cx="11587200" cy="4343400"/>
        </p:xfrm>
        <a:graphic>
          <a:graphicData uri="http://schemas.openxmlformats.org/drawingml/2006/table">
            <a:tbl>
              <a:tblPr firstRow="1" bandRow="1">
                <a:tableStyleId>{5940675A-B579-460E-94D1-54222C63F5DA}</a:tableStyleId>
              </a:tblPr>
              <a:tblGrid>
                <a:gridCol w="1741004">
                  <a:extLst>
                    <a:ext uri="{9D8B030D-6E8A-4147-A177-3AD203B41FA5}">
                      <a16:colId xmlns:a16="http://schemas.microsoft.com/office/drawing/2014/main" val="1794116915"/>
                    </a:ext>
                  </a:extLst>
                </a:gridCol>
                <a:gridCol w="9846196">
                  <a:extLst>
                    <a:ext uri="{9D8B030D-6E8A-4147-A177-3AD203B41FA5}">
                      <a16:colId xmlns:a16="http://schemas.microsoft.com/office/drawing/2014/main" val="1788078460"/>
                    </a:ext>
                  </a:extLst>
                </a:gridCol>
              </a:tblGrid>
              <a:tr h="385384">
                <a:tc>
                  <a:txBody>
                    <a:bodyPr/>
                    <a:lstStyle/>
                    <a:p>
                      <a:pPr algn="ctr"/>
                      <a:r>
                        <a:rPr kumimoji="1" lang="ja-JP" altLang="en-US" sz="1600" b="1">
                          <a:latin typeface="+mn-ea"/>
                          <a:ea typeface="+mn-ea"/>
                        </a:rPr>
                        <a:t>項目</a:t>
                      </a:r>
                    </a:p>
                  </a:txBody>
                  <a:tcPr marL="112542" marR="112542" marT="56271" marB="56271">
                    <a:solidFill>
                      <a:schemeClr val="bg1">
                        <a:lumMod val="85000"/>
                      </a:schemeClr>
                    </a:solidFill>
                  </a:tcPr>
                </a:tc>
                <a:tc>
                  <a:txBody>
                    <a:bodyPr/>
                    <a:lstStyle/>
                    <a:p>
                      <a:pPr algn="ctr"/>
                      <a:r>
                        <a:rPr kumimoji="1" lang="ja-JP" altLang="en-US" sz="1600" b="1">
                          <a:latin typeface="+mn-ea"/>
                          <a:ea typeface="+mn-ea"/>
                        </a:rPr>
                        <a:t>内容</a:t>
                      </a:r>
                    </a:p>
                  </a:txBody>
                  <a:tcPr marL="112542" marR="112542" marT="56271" marB="56271">
                    <a:solidFill>
                      <a:schemeClr val="bg1">
                        <a:lumMod val="85000"/>
                      </a:schemeClr>
                    </a:solidFill>
                  </a:tcPr>
                </a:tc>
                <a:extLst>
                  <a:ext uri="{0D108BD9-81ED-4DB2-BD59-A6C34878D82A}">
                    <a16:rowId xmlns:a16="http://schemas.microsoft.com/office/drawing/2014/main" val="1225045008"/>
                  </a:ext>
                </a:extLst>
              </a:tr>
              <a:tr h="8671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a:solidFill>
                            <a:schemeClr val="tx1"/>
                          </a:solidFill>
                          <a:latin typeface="+mn-ea"/>
                          <a:ea typeface="+mn-ea"/>
                        </a:rPr>
                        <a:t>利用事業者</a:t>
                      </a:r>
                    </a:p>
                  </a:txBody>
                  <a:tcPr marL="112542" marR="112542" marT="56271" marB="56271">
                    <a:solidFill>
                      <a:schemeClr val="bg1"/>
                    </a:solidFill>
                  </a:tcPr>
                </a:tc>
                <a:tc>
                  <a:txBody>
                    <a:bodyPr/>
                    <a:lstStyle/>
                    <a:p>
                      <a:pPr marL="187574" indent="-187574">
                        <a:spcBef>
                          <a:spcPts val="0"/>
                        </a:spcBef>
                        <a:spcAft>
                          <a:spcPts val="369"/>
                        </a:spcAft>
                        <a:buChar char="•"/>
                      </a:pPr>
                      <a:r>
                        <a:rPr kumimoji="1" lang="ja-JP" altLang="en-US" sz="1600" b="0">
                          <a:solidFill>
                            <a:srgbClr val="0070C0"/>
                          </a:solidFill>
                          <a:latin typeface="+mn-ea"/>
                          <a:ea typeface="+mn-ea"/>
                        </a:rPr>
                        <a:t>近隣都市で</a:t>
                      </a:r>
                      <a:r>
                        <a:rPr kumimoji="1" lang="en-US" altLang="ja-JP" sz="1600" b="0">
                          <a:solidFill>
                            <a:srgbClr val="0070C0"/>
                          </a:solidFill>
                          <a:latin typeface="+mn-ea"/>
                          <a:ea typeface="+mn-ea"/>
                        </a:rPr>
                        <a:t>MaaS</a:t>
                      </a:r>
                      <a:r>
                        <a:rPr kumimoji="1" lang="ja-JP" altLang="en-US" sz="1600" b="0">
                          <a:solidFill>
                            <a:srgbClr val="0070C0"/>
                          </a:solidFill>
                          <a:latin typeface="+mn-ea"/>
                          <a:ea typeface="+mn-ea"/>
                        </a:rPr>
                        <a:t>アプリの導入を検討する市町村、及び交通事業者</a:t>
                      </a:r>
                      <a:endParaRPr kumimoji="1" lang="en-US" altLang="ja-JP" sz="1600" b="0">
                        <a:solidFill>
                          <a:srgbClr val="0070C0"/>
                        </a:solidFill>
                        <a:latin typeface="+mn-ea"/>
                        <a:ea typeface="+mn-ea"/>
                      </a:endParaRPr>
                    </a:p>
                  </a:txBody>
                  <a:tcPr marL="112542" marR="112542" marT="56271" marB="56271">
                    <a:solidFill>
                      <a:schemeClr val="bg1"/>
                    </a:solidFill>
                  </a:tcPr>
                </a:tc>
                <a:extLst>
                  <a:ext uri="{0D108BD9-81ED-4DB2-BD59-A6C34878D82A}">
                    <a16:rowId xmlns:a16="http://schemas.microsoft.com/office/drawing/2014/main" val="2678490041"/>
                  </a:ext>
                </a:extLst>
              </a:tr>
              <a:tr h="1274176">
                <a:tc>
                  <a:txBody>
                    <a:bodyPr/>
                    <a:lstStyle/>
                    <a:p>
                      <a:r>
                        <a:rPr kumimoji="1" lang="ja-JP" altLang="en-US" sz="1600">
                          <a:latin typeface="+mn-ea"/>
                          <a:ea typeface="+mn-ea"/>
                        </a:rPr>
                        <a:t>提供価値</a:t>
                      </a:r>
                    </a:p>
                  </a:txBody>
                  <a:tcPr marL="112542" marR="112542" marT="56271" marB="56271">
                    <a:solidFill>
                      <a:schemeClr val="bg1"/>
                    </a:solidFill>
                  </a:tcPr>
                </a:tc>
                <a:tc>
                  <a:txBody>
                    <a:bodyPr/>
                    <a:lstStyle/>
                    <a:p>
                      <a:pPr marL="218440" indent="-218440">
                        <a:spcBef>
                          <a:spcPts val="0"/>
                        </a:spcBef>
                        <a:spcAft>
                          <a:spcPts val="369"/>
                        </a:spcAft>
                        <a:buChar char="•"/>
                      </a:pPr>
                      <a:r>
                        <a:rPr kumimoji="1" lang="ja-JP" altLang="en-US" sz="1600" b="0">
                          <a:solidFill>
                            <a:srgbClr val="0070C0"/>
                          </a:solidFill>
                          <a:latin typeface="+mn-ea"/>
                          <a:ea typeface="+mn-ea"/>
                        </a:rPr>
                        <a:t>導入地域にとっては、サービス開始までのリードタイム短縮およびコスト低減が可能。</a:t>
                      </a:r>
                      <a:endParaRPr kumimoji="1" lang="en-US" altLang="ja-JP" sz="1600" b="0">
                        <a:solidFill>
                          <a:srgbClr val="0070C0"/>
                        </a:solidFill>
                        <a:latin typeface="+mn-ea"/>
                        <a:ea typeface="+mn-ea"/>
                      </a:endParaRPr>
                    </a:p>
                  </a:txBody>
                  <a:tcPr marL="112542" marR="112542" marT="56271" marB="56271">
                    <a:solidFill>
                      <a:schemeClr val="bg1"/>
                    </a:solidFill>
                  </a:tcPr>
                </a:tc>
                <a:extLst>
                  <a:ext uri="{0D108BD9-81ED-4DB2-BD59-A6C34878D82A}">
                    <a16:rowId xmlns:a16="http://schemas.microsoft.com/office/drawing/2014/main" val="349536873"/>
                  </a:ext>
                </a:extLst>
              </a:tr>
              <a:tr h="1816725">
                <a:tc>
                  <a:txBody>
                    <a:bodyPr/>
                    <a:lstStyle/>
                    <a:p>
                      <a:r>
                        <a:rPr kumimoji="1" lang="ja-JP" altLang="en-US" sz="1600">
                          <a:latin typeface="+mn-ea"/>
                          <a:ea typeface="+mn-ea"/>
                        </a:rPr>
                        <a:t>サービス展開に向けた仮説</a:t>
                      </a:r>
                    </a:p>
                  </a:txBody>
                  <a:tcPr marL="112542" marR="112542" marT="56271" marB="56271">
                    <a:solidFill>
                      <a:schemeClr val="bg1"/>
                    </a:solidFill>
                  </a:tcPr>
                </a:tc>
                <a:tc>
                  <a:txBody>
                    <a:bodyPr/>
                    <a:lstStyle/>
                    <a:p>
                      <a:pPr marL="0" indent="0">
                        <a:spcBef>
                          <a:spcPts val="0"/>
                        </a:spcBef>
                        <a:spcAft>
                          <a:spcPts val="369"/>
                        </a:spcAft>
                        <a:buFont typeface="+mj-ea"/>
                        <a:buNone/>
                      </a:pPr>
                      <a:r>
                        <a:rPr kumimoji="1" lang="ja-JP" altLang="en-US" sz="1600">
                          <a:solidFill>
                            <a:srgbClr val="0070C0"/>
                          </a:solidFill>
                          <a:latin typeface="+mn-ea"/>
                          <a:ea typeface="+mn-ea"/>
                        </a:rPr>
                        <a:t>他地域に</a:t>
                      </a:r>
                      <a:r>
                        <a:rPr kumimoji="1" lang="en-US" altLang="ja-JP" sz="1600">
                          <a:solidFill>
                            <a:srgbClr val="0070C0"/>
                          </a:solidFill>
                          <a:latin typeface="+mn-ea"/>
                          <a:ea typeface="+mn-ea"/>
                        </a:rPr>
                        <a:t>MaaS</a:t>
                      </a:r>
                      <a:r>
                        <a:rPr kumimoji="1" lang="ja-JP" altLang="en-US" sz="1600">
                          <a:solidFill>
                            <a:srgbClr val="0070C0"/>
                          </a:solidFill>
                          <a:latin typeface="+mn-ea"/>
                          <a:ea typeface="+mn-ea"/>
                        </a:rPr>
                        <a:t>アプリの提供を行い、ユーザーにとって広域で統一したサービスを提供する。</a:t>
                      </a:r>
                      <a:endParaRPr kumimoji="1" lang="en-US" altLang="ja-JP" sz="1600">
                        <a:solidFill>
                          <a:srgbClr val="0070C0"/>
                        </a:solidFill>
                        <a:latin typeface="+mn-ea"/>
                        <a:ea typeface="+mn-ea"/>
                      </a:endParaRPr>
                    </a:p>
                    <a:p>
                      <a:pPr marL="0" indent="0">
                        <a:spcBef>
                          <a:spcPts val="0"/>
                        </a:spcBef>
                        <a:spcAft>
                          <a:spcPts val="369"/>
                        </a:spcAft>
                        <a:buFont typeface="+mj-ea"/>
                        <a:buNone/>
                      </a:pPr>
                      <a:endParaRPr kumimoji="1" lang="en-US" altLang="ja-JP" sz="1600">
                        <a:solidFill>
                          <a:srgbClr val="0070C0"/>
                        </a:solidFill>
                        <a:latin typeface="+mn-ea"/>
                        <a:ea typeface="+mn-ea"/>
                      </a:endParaRPr>
                    </a:p>
                  </a:txBody>
                  <a:tcPr marL="112542" marR="112542" marT="56271" marB="56271">
                    <a:solidFill>
                      <a:schemeClr val="bg1"/>
                    </a:solidFill>
                  </a:tcPr>
                </a:tc>
                <a:extLst>
                  <a:ext uri="{0D108BD9-81ED-4DB2-BD59-A6C34878D82A}">
                    <a16:rowId xmlns:a16="http://schemas.microsoft.com/office/drawing/2014/main" val="3159424183"/>
                  </a:ext>
                </a:extLst>
              </a:tr>
            </a:tbl>
          </a:graphicData>
        </a:graphic>
      </p:graphicFrame>
      <p:sp>
        <p:nvSpPr>
          <p:cNvPr id="6" name="テキスト ボックス 5">
            <a:extLst>
              <a:ext uri="{FF2B5EF4-FFF2-40B4-BE49-F238E27FC236}">
                <a16:creationId xmlns:a16="http://schemas.microsoft.com/office/drawing/2014/main" id="{1D74506D-0E22-A09B-E5D1-B726350DCF3A}"/>
              </a:ext>
            </a:extLst>
          </p:cNvPr>
          <p:cNvSpPr txBox="1"/>
          <p:nvPr/>
        </p:nvSpPr>
        <p:spPr>
          <a:xfrm>
            <a:off x="3517641" y="3359020"/>
            <a:ext cx="5776539" cy="315831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等のシステムを用いたビジネス展開について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利用事業者には、交通事業者等が構築・提供する</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システム等を、構築主体以外の第三者が利用する場合の主体を記載してください。（いない場合（自家利用のみ）はその旨を記載）</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提供価値には、</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システム等を第三者に提供する際のビジネス的な価値について記載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サービス展開に向けた仮設には、本</a:t>
            </a:r>
            <a:r>
              <a:rPr kumimoji="0" lang="en-US" altLang="ja-JP" sz="1400" b="0" i="0" u="none" strike="noStrike" kern="0" cap="none" spc="0" normalizeH="0" baseline="0" noProof="0">
                <a:ln>
                  <a:noFill/>
                </a:ln>
                <a:solidFill>
                  <a:srgbClr val="FFFFFF"/>
                </a:solidFill>
                <a:effectLst/>
                <a:uLnTx/>
                <a:uFillTx/>
              </a:rPr>
              <a:t>PJ</a:t>
            </a:r>
            <a:r>
              <a:rPr kumimoji="0" lang="ja-JP" altLang="en-US" sz="1400" b="0" i="0" u="none" strike="noStrike" kern="0" cap="none" spc="0" normalizeH="0" baseline="0" noProof="0">
                <a:ln>
                  <a:noFill/>
                </a:ln>
                <a:solidFill>
                  <a:srgbClr val="FFFFFF"/>
                </a:solidFill>
                <a:effectLst/>
                <a:uLnTx/>
                <a:uFillTx/>
              </a:rPr>
              <a:t>が提供するシステム等を利用して今後ビジネス展開を目指されている場合（例えば、フィーを取って他地域へ提供、域内の商業施設や観光事業者、自治体等へ提供など）は、どのような展開戦略を描かれているのか記載してください。</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28645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9B11EE97-61F3-4EB1-88AA-CC1F6202EC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9B11EE97-61F3-4EB1-88AA-CC1F6202EC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6745DF5B-1B9B-44D3-BEB6-FB1E031D5C03}"/>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4" name="タイトル 3">
            <a:extLst>
              <a:ext uri="{FF2B5EF4-FFF2-40B4-BE49-F238E27FC236}">
                <a16:creationId xmlns:a16="http://schemas.microsoft.com/office/drawing/2014/main" id="{29DB748F-EFF5-4509-B381-6B8D73B31303}"/>
              </a:ext>
            </a:extLst>
          </p:cNvPr>
          <p:cNvSpPr>
            <a:spLocks noGrp="1"/>
          </p:cNvSpPr>
          <p:nvPr>
            <p:ph type="title"/>
          </p:nvPr>
        </p:nvSpPr>
        <p:spPr/>
        <p:txBody>
          <a:bodyPr vert="horz"/>
          <a:lstStyle/>
          <a:p>
            <a:r>
              <a:rPr lang="ja-JP" altLang="en-US"/>
              <a:t>６</a:t>
            </a:r>
            <a:r>
              <a:rPr kumimoji="1" lang="en-US" altLang="ja-JP"/>
              <a:t>.</a:t>
            </a:r>
            <a:r>
              <a:rPr kumimoji="1" lang="ja-JP" altLang="en-US"/>
              <a:t>中長期的な展開</a:t>
            </a:r>
          </a:p>
        </p:txBody>
      </p:sp>
      <p:sp>
        <p:nvSpPr>
          <p:cNvPr id="8" name="テキスト プレースホルダー 7">
            <a:extLst>
              <a:ext uri="{FF2B5EF4-FFF2-40B4-BE49-F238E27FC236}">
                <a16:creationId xmlns:a16="http://schemas.microsoft.com/office/drawing/2014/main" id="{9D610DBF-17F7-608B-8680-1CFA54E54E02}"/>
              </a:ext>
            </a:extLst>
          </p:cNvPr>
          <p:cNvSpPr>
            <a:spLocks noGrp="1"/>
          </p:cNvSpPr>
          <p:nvPr>
            <p:ph type="body" sz="quarter" idx="4294967295"/>
          </p:nvPr>
        </p:nvSpPr>
        <p:spPr>
          <a:xfrm>
            <a:off x="300779" y="1134673"/>
            <a:ext cx="11376000" cy="600164"/>
          </a:xfrm>
        </p:spPr>
        <p:txBody>
          <a:bodyPr>
            <a:normAutofit fontScale="92500" lnSpcReduction="1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ja-JP" altLang="en-US" sz="1800">
                <a:solidFill>
                  <a:srgbClr val="0070C0"/>
                </a:solidFill>
                <a:latin typeface="+mn-ea"/>
                <a:ea typeface="+mn-ea"/>
              </a:rPr>
              <a:t>・</a:t>
            </a:r>
            <a:r>
              <a:rPr lang="en-US" altLang="ja-JP" sz="1800">
                <a:solidFill>
                  <a:srgbClr val="0070C0"/>
                </a:solidFill>
                <a:latin typeface="+mn-ea"/>
                <a:ea typeface="+mn-ea"/>
              </a:rPr>
              <a:t>2025</a:t>
            </a:r>
            <a:r>
              <a:rPr lang="ja-JP" altLang="en-US" sz="1800">
                <a:solidFill>
                  <a:srgbClr val="0070C0"/>
                </a:solidFill>
                <a:latin typeface="+mn-ea"/>
                <a:ea typeface="+mn-ea"/>
              </a:rPr>
              <a:t>年度は、新規アプリの開発及び実証。</a:t>
            </a:r>
            <a:r>
              <a:rPr kumimoji="1" lang="en-US" altLang="ja-JP" sz="1800" b="0" i="0" u="none" strike="noStrike" kern="0" cap="none" spc="0" normalizeH="0" baseline="0" noProof="0">
                <a:ln>
                  <a:noFill/>
                </a:ln>
                <a:solidFill>
                  <a:srgbClr val="0070C0"/>
                </a:solidFill>
                <a:effectLst/>
                <a:uLnTx/>
                <a:uFillTx/>
                <a:latin typeface="+mn-ea"/>
                <a:ea typeface="+mn-ea"/>
                <a:cs typeface="+mn-cs"/>
              </a:rPr>
              <a:t>2026</a:t>
            </a:r>
            <a:r>
              <a:rPr kumimoji="1" lang="ja-JP" altLang="en-US" sz="1800" b="0" i="0" u="none" strike="noStrike" kern="0" cap="none" spc="0" normalizeH="0" baseline="0" noProof="0">
                <a:ln>
                  <a:noFill/>
                </a:ln>
                <a:solidFill>
                  <a:srgbClr val="0070C0"/>
                </a:solidFill>
                <a:effectLst/>
                <a:uLnTx/>
                <a:uFillTx/>
                <a:latin typeface="+mn-ea"/>
                <a:ea typeface="+mn-ea"/>
                <a:cs typeface="+mn-cs"/>
              </a:rPr>
              <a:t>年度以降より、他地域に横展開を行う。</a:t>
            </a:r>
            <a:endParaRPr kumimoji="1" lang="en-US" altLang="ja-JP" sz="1800" b="0" i="0" u="none" strike="noStrike" kern="0" cap="none" spc="0" normalizeH="0" baseline="0" noProof="0">
              <a:ln>
                <a:noFill/>
              </a:ln>
              <a:solidFill>
                <a:srgbClr val="0070C0"/>
              </a:solidFill>
              <a:effectLst/>
              <a:uLnTx/>
              <a:uFillTx/>
              <a:latin typeface="+mn-ea"/>
              <a:ea typeface="+mn-ea"/>
              <a:cs typeface="+mn-cs"/>
            </a:endParaRPr>
          </a:p>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ja-JP" altLang="en-US" sz="1800" b="0" i="0" u="none" strike="noStrike" kern="0" cap="none" spc="0" normalizeH="0" baseline="0" noProof="0">
                <a:ln>
                  <a:noFill/>
                </a:ln>
                <a:solidFill>
                  <a:srgbClr val="0070C0"/>
                </a:solidFill>
                <a:effectLst/>
                <a:uLnTx/>
                <a:uFillTx/>
                <a:latin typeface="+mn-ea"/>
                <a:ea typeface="+mn-ea"/>
                <a:cs typeface="+mn-cs"/>
              </a:rPr>
              <a:t>・アプリ内で提供するサービス（デジタルパス、サブスクサービス）は券種の増加、対象交通モードの拡大等高度化を実施。</a:t>
            </a:r>
            <a:endParaRPr kumimoji="1" lang="en-US" altLang="ja-JP" sz="1800" b="0" i="0" u="none" strike="noStrike" kern="0" cap="none" spc="0" normalizeH="0" baseline="0" noProof="0">
              <a:ln>
                <a:noFill/>
              </a:ln>
              <a:solidFill>
                <a:srgbClr val="0070C0"/>
              </a:solidFill>
              <a:effectLst/>
              <a:uLnTx/>
              <a:uFillTx/>
              <a:latin typeface="+mn-ea"/>
              <a:ea typeface="+mn-ea"/>
              <a:cs typeface="+mn-cs"/>
            </a:endParaRPr>
          </a:p>
        </p:txBody>
      </p:sp>
      <p:graphicFrame>
        <p:nvGraphicFramePr>
          <p:cNvPr id="2" name="表 13">
            <a:extLst>
              <a:ext uri="{FF2B5EF4-FFF2-40B4-BE49-F238E27FC236}">
                <a16:creationId xmlns:a16="http://schemas.microsoft.com/office/drawing/2014/main" id="{6E528808-E1DF-11C3-55C9-83EB5CBB52C8}"/>
              </a:ext>
            </a:extLst>
          </p:cNvPr>
          <p:cNvGraphicFramePr>
            <a:graphicFrameLocks noGrp="1"/>
          </p:cNvGraphicFramePr>
          <p:nvPr>
            <p:extLst>
              <p:ext uri="{D42A27DB-BD31-4B8C-83A1-F6EECF244321}">
                <p14:modId xmlns:p14="http://schemas.microsoft.com/office/powerpoint/2010/main" val="1077493136"/>
              </p:ext>
            </p:extLst>
          </p:nvPr>
        </p:nvGraphicFramePr>
        <p:xfrm>
          <a:off x="449575" y="1889860"/>
          <a:ext cx="11078407" cy="4409105"/>
        </p:xfrm>
        <a:graphic>
          <a:graphicData uri="http://schemas.openxmlformats.org/drawingml/2006/table">
            <a:tbl>
              <a:tblPr firstRow="1" bandRow="1"/>
              <a:tblGrid>
                <a:gridCol w="2177003">
                  <a:extLst>
                    <a:ext uri="{9D8B030D-6E8A-4147-A177-3AD203B41FA5}">
                      <a16:colId xmlns:a16="http://schemas.microsoft.com/office/drawing/2014/main" val="20000"/>
                    </a:ext>
                  </a:extLst>
                </a:gridCol>
                <a:gridCol w="1733328">
                  <a:extLst>
                    <a:ext uri="{9D8B030D-6E8A-4147-A177-3AD203B41FA5}">
                      <a16:colId xmlns:a16="http://schemas.microsoft.com/office/drawing/2014/main" val="3689492803"/>
                    </a:ext>
                  </a:extLst>
                </a:gridCol>
                <a:gridCol w="1792019">
                  <a:extLst>
                    <a:ext uri="{9D8B030D-6E8A-4147-A177-3AD203B41FA5}">
                      <a16:colId xmlns:a16="http://schemas.microsoft.com/office/drawing/2014/main" val="43096170"/>
                    </a:ext>
                  </a:extLst>
                </a:gridCol>
                <a:gridCol w="1792019">
                  <a:extLst>
                    <a:ext uri="{9D8B030D-6E8A-4147-A177-3AD203B41FA5}">
                      <a16:colId xmlns:a16="http://schemas.microsoft.com/office/drawing/2014/main" val="672319415"/>
                    </a:ext>
                  </a:extLst>
                </a:gridCol>
                <a:gridCol w="1792019">
                  <a:extLst>
                    <a:ext uri="{9D8B030D-6E8A-4147-A177-3AD203B41FA5}">
                      <a16:colId xmlns:a16="http://schemas.microsoft.com/office/drawing/2014/main" val="42042467"/>
                    </a:ext>
                  </a:extLst>
                </a:gridCol>
                <a:gridCol w="1792019">
                  <a:extLst>
                    <a:ext uri="{9D8B030D-6E8A-4147-A177-3AD203B41FA5}">
                      <a16:colId xmlns:a16="http://schemas.microsoft.com/office/drawing/2014/main" val="3396614803"/>
                    </a:ext>
                  </a:extLst>
                </a:gridCol>
              </a:tblGrid>
              <a:tr h="480116">
                <a:tc>
                  <a:txBody>
                    <a:bodyPr/>
                    <a:lstStyle>
                      <a:lvl1pPr marL="0" algn="l" defTabSz="914400" rtl="0" eaLnBrk="1" latinLnBrk="0" hangingPunct="1">
                        <a:defRPr kumimoji="1" sz="1800" b="1" kern="1200">
                          <a:solidFill>
                            <a:schemeClr val="lt1"/>
                          </a:solidFill>
                          <a:latin typeface="Calibri" panose="020F0502020204030204"/>
                          <a:ea typeface="BIZ UDPゴシック"/>
                        </a:defRPr>
                      </a:lvl1pPr>
                      <a:lvl2pPr marL="457200" algn="l" defTabSz="914400" rtl="0" eaLnBrk="1" latinLnBrk="0" hangingPunct="1">
                        <a:defRPr kumimoji="1" sz="1800" b="1" kern="1200">
                          <a:solidFill>
                            <a:schemeClr val="lt1"/>
                          </a:solidFill>
                          <a:latin typeface="Calibri" panose="020F0502020204030204"/>
                          <a:ea typeface="BIZ UDPゴシック"/>
                        </a:defRPr>
                      </a:lvl2pPr>
                      <a:lvl3pPr marL="914400" algn="l" defTabSz="914400" rtl="0" eaLnBrk="1" latinLnBrk="0" hangingPunct="1">
                        <a:defRPr kumimoji="1" sz="1800" b="1" kern="1200">
                          <a:solidFill>
                            <a:schemeClr val="lt1"/>
                          </a:solidFill>
                          <a:latin typeface="Calibri" panose="020F0502020204030204"/>
                          <a:ea typeface="BIZ UDPゴシック"/>
                        </a:defRPr>
                      </a:lvl3pPr>
                      <a:lvl4pPr marL="1371600" algn="l" defTabSz="914400" rtl="0" eaLnBrk="1" latinLnBrk="0" hangingPunct="1">
                        <a:defRPr kumimoji="1" sz="1800" b="1" kern="1200">
                          <a:solidFill>
                            <a:schemeClr val="lt1"/>
                          </a:solidFill>
                          <a:latin typeface="Calibri" panose="020F0502020204030204"/>
                          <a:ea typeface="BIZ UDPゴシック"/>
                        </a:defRPr>
                      </a:lvl4pPr>
                      <a:lvl5pPr marL="1828800" algn="l" defTabSz="914400" rtl="0" eaLnBrk="1" latinLnBrk="0" hangingPunct="1">
                        <a:defRPr kumimoji="1" sz="1800" b="1" kern="1200">
                          <a:solidFill>
                            <a:schemeClr val="lt1"/>
                          </a:solidFill>
                          <a:latin typeface="Calibri" panose="020F0502020204030204"/>
                          <a:ea typeface="BIZ UDPゴシック"/>
                        </a:defRPr>
                      </a:lvl5pPr>
                      <a:lvl6pPr marL="2286000" algn="l" defTabSz="914400" rtl="0" eaLnBrk="1" latinLnBrk="0" hangingPunct="1">
                        <a:defRPr kumimoji="1" sz="1800" b="1" kern="1200">
                          <a:solidFill>
                            <a:schemeClr val="lt1"/>
                          </a:solidFill>
                          <a:latin typeface="Calibri" panose="020F0502020204030204"/>
                          <a:ea typeface="BIZ UDPゴシック"/>
                        </a:defRPr>
                      </a:lvl6pPr>
                      <a:lvl7pPr marL="2743200" algn="l" defTabSz="914400" rtl="0" eaLnBrk="1" latinLnBrk="0" hangingPunct="1">
                        <a:defRPr kumimoji="1" sz="1800" b="1" kern="1200">
                          <a:solidFill>
                            <a:schemeClr val="lt1"/>
                          </a:solidFill>
                          <a:latin typeface="Calibri" panose="020F0502020204030204"/>
                          <a:ea typeface="BIZ UDPゴシック"/>
                        </a:defRPr>
                      </a:lvl7pPr>
                      <a:lvl8pPr marL="3200400" algn="l" defTabSz="914400" rtl="0" eaLnBrk="1" latinLnBrk="0" hangingPunct="1">
                        <a:defRPr kumimoji="1" sz="1800" b="1" kern="1200">
                          <a:solidFill>
                            <a:schemeClr val="lt1"/>
                          </a:solidFill>
                          <a:latin typeface="Calibri" panose="020F0502020204030204"/>
                          <a:ea typeface="BIZ UDPゴシック"/>
                        </a:defRPr>
                      </a:lvl8pPr>
                      <a:lvl9pPr marL="3657600" algn="l" defTabSz="914400" rtl="0" eaLnBrk="1" latinLnBrk="0" hangingPunct="1">
                        <a:defRPr kumimoji="1" sz="1800" b="1" kern="1200">
                          <a:solidFill>
                            <a:schemeClr val="lt1"/>
                          </a:solidFill>
                          <a:latin typeface="Calibri" panose="020F0502020204030204"/>
                          <a:ea typeface="BIZ UDPゴシック"/>
                        </a:defRPr>
                      </a:lvl9pPr>
                    </a:lstStyle>
                    <a:p>
                      <a:endParaRPr kumimoji="1" lang="ja-JP" altLang="en-US" sz="1100">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5</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6</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7</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8</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algn="ctr"/>
                      <a:r>
                        <a:rPr kumimoji="1" lang="en-US" altLang="ja-JP" sz="1100" b="1">
                          <a:solidFill>
                            <a:schemeClr val="bg1"/>
                          </a:solidFill>
                          <a:latin typeface="Meiryo UI" panose="020B0604030504040204" pitchFamily="50" charset="-128"/>
                          <a:ea typeface="Meiryo UI" panose="020B0604030504040204" pitchFamily="50" charset="-128"/>
                        </a:rPr>
                        <a:t>2029</a:t>
                      </a:r>
                      <a:r>
                        <a:rPr kumimoji="1" lang="ja-JP" altLang="en-US" sz="1100" b="1">
                          <a:solidFill>
                            <a:schemeClr val="bg1"/>
                          </a:solidFill>
                          <a:latin typeface="Meiryo UI" panose="020B0604030504040204" pitchFamily="50" charset="-128"/>
                          <a:ea typeface="Meiryo UI" panose="020B0604030504040204" pitchFamily="50" charset="-128"/>
                        </a:rPr>
                        <a:t>年度</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56480">
                <a:tc>
                  <a:txBody>
                    <a:bodyPr/>
                    <a:lstStyle>
                      <a:lvl1pPr marL="0" algn="l" defTabSz="914400" rtl="0" eaLnBrk="1" latinLnBrk="0" hangingPunct="1">
                        <a:defRPr kumimoji="1" sz="1800" kern="1200">
                          <a:solidFill>
                            <a:schemeClr val="dk1"/>
                          </a:solidFill>
                          <a:latin typeface="Calibri" panose="020F0502020204030204"/>
                          <a:ea typeface="BIZ UDPゴシック"/>
                        </a:defRPr>
                      </a:lvl1pPr>
                      <a:lvl2pPr marL="457200" algn="l" defTabSz="914400" rtl="0" eaLnBrk="1" latinLnBrk="0" hangingPunct="1">
                        <a:defRPr kumimoji="1" sz="1800" kern="1200">
                          <a:solidFill>
                            <a:schemeClr val="dk1"/>
                          </a:solidFill>
                          <a:latin typeface="Calibri" panose="020F0502020204030204"/>
                          <a:ea typeface="BIZ UDPゴシック"/>
                        </a:defRPr>
                      </a:lvl2pPr>
                      <a:lvl3pPr marL="914400" algn="l" defTabSz="914400" rtl="0" eaLnBrk="1" latinLnBrk="0" hangingPunct="1">
                        <a:defRPr kumimoji="1" sz="1800" kern="1200">
                          <a:solidFill>
                            <a:schemeClr val="dk1"/>
                          </a:solidFill>
                          <a:latin typeface="Calibri" panose="020F0502020204030204"/>
                          <a:ea typeface="BIZ UDPゴシック"/>
                        </a:defRPr>
                      </a:lvl3pPr>
                      <a:lvl4pPr marL="1371600" algn="l" defTabSz="914400" rtl="0" eaLnBrk="1" latinLnBrk="0" hangingPunct="1">
                        <a:defRPr kumimoji="1" sz="1800" kern="1200">
                          <a:solidFill>
                            <a:schemeClr val="dk1"/>
                          </a:solidFill>
                          <a:latin typeface="Calibri" panose="020F0502020204030204"/>
                          <a:ea typeface="BIZ UDPゴシック"/>
                        </a:defRPr>
                      </a:lvl4pPr>
                      <a:lvl5pPr marL="1828800" algn="l" defTabSz="914400" rtl="0" eaLnBrk="1" latinLnBrk="0" hangingPunct="1">
                        <a:defRPr kumimoji="1" sz="1800" kern="1200">
                          <a:solidFill>
                            <a:schemeClr val="dk1"/>
                          </a:solidFill>
                          <a:latin typeface="Calibri" panose="020F0502020204030204"/>
                          <a:ea typeface="BIZ UDPゴシック"/>
                        </a:defRPr>
                      </a:lvl5pPr>
                      <a:lvl6pPr marL="2286000" algn="l" defTabSz="914400" rtl="0" eaLnBrk="1" latinLnBrk="0" hangingPunct="1">
                        <a:defRPr kumimoji="1" sz="1800" kern="1200">
                          <a:solidFill>
                            <a:schemeClr val="dk1"/>
                          </a:solidFill>
                          <a:latin typeface="Calibri" panose="020F0502020204030204"/>
                          <a:ea typeface="BIZ UDPゴシック"/>
                        </a:defRPr>
                      </a:lvl6pPr>
                      <a:lvl7pPr marL="2743200" algn="l" defTabSz="914400" rtl="0" eaLnBrk="1" latinLnBrk="0" hangingPunct="1">
                        <a:defRPr kumimoji="1" sz="1800" kern="1200">
                          <a:solidFill>
                            <a:schemeClr val="dk1"/>
                          </a:solidFill>
                          <a:latin typeface="Calibri" panose="020F0502020204030204"/>
                          <a:ea typeface="BIZ UDPゴシック"/>
                        </a:defRPr>
                      </a:lvl7pPr>
                      <a:lvl8pPr marL="3200400" algn="l" defTabSz="914400" rtl="0" eaLnBrk="1" latinLnBrk="0" hangingPunct="1">
                        <a:defRPr kumimoji="1" sz="1800" kern="1200">
                          <a:solidFill>
                            <a:schemeClr val="dk1"/>
                          </a:solidFill>
                          <a:latin typeface="Calibri" panose="020F0502020204030204"/>
                          <a:ea typeface="BIZ UDPゴシック"/>
                        </a:defRPr>
                      </a:lvl8pPr>
                      <a:lvl9pPr marL="3657600" algn="l" defTabSz="914400" rtl="0" eaLnBrk="1" latinLnBrk="0" hangingPunct="1">
                        <a:defRPr kumimoji="1" sz="1800" kern="1200">
                          <a:solidFill>
                            <a:schemeClr val="dk1"/>
                          </a:solidFill>
                          <a:latin typeface="Calibri" panose="020F0502020204030204"/>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①新規Ｍａ</a:t>
                      </a:r>
                      <a:r>
                        <a:rPr kumimoji="1" lang="en-US" altLang="ja-JP" sz="1100">
                          <a:solidFill>
                            <a:srgbClr val="0070C0"/>
                          </a:solidFill>
                          <a:highlight>
                            <a:srgbClr val="E4E4E4"/>
                          </a:highlight>
                          <a:latin typeface="+mn-ea"/>
                          <a:ea typeface="+mn-ea"/>
                        </a:rPr>
                        <a:t>aS</a:t>
                      </a:r>
                      <a:r>
                        <a:rPr kumimoji="1" lang="ja-JP" altLang="en-US" sz="1100">
                          <a:solidFill>
                            <a:srgbClr val="0070C0"/>
                          </a:solidFill>
                          <a:highlight>
                            <a:srgbClr val="E4E4E4"/>
                          </a:highlight>
                          <a:latin typeface="+mn-ea"/>
                          <a:ea typeface="+mn-ea"/>
                        </a:rPr>
                        <a:t>アプリの開発</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10002"/>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　１</a:t>
                      </a:r>
                      <a:r>
                        <a:rPr kumimoji="1" lang="en-US" altLang="ja-JP" sz="1100">
                          <a:solidFill>
                            <a:srgbClr val="0070C0"/>
                          </a:solidFill>
                          <a:highlight>
                            <a:srgbClr val="E4E4E4"/>
                          </a:highlight>
                          <a:latin typeface="+mn-ea"/>
                          <a:ea typeface="+mn-ea"/>
                        </a:rPr>
                        <a:t>)</a:t>
                      </a:r>
                      <a:r>
                        <a:rPr kumimoji="1" lang="ja-JP" altLang="en-US" sz="1100">
                          <a:solidFill>
                            <a:srgbClr val="0070C0"/>
                          </a:solidFill>
                          <a:highlight>
                            <a:srgbClr val="E4E4E4"/>
                          </a:highlight>
                          <a:latin typeface="+mn-ea"/>
                          <a:ea typeface="+mn-ea"/>
                        </a:rPr>
                        <a:t>　アプリの提供・改修</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709041220"/>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　２</a:t>
                      </a:r>
                      <a:r>
                        <a:rPr kumimoji="1" lang="en-US" altLang="ja-JP" sz="1100">
                          <a:solidFill>
                            <a:srgbClr val="0070C0"/>
                          </a:solidFill>
                          <a:highlight>
                            <a:srgbClr val="E4E4E4"/>
                          </a:highlight>
                          <a:latin typeface="+mn-ea"/>
                          <a:ea typeface="+mn-ea"/>
                        </a:rPr>
                        <a:t>)</a:t>
                      </a:r>
                      <a:r>
                        <a:rPr kumimoji="1" lang="ja-JP" altLang="en-US" sz="1100">
                          <a:solidFill>
                            <a:srgbClr val="0070C0"/>
                          </a:solidFill>
                          <a:highlight>
                            <a:srgbClr val="E4E4E4"/>
                          </a:highlight>
                          <a:latin typeface="+mn-ea"/>
                          <a:ea typeface="+mn-ea"/>
                        </a:rPr>
                        <a:t>　他地域の横展開</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201666576"/>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②デジタルパスの販売</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060626225"/>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③サブスクサービスの提供</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378116422"/>
                  </a:ext>
                </a:extLst>
              </a:tr>
              <a:tr h="5564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④データ分析の実施</a:t>
                      </a: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734978207"/>
                  </a:ext>
                </a:extLst>
              </a:tr>
              <a:tr h="590109">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a:solidFill>
                            <a:srgbClr val="0070C0"/>
                          </a:solidFill>
                          <a:highlight>
                            <a:srgbClr val="E4E4E4"/>
                          </a:highlight>
                          <a:latin typeface="+mn-ea"/>
                          <a:ea typeface="+mn-ea"/>
                        </a:rPr>
                        <a:t>⑤</a:t>
                      </a:r>
                      <a:r>
                        <a:rPr lang="ja-JP" altLang="en-US" sz="1100">
                          <a:solidFill>
                            <a:srgbClr val="0070C0"/>
                          </a:solidFill>
                          <a:highlight>
                            <a:srgbClr val="E4E4E4"/>
                          </a:highlight>
                          <a:latin typeface="BIZ UDPゴシック"/>
                          <a:ea typeface="BIZ UDPゴシック"/>
                        </a:rPr>
                        <a:t>地域公共交通計画の改定との連携</a:t>
                      </a:r>
                      <a:endParaRPr lang="en-US" altLang="ja-JP" sz="1100">
                        <a:solidFill>
                          <a:srgbClr val="0070C0"/>
                        </a:solidFill>
                        <a:highlight>
                          <a:srgbClr val="E4E4E4"/>
                        </a:highlight>
                        <a:latin typeface="BIZ UDPゴシック"/>
                        <a:ea typeface="BIZ UDPゴシック"/>
                      </a:endParaRPr>
                    </a:p>
                  </a:txBody>
                  <a:tcPr marL="84406" marR="84406" marT="42203" marB="42203" anchor="ct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tc>
                  <a:txBody>
                    <a:bodyPr/>
                    <a:lstStyle/>
                    <a:p>
                      <a:endParaRPr kumimoji="1" lang="ja-JP" altLang="en-US" sz="1100">
                        <a:highlight>
                          <a:srgbClr val="E4E4E4"/>
                        </a:highlight>
                        <a:latin typeface="Meiryo UI" panose="020B0604030504040204" pitchFamily="50" charset="-128"/>
                        <a:ea typeface="Meiryo UI" panose="020B0604030504040204" pitchFamily="50" charset="-128"/>
                      </a:endParaRPr>
                    </a:p>
                  </a:txBody>
                  <a:tcPr marL="84406" marR="84406" marT="42203" marB="42203">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4E4E4"/>
                    </a:solidFill>
                  </a:tcPr>
                </a:tc>
                <a:extLst>
                  <a:ext uri="{0D108BD9-81ED-4DB2-BD59-A6C34878D82A}">
                    <a16:rowId xmlns:a16="http://schemas.microsoft.com/office/drawing/2014/main" val="3407709189"/>
                  </a:ext>
                </a:extLst>
              </a:tr>
            </a:tbl>
          </a:graphicData>
        </a:graphic>
      </p:graphicFrame>
      <p:sp>
        <p:nvSpPr>
          <p:cNvPr id="7" name="ホームベース 14">
            <a:extLst>
              <a:ext uri="{FF2B5EF4-FFF2-40B4-BE49-F238E27FC236}">
                <a16:creationId xmlns:a16="http://schemas.microsoft.com/office/drawing/2014/main" id="{7A4B5C97-0EFD-66A6-AD4E-37C25AAED383}"/>
              </a:ext>
            </a:extLst>
          </p:cNvPr>
          <p:cNvSpPr/>
          <p:nvPr/>
        </p:nvSpPr>
        <p:spPr>
          <a:xfrm>
            <a:off x="2633989" y="3003193"/>
            <a:ext cx="1079594" cy="159886"/>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アプリの開発</a:t>
            </a:r>
          </a:p>
        </p:txBody>
      </p:sp>
      <p:sp>
        <p:nvSpPr>
          <p:cNvPr id="9" name="ホームベース 14">
            <a:extLst>
              <a:ext uri="{FF2B5EF4-FFF2-40B4-BE49-F238E27FC236}">
                <a16:creationId xmlns:a16="http://schemas.microsoft.com/office/drawing/2014/main" id="{1262904C-D38A-3D7B-A122-60E3E02CC0F6}"/>
              </a:ext>
            </a:extLst>
          </p:cNvPr>
          <p:cNvSpPr/>
          <p:nvPr/>
        </p:nvSpPr>
        <p:spPr>
          <a:xfrm>
            <a:off x="3713583" y="3003194"/>
            <a:ext cx="7735078"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提供</a:t>
            </a:r>
          </a:p>
        </p:txBody>
      </p:sp>
      <p:sp>
        <p:nvSpPr>
          <p:cNvPr id="10" name="ホームベース 14">
            <a:extLst>
              <a:ext uri="{FF2B5EF4-FFF2-40B4-BE49-F238E27FC236}">
                <a16:creationId xmlns:a16="http://schemas.microsoft.com/office/drawing/2014/main" id="{19A85C70-63B1-FB56-AF72-EE2FC15CE64C}"/>
              </a:ext>
            </a:extLst>
          </p:cNvPr>
          <p:cNvSpPr/>
          <p:nvPr/>
        </p:nvSpPr>
        <p:spPr>
          <a:xfrm>
            <a:off x="4376057" y="323815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11" name="ホームベース 14">
            <a:extLst>
              <a:ext uri="{FF2B5EF4-FFF2-40B4-BE49-F238E27FC236}">
                <a16:creationId xmlns:a16="http://schemas.microsoft.com/office/drawing/2014/main" id="{049F750A-FABA-8AB3-5381-7032A796023D}"/>
              </a:ext>
            </a:extLst>
          </p:cNvPr>
          <p:cNvSpPr/>
          <p:nvPr/>
        </p:nvSpPr>
        <p:spPr>
          <a:xfrm>
            <a:off x="9731838" y="323815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12" name="ホームベース 14">
            <a:extLst>
              <a:ext uri="{FF2B5EF4-FFF2-40B4-BE49-F238E27FC236}">
                <a16:creationId xmlns:a16="http://schemas.microsoft.com/office/drawing/2014/main" id="{28B77D76-A8D6-74E7-5ECE-0E247E056990}"/>
              </a:ext>
            </a:extLst>
          </p:cNvPr>
          <p:cNvSpPr/>
          <p:nvPr/>
        </p:nvSpPr>
        <p:spPr>
          <a:xfrm>
            <a:off x="7935695" y="3242626"/>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13" name="ホームベース 14">
            <a:extLst>
              <a:ext uri="{FF2B5EF4-FFF2-40B4-BE49-F238E27FC236}">
                <a16:creationId xmlns:a16="http://schemas.microsoft.com/office/drawing/2014/main" id="{B61B5B02-FFAE-760A-3D1D-4EB78FF2F69B}"/>
              </a:ext>
            </a:extLst>
          </p:cNvPr>
          <p:cNvSpPr/>
          <p:nvPr/>
        </p:nvSpPr>
        <p:spPr>
          <a:xfrm>
            <a:off x="6155876" y="323815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修</a:t>
            </a:r>
          </a:p>
        </p:txBody>
      </p:sp>
      <p:sp>
        <p:nvSpPr>
          <p:cNvPr id="14" name="ホームベース 14">
            <a:extLst>
              <a:ext uri="{FF2B5EF4-FFF2-40B4-BE49-F238E27FC236}">
                <a16:creationId xmlns:a16="http://schemas.microsoft.com/office/drawing/2014/main" id="{61134609-B34B-C071-0971-B496E138A26B}"/>
              </a:ext>
            </a:extLst>
          </p:cNvPr>
          <p:cNvSpPr/>
          <p:nvPr/>
        </p:nvSpPr>
        <p:spPr>
          <a:xfrm>
            <a:off x="4376057" y="3686027"/>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en-US" altLang="ja-JP" sz="800" kern="0">
                <a:solidFill>
                  <a:prstClr val="black">
                    <a:lumMod val="85000"/>
                    <a:lumOff val="15000"/>
                  </a:prstClr>
                </a:solidFill>
                <a:latin typeface="Noto Sans CJK JP"/>
                <a:ea typeface="BIZ UDPゴシック"/>
              </a:rPr>
              <a:t>A</a:t>
            </a: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地域への横展開</a:t>
            </a:r>
          </a:p>
        </p:txBody>
      </p:sp>
      <p:sp>
        <p:nvSpPr>
          <p:cNvPr id="15" name="ホームベース 14">
            <a:extLst>
              <a:ext uri="{FF2B5EF4-FFF2-40B4-BE49-F238E27FC236}">
                <a16:creationId xmlns:a16="http://schemas.microsoft.com/office/drawing/2014/main" id="{5CF442C1-D88A-0582-DFB1-3CCBF4972E67}"/>
              </a:ext>
            </a:extLst>
          </p:cNvPr>
          <p:cNvSpPr/>
          <p:nvPr/>
        </p:nvSpPr>
        <p:spPr>
          <a:xfrm>
            <a:off x="6172200" y="3686027"/>
            <a:ext cx="177981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Ｂ地域への横展開</a:t>
            </a:r>
          </a:p>
        </p:txBody>
      </p:sp>
      <p:sp>
        <p:nvSpPr>
          <p:cNvPr id="16" name="ホームベース 14">
            <a:extLst>
              <a:ext uri="{FF2B5EF4-FFF2-40B4-BE49-F238E27FC236}">
                <a16:creationId xmlns:a16="http://schemas.microsoft.com/office/drawing/2014/main" id="{3A3F5415-1FFB-D6D9-160C-1802DCBD2D2F}"/>
              </a:ext>
            </a:extLst>
          </p:cNvPr>
          <p:cNvSpPr/>
          <p:nvPr/>
        </p:nvSpPr>
        <p:spPr>
          <a:xfrm>
            <a:off x="2633989" y="4116526"/>
            <a:ext cx="135951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ジタルパスの開発</a:t>
            </a:r>
          </a:p>
        </p:txBody>
      </p:sp>
      <p:sp>
        <p:nvSpPr>
          <p:cNvPr id="17" name="ホームベース 14">
            <a:extLst>
              <a:ext uri="{FF2B5EF4-FFF2-40B4-BE49-F238E27FC236}">
                <a16:creationId xmlns:a16="http://schemas.microsoft.com/office/drawing/2014/main" id="{B85BA7A7-2EA0-C463-9B8C-957DD967155F}"/>
              </a:ext>
            </a:extLst>
          </p:cNvPr>
          <p:cNvSpPr/>
          <p:nvPr/>
        </p:nvSpPr>
        <p:spPr>
          <a:xfrm>
            <a:off x="4068156" y="4116526"/>
            <a:ext cx="7459826"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提供</a:t>
            </a:r>
          </a:p>
        </p:txBody>
      </p:sp>
      <p:sp>
        <p:nvSpPr>
          <p:cNvPr id="18" name="ホームベース 14">
            <a:extLst>
              <a:ext uri="{FF2B5EF4-FFF2-40B4-BE49-F238E27FC236}">
                <a16:creationId xmlns:a16="http://schemas.microsoft.com/office/drawing/2014/main" id="{6235923C-BA68-BA6E-257A-9E82D27E5AA7}"/>
              </a:ext>
            </a:extLst>
          </p:cNvPr>
          <p:cNvSpPr/>
          <p:nvPr/>
        </p:nvSpPr>
        <p:spPr>
          <a:xfrm>
            <a:off x="4376056" y="4351491"/>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19" name="ホームベース 14">
            <a:extLst>
              <a:ext uri="{FF2B5EF4-FFF2-40B4-BE49-F238E27FC236}">
                <a16:creationId xmlns:a16="http://schemas.microsoft.com/office/drawing/2014/main" id="{469BFAF2-628C-FBCC-FD7A-0B8149791F4E}"/>
              </a:ext>
            </a:extLst>
          </p:cNvPr>
          <p:cNvSpPr/>
          <p:nvPr/>
        </p:nvSpPr>
        <p:spPr>
          <a:xfrm>
            <a:off x="9748553" y="4349619"/>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20" name="ホームベース 14">
            <a:extLst>
              <a:ext uri="{FF2B5EF4-FFF2-40B4-BE49-F238E27FC236}">
                <a16:creationId xmlns:a16="http://schemas.microsoft.com/office/drawing/2014/main" id="{DE66E234-02F7-8887-E31C-7AAE4EF35330}"/>
              </a:ext>
            </a:extLst>
          </p:cNvPr>
          <p:cNvSpPr/>
          <p:nvPr/>
        </p:nvSpPr>
        <p:spPr>
          <a:xfrm>
            <a:off x="7969124" y="4349619"/>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21" name="ホームベース 14">
            <a:extLst>
              <a:ext uri="{FF2B5EF4-FFF2-40B4-BE49-F238E27FC236}">
                <a16:creationId xmlns:a16="http://schemas.microsoft.com/office/drawing/2014/main" id="{7B93A854-DC48-AED7-A346-154AC8853A28}"/>
              </a:ext>
            </a:extLst>
          </p:cNvPr>
          <p:cNvSpPr/>
          <p:nvPr/>
        </p:nvSpPr>
        <p:spPr>
          <a:xfrm>
            <a:off x="6202137" y="4350053"/>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新券種の追加</a:t>
            </a:r>
          </a:p>
        </p:txBody>
      </p:sp>
      <p:sp>
        <p:nvSpPr>
          <p:cNvPr id="22" name="ホームベース 14">
            <a:extLst>
              <a:ext uri="{FF2B5EF4-FFF2-40B4-BE49-F238E27FC236}">
                <a16:creationId xmlns:a16="http://schemas.microsoft.com/office/drawing/2014/main" id="{44DF471C-9AAC-DB64-4328-E8760C32D421}"/>
              </a:ext>
            </a:extLst>
          </p:cNvPr>
          <p:cNvSpPr/>
          <p:nvPr/>
        </p:nvSpPr>
        <p:spPr>
          <a:xfrm>
            <a:off x="4068156" y="4699120"/>
            <a:ext cx="7459826"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提供</a:t>
            </a:r>
          </a:p>
        </p:txBody>
      </p:sp>
      <p:sp>
        <p:nvSpPr>
          <p:cNvPr id="23" name="ホームベース 14">
            <a:extLst>
              <a:ext uri="{FF2B5EF4-FFF2-40B4-BE49-F238E27FC236}">
                <a16:creationId xmlns:a16="http://schemas.microsoft.com/office/drawing/2014/main" id="{AC63DED8-5731-AEB2-36A6-67E86BEB5A06}"/>
              </a:ext>
            </a:extLst>
          </p:cNvPr>
          <p:cNvSpPr/>
          <p:nvPr/>
        </p:nvSpPr>
        <p:spPr>
          <a:xfrm>
            <a:off x="2633988" y="4708360"/>
            <a:ext cx="1359513" cy="137771"/>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サービス内容の調整</a:t>
            </a:r>
          </a:p>
        </p:txBody>
      </p:sp>
      <p:sp>
        <p:nvSpPr>
          <p:cNvPr id="24" name="ホームベース 14">
            <a:extLst>
              <a:ext uri="{FF2B5EF4-FFF2-40B4-BE49-F238E27FC236}">
                <a16:creationId xmlns:a16="http://schemas.microsoft.com/office/drawing/2014/main" id="{CFC44A63-66E8-5CD7-0521-1345E270BA00}"/>
              </a:ext>
            </a:extLst>
          </p:cNvPr>
          <p:cNvSpPr/>
          <p:nvPr/>
        </p:nvSpPr>
        <p:spPr>
          <a:xfrm>
            <a:off x="4379361" y="4916448"/>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交通モード拡大</a:t>
            </a:r>
          </a:p>
        </p:txBody>
      </p:sp>
      <p:sp>
        <p:nvSpPr>
          <p:cNvPr id="25" name="ホームベース 14">
            <a:extLst>
              <a:ext uri="{FF2B5EF4-FFF2-40B4-BE49-F238E27FC236}">
                <a16:creationId xmlns:a16="http://schemas.microsoft.com/office/drawing/2014/main" id="{07937947-7B48-7450-CDCD-777D869D6830}"/>
              </a:ext>
            </a:extLst>
          </p:cNvPr>
          <p:cNvSpPr/>
          <p:nvPr/>
        </p:nvSpPr>
        <p:spPr>
          <a:xfrm>
            <a:off x="2633988" y="5339157"/>
            <a:ext cx="1359513" cy="137771"/>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27" name="星 5 27">
            <a:extLst>
              <a:ext uri="{FF2B5EF4-FFF2-40B4-BE49-F238E27FC236}">
                <a16:creationId xmlns:a16="http://schemas.microsoft.com/office/drawing/2014/main" id="{D10C4D59-BCEC-32AB-FAB5-DE853C32AF83}"/>
              </a:ext>
            </a:extLst>
          </p:cNvPr>
          <p:cNvSpPr>
            <a:spLocks noChangeAspect="1"/>
          </p:cNvSpPr>
          <p:nvPr/>
        </p:nvSpPr>
        <p:spPr>
          <a:xfrm>
            <a:off x="4068156" y="5281714"/>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28" name="テキスト ボックス 28">
            <a:extLst>
              <a:ext uri="{FF2B5EF4-FFF2-40B4-BE49-F238E27FC236}">
                <a16:creationId xmlns:a16="http://schemas.microsoft.com/office/drawing/2014/main" id="{A80A63E8-101E-C7BE-1DA8-BB3E4E888AC9}"/>
              </a:ext>
            </a:extLst>
          </p:cNvPr>
          <p:cNvSpPr txBox="1"/>
          <p:nvPr/>
        </p:nvSpPr>
        <p:spPr>
          <a:xfrm>
            <a:off x="7234606" y="5467150"/>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29" name="ホームベース 14">
            <a:extLst>
              <a:ext uri="{FF2B5EF4-FFF2-40B4-BE49-F238E27FC236}">
                <a16:creationId xmlns:a16="http://schemas.microsoft.com/office/drawing/2014/main" id="{4DC9EA2B-70C8-CE8B-702F-2C923A14941C}"/>
              </a:ext>
            </a:extLst>
          </p:cNvPr>
          <p:cNvSpPr/>
          <p:nvPr/>
        </p:nvSpPr>
        <p:spPr>
          <a:xfrm>
            <a:off x="6155875" y="4934085"/>
            <a:ext cx="1719943"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エリア拡大</a:t>
            </a:r>
          </a:p>
        </p:txBody>
      </p:sp>
      <p:sp>
        <p:nvSpPr>
          <p:cNvPr id="30" name="星 5 27">
            <a:extLst>
              <a:ext uri="{FF2B5EF4-FFF2-40B4-BE49-F238E27FC236}">
                <a16:creationId xmlns:a16="http://schemas.microsoft.com/office/drawing/2014/main" id="{15AC59DB-470C-6246-6A5B-408588E4DF75}"/>
              </a:ext>
            </a:extLst>
          </p:cNvPr>
          <p:cNvSpPr>
            <a:spLocks noChangeAspect="1"/>
          </p:cNvSpPr>
          <p:nvPr/>
        </p:nvSpPr>
        <p:spPr>
          <a:xfrm>
            <a:off x="4196056" y="5822338"/>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31" name="テキスト ボックス 28">
            <a:extLst>
              <a:ext uri="{FF2B5EF4-FFF2-40B4-BE49-F238E27FC236}">
                <a16:creationId xmlns:a16="http://schemas.microsoft.com/office/drawing/2014/main" id="{D28EA95D-6341-19CA-E53B-79BE26918EA2}"/>
              </a:ext>
            </a:extLst>
          </p:cNvPr>
          <p:cNvSpPr txBox="1"/>
          <p:nvPr/>
        </p:nvSpPr>
        <p:spPr>
          <a:xfrm>
            <a:off x="3506316" y="6079849"/>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計画の改定</a:t>
            </a:r>
          </a:p>
        </p:txBody>
      </p:sp>
      <p:sp>
        <p:nvSpPr>
          <p:cNvPr id="32" name="ホームベース 14">
            <a:extLst>
              <a:ext uri="{FF2B5EF4-FFF2-40B4-BE49-F238E27FC236}">
                <a16:creationId xmlns:a16="http://schemas.microsoft.com/office/drawing/2014/main" id="{20E73144-A11D-C133-1423-7BCE773C1286}"/>
              </a:ext>
            </a:extLst>
          </p:cNvPr>
          <p:cNvSpPr/>
          <p:nvPr/>
        </p:nvSpPr>
        <p:spPr>
          <a:xfrm>
            <a:off x="2629265" y="5877735"/>
            <a:ext cx="1483680"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定案検討</a:t>
            </a:r>
          </a:p>
        </p:txBody>
      </p:sp>
      <p:sp>
        <p:nvSpPr>
          <p:cNvPr id="33" name="ホームベース 14">
            <a:extLst>
              <a:ext uri="{FF2B5EF4-FFF2-40B4-BE49-F238E27FC236}">
                <a16:creationId xmlns:a16="http://schemas.microsoft.com/office/drawing/2014/main" id="{BB054CD1-4184-7D70-69D3-8CBAF55A4175}"/>
              </a:ext>
            </a:extLst>
          </p:cNvPr>
          <p:cNvSpPr/>
          <p:nvPr/>
        </p:nvSpPr>
        <p:spPr>
          <a:xfrm>
            <a:off x="4459166" y="5876892"/>
            <a:ext cx="7009329" cy="159885"/>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改定案検討</a:t>
            </a:r>
          </a:p>
        </p:txBody>
      </p:sp>
      <p:sp>
        <p:nvSpPr>
          <p:cNvPr id="34" name="ホームベース 14">
            <a:extLst>
              <a:ext uri="{FF2B5EF4-FFF2-40B4-BE49-F238E27FC236}">
                <a16:creationId xmlns:a16="http://schemas.microsoft.com/office/drawing/2014/main" id="{57EBBC6A-CCB1-EB90-5276-3B8DC6664F99}"/>
              </a:ext>
            </a:extLst>
          </p:cNvPr>
          <p:cNvSpPr/>
          <p:nvPr/>
        </p:nvSpPr>
        <p:spPr>
          <a:xfrm>
            <a:off x="4376056" y="5323795"/>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35" name="ホームベース 14">
            <a:extLst>
              <a:ext uri="{FF2B5EF4-FFF2-40B4-BE49-F238E27FC236}">
                <a16:creationId xmlns:a16="http://schemas.microsoft.com/office/drawing/2014/main" id="{D0E7E626-9876-56D7-4D65-DFBA3A799233}"/>
              </a:ext>
            </a:extLst>
          </p:cNvPr>
          <p:cNvSpPr/>
          <p:nvPr/>
        </p:nvSpPr>
        <p:spPr>
          <a:xfrm>
            <a:off x="9745906" y="5320784"/>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36" name="ホームベース 14">
            <a:extLst>
              <a:ext uri="{FF2B5EF4-FFF2-40B4-BE49-F238E27FC236}">
                <a16:creationId xmlns:a16="http://schemas.microsoft.com/office/drawing/2014/main" id="{7304849B-2D24-E196-8765-CC111C170B10}"/>
              </a:ext>
            </a:extLst>
          </p:cNvPr>
          <p:cNvSpPr/>
          <p:nvPr/>
        </p:nvSpPr>
        <p:spPr>
          <a:xfrm>
            <a:off x="7963830" y="5320785"/>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37" name="ホームベース 14">
            <a:extLst>
              <a:ext uri="{FF2B5EF4-FFF2-40B4-BE49-F238E27FC236}">
                <a16:creationId xmlns:a16="http://schemas.microsoft.com/office/drawing/2014/main" id="{B2979A79-5767-E595-00BC-C154FE6FC162}"/>
              </a:ext>
            </a:extLst>
          </p:cNvPr>
          <p:cNvSpPr/>
          <p:nvPr/>
        </p:nvSpPr>
        <p:spPr>
          <a:xfrm>
            <a:off x="6172200" y="5323795"/>
            <a:ext cx="1408924" cy="137919"/>
          </a:xfrm>
          <a:prstGeom prst="homePlate">
            <a:avLst/>
          </a:prstGeom>
          <a:solidFill>
            <a:srgbClr val="FFFFFF"/>
          </a:solidFill>
          <a:ln w="25400" cap="flat" cmpd="sng" algn="ctr">
            <a:solidFill>
              <a:srgbClr val="7EBE9A"/>
            </a:solidFill>
            <a:prstDash val="solid"/>
          </a:ln>
          <a:effectLst/>
        </p:spPr>
        <p:txBody>
          <a:bodyPr wrap="none" tIns="16615" bIns="16615" rtlCol="0" anchor="ctr"/>
          <a:lstStyle/>
          <a:p>
            <a:pPr marL="0" marR="0" lvl="0" indent="0" defTabSz="844083" eaLnBrk="1" fontAlgn="base" latinLnBrk="0" hangingPunct="1">
              <a:lnSpc>
                <a:spcPct val="100000"/>
              </a:lnSpc>
              <a:spcBef>
                <a:spcPct val="0"/>
              </a:spcBef>
              <a:spcAft>
                <a:spcPct val="0"/>
              </a:spcAft>
              <a:buClrTx/>
              <a:buSzTx/>
              <a:buFontTx/>
              <a:buNone/>
              <a:tabLst/>
              <a:defRPr/>
            </a:pPr>
            <a:r>
              <a:rPr kumimoji="0" lang="ja-JP" altLang="en-US" sz="800" b="0" i="0" u="none" strike="noStrike" kern="0" cap="none" spc="0" normalizeH="0" baseline="0" noProof="0">
                <a:ln>
                  <a:noFill/>
                </a:ln>
                <a:solidFill>
                  <a:prstClr val="black">
                    <a:lumMod val="85000"/>
                    <a:lumOff val="15000"/>
                  </a:prstClr>
                </a:solidFill>
                <a:effectLst/>
                <a:uLnTx/>
                <a:uFillTx/>
                <a:latin typeface="Noto Sans CJK JP"/>
                <a:ea typeface="BIZ UDPゴシック"/>
                <a:cs typeface="+mn-cs"/>
              </a:rPr>
              <a:t>データ分析</a:t>
            </a:r>
          </a:p>
        </p:txBody>
      </p:sp>
      <p:sp>
        <p:nvSpPr>
          <p:cNvPr id="38" name="星 5 27">
            <a:extLst>
              <a:ext uri="{FF2B5EF4-FFF2-40B4-BE49-F238E27FC236}">
                <a16:creationId xmlns:a16="http://schemas.microsoft.com/office/drawing/2014/main" id="{CA99034F-71F3-EBA0-DBFB-277203A9F25A}"/>
              </a:ext>
            </a:extLst>
          </p:cNvPr>
          <p:cNvSpPr>
            <a:spLocks noChangeAspect="1"/>
          </p:cNvSpPr>
          <p:nvPr/>
        </p:nvSpPr>
        <p:spPr>
          <a:xfrm>
            <a:off x="7708069" y="5299743"/>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39" name="星 5 27">
            <a:extLst>
              <a:ext uri="{FF2B5EF4-FFF2-40B4-BE49-F238E27FC236}">
                <a16:creationId xmlns:a16="http://schemas.microsoft.com/office/drawing/2014/main" id="{47B976B8-5854-FC8C-BE76-29FE53F8CD8D}"/>
              </a:ext>
            </a:extLst>
          </p:cNvPr>
          <p:cNvSpPr>
            <a:spLocks noChangeAspect="1"/>
          </p:cNvSpPr>
          <p:nvPr/>
        </p:nvSpPr>
        <p:spPr>
          <a:xfrm>
            <a:off x="9442517" y="5278703"/>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40" name="星 5 27">
            <a:extLst>
              <a:ext uri="{FF2B5EF4-FFF2-40B4-BE49-F238E27FC236}">
                <a16:creationId xmlns:a16="http://schemas.microsoft.com/office/drawing/2014/main" id="{3E775684-8E54-AAF4-F2FD-C3059CD88844}"/>
              </a:ext>
            </a:extLst>
          </p:cNvPr>
          <p:cNvSpPr>
            <a:spLocks noChangeAspect="1"/>
          </p:cNvSpPr>
          <p:nvPr/>
        </p:nvSpPr>
        <p:spPr>
          <a:xfrm>
            <a:off x="11206798" y="5292426"/>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41" name="星 5 27">
            <a:extLst>
              <a:ext uri="{FF2B5EF4-FFF2-40B4-BE49-F238E27FC236}">
                <a16:creationId xmlns:a16="http://schemas.microsoft.com/office/drawing/2014/main" id="{613709A8-6958-FD46-DC29-4DC38282F35E}"/>
              </a:ext>
            </a:extLst>
          </p:cNvPr>
          <p:cNvSpPr>
            <a:spLocks noChangeAspect="1"/>
          </p:cNvSpPr>
          <p:nvPr/>
        </p:nvSpPr>
        <p:spPr>
          <a:xfrm>
            <a:off x="5882337" y="5292426"/>
            <a:ext cx="180000" cy="180000"/>
          </a:xfrm>
          <a:prstGeom prst="star5">
            <a:avLst/>
          </a:prstGeom>
          <a:noFill/>
          <a:ln w="28575" cap="flat" cmpd="sng" algn="ctr">
            <a:solidFill>
              <a:srgbClr val="F3817B"/>
            </a:solidFill>
            <a:prstDash val="solid"/>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ja-JP" altLang="en-US" sz="1800" b="0" i="0" u="none" strike="noStrike" kern="0" cap="none" spc="0" normalizeH="0" baseline="0" noProof="0">
              <a:ln>
                <a:noFill/>
              </a:ln>
              <a:solidFill>
                <a:srgbClr val="FFFFFF"/>
              </a:solidFill>
              <a:effectLst/>
              <a:uLnTx/>
              <a:uFillTx/>
              <a:latin typeface="Noto Sans CJK JP"/>
              <a:ea typeface="BIZ UDPゴシック"/>
              <a:cs typeface="+mn-cs"/>
            </a:endParaRPr>
          </a:p>
        </p:txBody>
      </p:sp>
      <p:sp>
        <p:nvSpPr>
          <p:cNvPr id="42" name="テキスト ボックス 28">
            <a:extLst>
              <a:ext uri="{FF2B5EF4-FFF2-40B4-BE49-F238E27FC236}">
                <a16:creationId xmlns:a16="http://schemas.microsoft.com/office/drawing/2014/main" id="{0A9DE8D6-28B1-E795-A32E-286911EF3E75}"/>
              </a:ext>
            </a:extLst>
          </p:cNvPr>
          <p:cNvSpPr txBox="1"/>
          <p:nvPr/>
        </p:nvSpPr>
        <p:spPr>
          <a:xfrm>
            <a:off x="5419077" y="5470776"/>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43" name="テキスト ボックス 28">
            <a:extLst>
              <a:ext uri="{FF2B5EF4-FFF2-40B4-BE49-F238E27FC236}">
                <a16:creationId xmlns:a16="http://schemas.microsoft.com/office/drawing/2014/main" id="{A3891C73-48A8-3284-BBF5-E709A5EB507D}"/>
              </a:ext>
            </a:extLst>
          </p:cNvPr>
          <p:cNvSpPr txBox="1"/>
          <p:nvPr/>
        </p:nvSpPr>
        <p:spPr>
          <a:xfrm>
            <a:off x="3786616" y="5629540"/>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44" name="テキスト ボックス 28">
            <a:extLst>
              <a:ext uri="{FF2B5EF4-FFF2-40B4-BE49-F238E27FC236}">
                <a16:creationId xmlns:a16="http://schemas.microsoft.com/office/drawing/2014/main" id="{56B1FE61-8765-B41E-97E1-71821D77D11D}"/>
              </a:ext>
            </a:extLst>
          </p:cNvPr>
          <p:cNvSpPr txBox="1"/>
          <p:nvPr/>
        </p:nvSpPr>
        <p:spPr>
          <a:xfrm>
            <a:off x="8963003" y="5474381"/>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45" name="テキスト ボックス 28">
            <a:extLst>
              <a:ext uri="{FF2B5EF4-FFF2-40B4-BE49-F238E27FC236}">
                <a16:creationId xmlns:a16="http://schemas.microsoft.com/office/drawing/2014/main" id="{6AB4E816-CB11-35AA-5A71-1E40283D38C1}"/>
              </a:ext>
            </a:extLst>
          </p:cNvPr>
          <p:cNvSpPr txBox="1"/>
          <p:nvPr/>
        </p:nvSpPr>
        <p:spPr>
          <a:xfrm>
            <a:off x="10663553" y="5486262"/>
            <a:ext cx="1483680" cy="230832"/>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900" b="0" i="0" u="none" strike="noStrike" kern="1200" cap="none" spc="0" normalizeH="0" baseline="0" noProof="0">
                <a:ln>
                  <a:noFill/>
                </a:ln>
                <a:solidFill>
                  <a:srgbClr val="000000"/>
                </a:solidFill>
                <a:effectLst/>
                <a:uLnTx/>
                <a:uFillTx/>
                <a:latin typeface="+mn-ea"/>
                <a:cs typeface="+mn-cs"/>
              </a:rPr>
              <a:t>地域公共交通会議</a:t>
            </a:r>
          </a:p>
        </p:txBody>
      </p:sp>
      <p:sp>
        <p:nvSpPr>
          <p:cNvPr id="47" name="テキスト ボックス 46">
            <a:extLst>
              <a:ext uri="{FF2B5EF4-FFF2-40B4-BE49-F238E27FC236}">
                <a16:creationId xmlns:a16="http://schemas.microsoft.com/office/drawing/2014/main" id="{6112EF6B-0D9B-1C27-A257-DDA1B2585EC3}"/>
              </a:ext>
            </a:extLst>
          </p:cNvPr>
          <p:cNvSpPr txBox="1"/>
          <p:nvPr/>
        </p:nvSpPr>
        <p:spPr>
          <a:xfrm>
            <a:off x="3048000" y="3263384"/>
            <a:ext cx="6096000" cy="369332"/>
          </a:xfrm>
          <a:prstGeom prst="rect">
            <a:avLst/>
          </a:prstGeom>
          <a:noFill/>
        </p:spPr>
        <p:txBody>
          <a:bodyPr wrap="square">
            <a:spAutoFit/>
          </a:bodyPr>
          <a:lstStyle/>
          <a:p>
            <a:endParaRPr lang="ja-JP" altLang="en-US"/>
          </a:p>
        </p:txBody>
      </p:sp>
      <p:sp>
        <p:nvSpPr>
          <p:cNvPr id="49" name="テキスト ボックス 48">
            <a:extLst>
              <a:ext uri="{FF2B5EF4-FFF2-40B4-BE49-F238E27FC236}">
                <a16:creationId xmlns:a16="http://schemas.microsoft.com/office/drawing/2014/main" id="{70638649-A132-E070-8B0B-BCD9CE1380AC}"/>
              </a:ext>
            </a:extLst>
          </p:cNvPr>
          <p:cNvSpPr txBox="1"/>
          <p:nvPr/>
        </p:nvSpPr>
        <p:spPr>
          <a:xfrm>
            <a:off x="3048000" y="3263384"/>
            <a:ext cx="6096000" cy="369332"/>
          </a:xfrm>
          <a:prstGeom prst="rect">
            <a:avLst/>
          </a:prstGeom>
          <a:noFill/>
        </p:spPr>
        <p:txBody>
          <a:bodyPr wrap="square">
            <a:spAutoFit/>
          </a:bodyPr>
          <a:lstStyle/>
          <a:p>
            <a:endParaRPr lang="ja-JP" altLang="en-US"/>
          </a:p>
        </p:txBody>
      </p:sp>
      <p:sp>
        <p:nvSpPr>
          <p:cNvPr id="51" name="テキスト ボックス 50">
            <a:extLst>
              <a:ext uri="{FF2B5EF4-FFF2-40B4-BE49-F238E27FC236}">
                <a16:creationId xmlns:a16="http://schemas.microsoft.com/office/drawing/2014/main" id="{043C0BE9-E83F-1E13-1256-F9126DC7516B}"/>
              </a:ext>
            </a:extLst>
          </p:cNvPr>
          <p:cNvSpPr txBox="1"/>
          <p:nvPr/>
        </p:nvSpPr>
        <p:spPr>
          <a:xfrm>
            <a:off x="3048000" y="3263384"/>
            <a:ext cx="6096000" cy="369332"/>
          </a:xfrm>
          <a:prstGeom prst="rect">
            <a:avLst/>
          </a:prstGeom>
          <a:noFill/>
        </p:spPr>
        <p:txBody>
          <a:bodyPr wrap="square">
            <a:spAutoFit/>
          </a:bodyPr>
          <a:lstStyle/>
          <a:p>
            <a:endParaRPr lang="ja-JP" altLang="en-US"/>
          </a:p>
        </p:txBody>
      </p:sp>
    </p:spTree>
    <p:extLst>
      <p:ext uri="{BB962C8B-B14F-4D97-AF65-F5344CB8AC3E}">
        <p14:creationId xmlns:p14="http://schemas.microsoft.com/office/powerpoint/2010/main" val="28485588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83003" y="3118128"/>
            <a:ext cx="3639912" cy="291877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BF387224-4C8E-59BD-C3A0-9470C0C4A48E}"/>
              </a:ext>
            </a:extLst>
          </p:cNvPr>
          <p:cNvSpPr/>
          <p:nvPr/>
        </p:nvSpPr>
        <p:spPr>
          <a:xfrm>
            <a:off x="150389" y="1286401"/>
            <a:ext cx="11876770" cy="5232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a:solidFill>
                  <a:srgbClr val="000000"/>
                </a:solidFill>
                <a:latin typeface="BIZ UDPゴシック"/>
                <a:ea typeface="BIZ UDPゴシック"/>
              </a:rPr>
              <a:t>KPI</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サービス全体像</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実証仮説</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スコープ詳細　</a:t>
            </a:r>
            <a:endParaRPr lang="en-US" altLang="ja-JP" sz="160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a:solidFill>
                  <a:srgbClr val="000000"/>
                </a:solidFill>
                <a:latin typeface="BIZ UDPゴシック"/>
                <a:ea typeface="BIZ UDPゴシック"/>
              </a:rPr>
              <a:t>データ活用の</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政策連携</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施内容の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スケジュール（</a:t>
            </a:r>
            <a:r>
              <a:rPr lang="en-US" altLang="ja-JP" sz="1600">
                <a:solidFill>
                  <a:srgbClr val="000000"/>
                </a:solidFill>
                <a:latin typeface="BIZ UDPゴシック"/>
                <a:ea typeface="BIZ UDPゴシック"/>
              </a:rPr>
              <a:t>WBS</a:t>
            </a:r>
            <a:r>
              <a:rPr lang="ja-JP" altLang="en-US" sz="1600">
                <a:solidFill>
                  <a:srgbClr val="000000"/>
                </a:solidFill>
                <a:latin typeface="BIZ UDPゴシック"/>
                <a:ea typeface="BIZ UDPゴシック"/>
              </a:rPr>
              <a:t>ガントチャー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プロジェクトのフロー</a:t>
            </a:r>
            <a:endParaRPr lang="en-US" altLang="ja-JP" sz="160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成果物</a:t>
            </a: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39154552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サービス全体像</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02400" y="1661738"/>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全体像</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XX</a:t>
            </a:r>
            <a:r>
              <a:rPr lang="ja-JP" altLang="en-US" sz="1200">
                <a:solidFill>
                  <a:srgbClr val="0070C0"/>
                </a:solidFill>
                <a:latin typeface="BIZ UDPゴシック"/>
                <a:ea typeface="BIZ UDPゴシック"/>
              </a:rPr>
              <a:t>地域の交通空白を解消するため、地域の交通事業者と連携した</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プラットフォームを開発し、地域交通へのアクセシビリティを改善する。</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新規</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当該エリア内のシームレスな移動を可能とするため、</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及び実</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証を行う。</a:t>
            </a:r>
            <a:endParaRPr lang="en-US" altLang="ja-JP" sz="1200">
              <a:solidFill>
                <a:srgbClr val="0070C0"/>
              </a:solidFill>
              <a:latin typeface="BIZ UDPゴシック"/>
              <a:ea typeface="BIZ UDPゴシック"/>
            </a:endParaRPr>
          </a:p>
          <a:p>
            <a:pPr>
              <a:spcBef>
                <a:spcPts val="300"/>
              </a:spcBef>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デジタルパスの販売</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①で開発したアプリにおいて、エリア内の交通のフリー乗車券と商業施設のクーポ</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ンをセットにし他デジタルパスの販売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③サブスクサービスの提供</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当該エリア内で主にマイカー通勤者に対して公共交通利用への転換を促すため、さ</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びスクサービスの提供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00779" y="4311099"/>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425091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438793"/>
            <a:ext cx="2164078" cy="872923"/>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r>
              <a:rPr kumimoji="1" lang="ja-JP" altLang="en-US" sz="1600">
                <a:solidFill>
                  <a:srgbClr val="0070C0"/>
                </a:solidFill>
              </a:rPr>
              <a:t>予約・決済</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488187"/>
            <a:ext cx="2164078" cy="876812"/>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チケッティング</a:t>
            </a:r>
          </a:p>
        </p:txBody>
      </p:sp>
      <p:sp>
        <p:nvSpPr>
          <p:cNvPr id="23" name="フローチャート: 他ページ結合子 22">
            <a:extLst>
              <a:ext uri="{FF2B5EF4-FFF2-40B4-BE49-F238E27FC236}">
                <a16:creationId xmlns:a16="http://schemas.microsoft.com/office/drawing/2014/main" id="{548B53C1-9515-859C-4FF6-ED37AFEFE4B3}"/>
              </a:ext>
            </a:extLst>
          </p:cNvPr>
          <p:cNvSpPr/>
          <p:nvPr/>
        </p:nvSpPr>
        <p:spPr bwMode="gray">
          <a:xfrm>
            <a:off x="210286" y="5578327"/>
            <a:ext cx="2164078" cy="669181"/>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目的地での</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アクティビティ</a:t>
            </a: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2254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920640"/>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経路検索</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42364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7CB3556-2936-30A4-AEC6-65D0A1738CDB}"/>
              </a:ext>
            </a:extLst>
          </p:cNvPr>
          <p:cNvCxnSpPr>
            <a:cxnSpLocks/>
          </p:cNvCxnSpPr>
          <p:nvPr/>
        </p:nvCxnSpPr>
        <p:spPr>
          <a:xfrm>
            <a:off x="2469871" y="5414820"/>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503590"/>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地域の</a:t>
            </a:r>
            <a:r>
              <a:rPr lang="en-US" altLang="ja-JP" sz="1400">
                <a:solidFill>
                  <a:srgbClr val="0070C0"/>
                </a:solidFill>
                <a:latin typeface="+mn-ea"/>
              </a:rPr>
              <a:t>AI</a:t>
            </a:r>
            <a:r>
              <a:rPr lang="ja-JP" altLang="en-US" sz="1400">
                <a:solidFill>
                  <a:srgbClr val="0070C0"/>
                </a:solidFill>
                <a:latin typeface="+mn-ea"/>
              </a:rPr>
              <a:t>オンデマンド交通を反映した経路検索が</a:t>
            </a:r>
            <a:br>
              <a:rPr lang="en-US" altLang="ja-JP" sz="1400">
                <a:solidFill>
                  <a:srgbClr val="0070C0"/>
                </a:solidFill>
                <a:latin typeface="+mn-ea"/>
              </a:rPr>
            </a:br>
            <a:r>
              <a:rPr lang="ja-JP" altLang="en-US" sz="1400">
                <a:solidFill>
                  <a:srgbClr val="0070C0"/>
                </a:solidFill>
                <a:latin typeface="+mn-ea"/>
              </a:rPr>
              <a:t>できない</a:t>
            </a:r>
            <a:endParaRPr lang="en-US" altLang="ja-JP" sz="1400">
              <a:solidFill>
                <a:srgbClr val="0070C0"/>
              </a:solidFill>
              <a:latin typeface="+mn-ea"/>
            </a:endParaRP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341080"/>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交通モード個別のサイトで予約・決済</a:t>
            </a:r>
            <a:endParaRPr kumimoji="1" lang="en-US" altLang="ja-JP" sz="1400">
              <a:solidFill>
                <a:srgbClr val="0070C0"/>
              </a:solidFill>
              <a:latin typeface="+mn-ea"/>
            </a:endParaRP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4885789"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lang="en-US" altLang="ja-JP">
                <a:solidFill>
                  <a:srgbClr val="0070C0"/>
                </a:solidFill>
              </a:rPr>
              <a:t>AI</a:t>
            </a:r>
            <a:r>
              <a:rPr lang="ja-JP" altLang="en-US">
                <a:solidFill>
                  <a:srgbClr val="0070C0"/>
                </a:solidFill>
              </a:rPr>
              <a:t>オンデマンド交通、コミュバス、シェアサイクル等のミクロな交通モードを含めた経路検索が可能。</a:t>
            </a:r>
            <a:endParaRPr kumimoji="1" lang="en-US" altLang="ja-JP" sz="1400">
              <a:solidFill>
                <a:srgbClr val="0070C0"/>
              </a:solidFill>
              <a:latin typeface="+mn-ea"/>
            </a:endParaRP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288878"/>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en-US" altLang="ja-JP" sz="1400" err="1">
                <a:solidFill>
                  <a:srgbClr val="0070C0"/>
                </a:solidFill>
                <a:latin typeface="+mn-ea"/>
              </a:rPr>
              <a:t>MaaS</a:t>
            </a:r>
            <a:r>
              <a:rPr kumimoji="1" lang="ja-JP" altLang="en-US" sz="1400">
                <a:solidFill>
                  <a:srgbClr val="0070C0"/>
                </a:solidFill>
                <a:latin typeface="+mn-ea"/>
              </a:rPr>
              <a:t>アプリの経路検索結果より、該当区間のチケットの予約、決済が可能</a:t>
            </a:r>
            <a:endParaRPr kumimoji="1" lang="en-US" altLang="ja-JP" sz="1400">
              <a:solidFill>
                <a:srgbClr val="0070C0"/>
              </a:solidFill>
              <a:latin typeface="+mn-ea"/>
            </a:endParaRP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482772"/>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該当エリアの周遊チケットは存在するが紙券での対応</a:t>
            </a:r>
            <a:endParaRPr kumimoji="1" lang="en-US" altLang="ja-JP" sz="1400">
              <a:solidFill>
                <a:srgbClr val="0070C0"/>
              </a:solidFill>
              <a:latin typeface="+mn-ea"/>
            </a:endParaRP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523652"/>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チケットをデジタル化し、鉄道の改札で</a:t>
            </a:r>
            <a:r>
              <a:rPr kumimoji="1" lang="en-US" altLang="ja-JP" sz="1400">
                <a:solidFill>
                  <a:srgbClr val="0070C0"/>
                </a:solidFill>
                <a:latin typeface="+mn-ea"/>
              </a:rPr>
              <a:t>QR</a:t>
            </a:r>
            <a:r>
              <a:rPr kumimoji="1" lang="ja-JP" altLang="en-US" sz="1400">
                <a:solidFill>
                  <a:srgbClr val="0070C0"/>
                </a:solidFill>
                <a:latin typeface="+mn-ea"/>
              </a:rPr>
              <a:t>コードを読み取り機に提示することで利用が可能。</a:t>
            </a:r>
          </a:p>
        </p:txBody>
      </p:sp>
      <p:sp>
        <p:nvSpPr>
          <p:cNvPr id="34" name="テキスト ボックス 33">
            <a:extLst>
              <a:ext uri="{FF2B5EF4-FFF2-40B4-BE49-F238E27FC236}">
                <a16:creationId xmlns:a16="http://schemas.microsoft.com/office/drawing/2014/main" id="{C89FC4AA-2731-E92F-D907-2D16595912E8}"/>
              </a:ext>
            </a:extLst>
          </p:cNvPr>
          <p:cNvSpPr txBox="1"/>
          <p:nvPr/>
        </p:nvSpPr>
        <p:spPr>
          <a:xfrm>
            <a:off x="2688819" y="5483595"/>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各施設で利用券を購入</a:t>
            </a:r>
          </a:p>
        </p:txBody>
      </p:sp>
      <p:sp>
        <p:nvSpPr>
          <p:cNvPr id="35" name="テキスト ボックス 34">
            <a:extLst>
              <a:ext uri="{FF2B5EF4-FFF2-40B4-BE49-F238E27FC236}">
                <a16:creationId xmlns:a16="http://schemas.microsoft.com/office/drawing/2014/main" id="{708AB7D6-2CDF-65E4-DFCF-96EFAC6FF818}"/>
              </a:ext>
            </a:extLst>
          </p:cNvPr>
          <p:cNvSpPr txBox="1"/>
          <p:nvPr/>
        </p:nvSpPr>
        <p:spPr>
          <a:xfrm>
            <a:off x="7143703" y="5483595"/>
            <a:ext cx="4857760" cy="719034"/>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様々な交通手段のフリー乗車券と地域や特定施設の特典を組み合わせたデジタル乗車券をオンラインで購入、サービス利用時は</a:t>
            </a:r>
            <a:r>
              <a:rPr kumimoji="1" lang="en-US" altLang="ja-JP" sz="1400">
                <a:solidFill>
                  <a:srgbClr val="0070C0"/>
                </a:solidFill>
                <a:latin typeface="+mn-ea"/>
              </a:rPr>
              <a:t>QR</a:t>
            </a:r>
            <a:r>
              <a:rPr kumimoji="1" lang="ja-JP" altLang="en-US" sz="1400">
                <a:solidFill>
                  <a:srgbClr val="0070C0"/>
                </a:solidFill>
                <a:latin typeface="+mn-ea"/>
              </a:rPr>
              <a:t>読み取り端末にかざすことで利用する。</a:t>
            </a: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8" name="テキスト ボックス 7">
            <a:extLst>
              <a:ext uri="{FF2B5EF4-FFF2-40B4-BE49-F238E27FC236}">
                <a16:creationId xmlns:a16="http://schemas.microsoft.com/office/drawing/2014/main" id="{01400420-A405-9FA0-FB58-53E4DBC1233D}"/>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6851163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035663"/>
            <a:ext cx="2164078" cy="75750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情報発信</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001614"/>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チケット購入・移動</a:t>
            </a: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014451"/>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588401"/>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商品造成</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001613"/>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7CB3556-2936-30A4-AEC6-65D0A1738CDB}"/>
              </a:ext>
            </a:extLst>
          </p:cNvPr>
          <p:cNvCxnSpPr>
            <a:cxnSpLocks/>
          </p:cNvCxnSpPr>
          <p:nvPr/>
        </p:nvCxnSpPr>
        <p:spPr>
          <a:xfrm>
            <a:off x="2469871" y="4739581"/>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542062"/>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商品の企画から発売まで時間がかかる。</a:t>
            </a:r>
            <a:endParaRPr kumimoji="1" lang="en-US" altLang="ja-JP" sz="1400">
              <a:solidFill>
                <a:srgbClr val="0070C0"/>
              </a:solidFill>
              <a:latin typeface="+mn-ea"/>
            </a:endParaRPr>
          </a:p>
          <a:p>
            <a:pPr marL="285750" indent="-285750">
              <a:spcBef>
                <a:spcPts val="300"/>
              </a:spcBef>
              <a:buFont typeface="Arial" panose="020B0604020202020204" pitchFamily="34" charset="0"/>
              <a:buChar char="•"/>
            </a:pPr>
            <a:r>
              <a:rPr kumimoji="1" lang="ja-JP" altLang="en-US" sz="1400">
                <a:solidFill>
                  <a:srgbClr val="0070C0"/>
                </a:solidFill>
                <a:latin typeface="+mn-ea"/>
              </a:rPr>
              <a:t>どのようにつくれば良いのか分からない。</a:t>
            </a: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087864"/>
            <a:ext cx="4316980" cy="757506"/>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イベントや施設など目的地情報を集める手段がない。</a:t>
            </a:r>
          </a:p>
          <a:p>
            <a:pPr marL="285750" indent="-285750">
              <a:spcBef>
                <a:spcPts val="300"/>
              </a:spcBef>
              <a:buFont typeface="Arial" panose="020B0604020202020204" pitchFamily="34" charset="0"/>
              <a:buChar char="•"/>
            </a:pPr>
            <a:r>
              <a:rPr kumimoji="1" lang="ja-JP" altLang="en-US" sz="1400">
                <a:solidFill>
                  <a:srgbClr val="0070C0"/>
                </a:solidFill>
                <a:latin typeface="+mn-ea"/>
              </a:rPr>
              <a:t>目的地までの経路はわかるが、遅れ情報や運休まではわからない。</a:t>
            </a: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5034069" cy="542062"/>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協議会でノウハウを集約し周知・共有を行う。</a:t>
            </a:r>
            <a:endParaRPr kumimoji="1" lang="en-US" altLang="ja-JP" sz="1400">
              <a:solidFill>
                <a:srgbClr val="0070C0"/>
              </a:solidFill>
              <a:latin typeface="+mn-ea"/>
            </a:endParaRPr>
          </a:p>
          <a:p>
            <a:pPr marL="285750" indent="-285750">
              <a:spcBef>
                <a:spcPts val="300"/>
              </a:spcBef>
              <a:buFont typeface="Arial" panose="020B0604020202020204" pitchFamily="34" charset="0"/>
              <a:buChar char="•"/>
            </a:pPr>
            <a:r>
              <a:rPr kumimoji="1" lang="ja-JP" altLang="en-US" sz="1400">
                <a:solidFill>
                  <a:srgbClr val="0070C0"/>
                </a:solidFill>
                <a:latin typeface="+mn-ea"/>
              </a:rPr>
              <a:t>ノーコードツールにより簡単かつスピーディに造成可能に。</a:t>
            </a: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035662"/>
            <a:ext cx="4857760" cy="757506"/>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イベントや施設情報などの目的地に関する情報が同一アプリで把握できる。</a:t>
            </a:r>
          </a:p>
          <a:p>
            <a:pPr marL="285750" indent="-285750">
              <a:spcBef>
                <a:spcPts val="300"/>
              </a:spcBef>
              <a:buFont typeface="Arial" panose="020B0604020202020204" pitchFamily="34" charset="0"/>
              <a:buChar char="•"/>
            </a:pPr>
            <a:r>
              <a:rPr kumimoji="1" lang="ja-JP" altLang="en-US" sz="1400">
                <a:solidFill>
                  <a:srgbClr val="0070C0"/>
                </a:solidFill>
                <a:latin typeface="+mn-ea"/>
              </a:rPr>
              <a:t>目的地までの経路や交通のリアルタイム情報がわかる。</a:t>
            </a: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046679"/>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複数の交通を乗り継ぐ場合、各社それぞれのサービスを利用し、予約・決済をする必要がある。</a:t>
            </a: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087559"/>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en-US" altLang="ja-JP" sz="1400">
                <a:solidFill>
                  <a:srgbClr val="0070C0"/>
                </a:solidFill>
                <a:latin typeface="+mn-ea"/>
              </a:rPr>
              <a:t>1</a:t>
            </a:r>
            <a:r>
              <a:rPr kumimoji="1" lang="ja-JP" altLang="en-US" sz="1400">
                <a:solidFill>
                  <a:srgbClr val="0070C0"/>
                </a:solidFill>
                <a:latin typeface="+mn-ea"/>
              </a:rPr>
              <a:t>つのアプリから画面を提示、または</a:t>
            </a:r>
            <a:r>
              <a:rPr kumimoji="1" lang="en-US" altLang="ja-JP" sz="1400">
                <a:solidFill>
                  <a:srgbClr val="0070C0"/>
                </a:solidFill>
                <a:latin typeface="+mn-ea"/>
              </a:rPr>
              <a:t>QR</a:t>
            </a:r>
            <a:r>
              <a:rPr kumimoji="1" lang="ja-JP" altLang="en-US" sz="1400">
                <a:solidFill>
                  <a:srgbClr val="0070C0"/>
                </a:solidFill>
                <a:latin typeface="+mn-ea"/>
              </a:rPr>
              <a:t>をかざすだけで、スムーズに移動することができる。</a:t>
            </a: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800">
                <a:solidFill>
                  <a:srgbClr val="0070C0"/>
                </a:solidFill>
                <a:latin typeface="BIZ UDPゴシック"/>
                <a:ea typeface="BIZ UDPゴシック"/>
              </a:rPr>
              <a:t>②デジタルパスの販売</a:t>
            </a:r>
            <a:endParaRPr lang="en-US" altLang="ja-JP" sz="1800">
              <a:solidFill>
                <a:srgbClr val="0070C0"/>
              </a:solidFill>
              <a:latin typeface="BIZ UDPゴシック"/>
              <a:ea typeface="BIZ UDPゴシック"/>
            </a:endParaRPr>
          </a:p>
        </p:txBody>
      </p:sp>
      <p:sp>
        <p:nvSpPr>
          <p:cNvPr id="3" name="テキスト ボックス 2">
            <a:extLst>
              <a:ext uri="{FF2B5EF4-FFF2-40B4-BE49-F238E27FC236}">
                <a16:creationId xmlns:a16="http://schemas.microsoft.com/office/drawing/2014/main" id="{59B34644-110E-1C8E-FC11-B0A08110804F}"/>
              </a:ext>
            </a:extLst>
          </p:cNvPr>
          <p:cNvSpPr txBox="1"/>
          <p:nvPr/>
        </p:nvSpPr>
        <p:spPr>
          <a:xfrm>
            <a:off x="7168585" y="4785528"/>
            <a:ext cx="485776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利用実績からユーザーに再来訪を促すプッシュ通知やクーポンの配布など、再来訪を促すような施策検討が可能。</a:t>
            </a:r>
          </a:p>
        </p:txBody>
      </p:sp>
      <p:sp>
        <p:nvSpPr>
          <p:cNvPr id="7" name="フローチャート: 他ページ結合子 6">
            <a:extLst>
              <a:ext uri="{FF2B5EF4-FFF2-40B4-BE49-F238E27FC236}">
                <a16:creationId xmlns:a16="http://schemas.microsoft.com/office/drawing/2014/main" id="{9E1F97B9-D0E5-41B1-D2C7-9ACEFF3039F1}"/>
              </a:ext>
            </a:extLst>
          </p:cNvPr>
          <p:cNvSpPr/>
          <p:nvPr/>
        </p:nvSpPr>
        <p:spPr bwMode="gray">
          <a:xfrm>
            <a:off x="209722" y="4742555"/>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アフターフォロー</a:t>
            </a:r>
          </a:p>
        </p:txBody>
      </p:sp>
      <p:sp>
        <p:nvSpPr>
          <p:cNvPr id="8" name="フローチャート: 他ページ結合子 7">
            <a:extLst>
              <a:ext uri="{FF2B5EF4-FFF2-40B4-BE49-F238E27FC236}">
                <a16:creationId xmlns:a16="http://schemas.microsoft.com/office/drawing/2014/main" id="{9806A545-7B24-7E3B-5128-CCBF51102301}"/>
              </a:ext>
            </a:extLst>
          </p:cNvPr>
          <p:cNvSpPr/>
          <p:nvPr/>
        </p:nvSpPr>
        <p:spPr bwMode="gray">
          <a:xfrm>
            <a:off x="209722" y="5507140"/>
            <a:ext cx="2164078" cy="589536"/>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サービス改善</a:t>
            </a:r>
          </a:p>
        </p:txBody>
      </p:sp>
      <p:cxnSp>
        <p:nvCxnSpPr>
          <p:cNvPr id="10" name="直線コネクタ 9">
            <a:extLst>
              <a:ext uri="{FF2B5EF4-FFF2-40B4-BE49-F238E27FC236}">
                <a16:creationId xmlns:a16="http://schemas.microsoft.com/office/drawing/2014/main" id="{7AB227D4-2B59-71E8-9257-8212D4AA605A}"/>
              </a:ext>
            </a:extLst>
          </p:cNvPr>
          <p:cNvCxnSpPr>
            <a:cxnSpLocks/>
          </p:cNvCxnSpPr>
          <p:nvPr/>
        </p:nvCxnSpPr>
        <p:spPr>
          <a:xfrm>
            <a:off x="2469871" y="5489490"/>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97073F6A-3E4A-69EF-5342-4F0020D33B85}"/>
              </a:ext>
            </a:extLst>
          </p:cNvPr>
          <p:cNvSpPr txBox="1"/>
          <p:nvPr/>
        </p:nvSpPr>
        <p:spPr>
          <a:xfrm>
            <a:off x="2693619" y="4801619"/>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利用実績等から再来訪を促すような具体的な施策はとれていない。</a:t>
            </a:r>
          </a:p>
        </p:txBody>
      </p:sp>
      <p:cxnSp>
        <p:nvCxnSpPr>
          <p:cNvPr id="13" name="直線コネクタ 12">
            <a:extLst>
              <a:ext uri="{FF2B5EF4-FFF2-40B4-BE49-F238E27FC236}">
                <a16:creationId xmlns:a16="http://schemas.microsoft.com/office/drawing/2014/main" id="{DF0A3789-2513-7F7E-6347-DBBE95C7B4F6}"/>
              </a:ext>
            </a:extLst>
          </p:cNvPr>
          <p:cNvCxnSpPr>
            <a:cxnSpLocks/>
          </p:cNvCxnSpPr>
          <p:nvPr/>
        </p:nvCxnSpPr>
        <p:spPr>
          <a:xfrm>
            <a:off x="2469871" y="622491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C01E8876-7CB8-4130-D9EB-1A867271B772}"/>
              </a:ext>
            </a:extLst>
          </p:cNvPr>
          <p:cNvSpPr txBox="1"/>
          <p:nvPr/>
        </p:nvSpPr>
        <p:spPr>
          <a:xfrm>
            <a:off x="2693619" y="5593086"/>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乗降実績や属性情報など、利用実績のデータがない。</a:t>
            </a:r>
          </a:p>
        </p:txBody>
      </p:sp>
      <p:sp>
        <p:nvSpPr>
          <p:cNvPr id="15" name="テキスト ボックス 14">
            <a:extLst>
              <a:ext uri="{FF2B5EF4-FFF2-40B4-BE49-F238E27FC236}">
                <a16:creationId xmlns:a16="http://schemas.microsoft.com/office/drawing/2014/main" id="{E5C9762A-A073-07A3-7CE0-56A1CD76D492}"/>
              </a:ext>
            </a:extLst>
          </p:cNvPr>
          <p:cNvSpPr txBox="1"/>
          <p:nvPr/>
        </p:nvSpPr>
        <p:spPr>
          <a:xfrm>
            <a:off x="7168585" y="5550113"/>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収集したデータを活用した商品設計やプロモーションなどを実施することができる。</a:t>
            </a:r>
          </a:p>
        </p:txBody>
      </p:sp>
      <p:sp>
        <p:nvSpPr>
          <p:cNvPr id="36" name="テキスト ボックス 35">
            <a:extLst>
              <a:ext uri="{FF2B5EF4-FFF2-40B4-BE49-F238E27FC236}">
                <a16:creationId xmlns:a16="http://schemas.microsoft.com/office/drawing/2014/main" id="{53AE2DB5-E8E9-D05F-00E2-5156E585C9A8}"/>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1081369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438793"/>
            <a:ext cx="2164078" cy="872923"/>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マイナンバーカードとの</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連携</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488187"/>
            <a:ext cx="2164078" cy="876812"/>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実証運行</a:t>
            </a:r>
          </a:p>
        </p:txBody>
      </p:sp>
      <p:sp>
        <p:nvSpPr>
          <p:cNvPr id="23" name="フローチャート: 他ページ結合子 22">
            <a:extLst>
              <a:ext uri="{FF2B5EF4-FFF2-40B4-BE49-F238E27FC236}">
                <a16:creationId xmlns:a16="http://schemas.microsoft.com/office/drawing/2014/main" id="{548B53C1-9515-859C-4FF6-ED37AFEFE4B3}"/>
              </a:ext>
            </a:extLst>
          </p:cNvPr>
          <p:cNvSpPr/>
          <p:nvPr/>
        </p:nvSpPr>
        <p:spPr bwMode="gray">
          <a:xfrm>
            <a:off x="210286" y="5578327"/>
            <a:ext cx="2164078" cy="669181"/>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a:t>
            </a: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2254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920640"/>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サブスクチケットの</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造成・提供</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42364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E7CB3556-2936-30A4-AEC6-65D0A1738CDB}"/>
              </a:ext>
            </a:extLst>
          </p:cNvPr>
          <p:cNvCxnSpPr>
            <a:cxnSpLocks/>
          </p:cNvCxnSpPr>
          <p:nvPr/>
        </p:nvCxnSpPr>
        <p:spPr>
          <a:xfrm>
            <a:off x="2469871" y="5414820"/>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288147"/>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341080"/>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4885789"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288878"/>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482772"/>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523652"/>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4" name="テキスト ボックス 33">
            <a:extLst>
              <a:ext uri="{FF2B5EF4-FFF2-40B4-BE49-F238E27FC236}">
                <a16:creationId xmlns:a16="http://schemas.microsoft.com/office/drawing/2014/main" id="{C89FC4AA-2731-E92F-D907-2D16595912E8}"/>
              </a:ext>
            </a:extLst>
          </p:cNvPr>
          <p:cNvSpPr txBox="1"/>
          <p:nvPr/>
        </p:nvSpPr>
        <p:spPr>
          <a:xfrm>
            <a:off x="2688819" y="5483595"/>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35" name="テキスト ボックス 34">
            <a:extLst>
              <a:ext uri="{FF2B5EF4-FFF2-40B4-BE49-F238E27FC236}">
                <a16:creationId xmlns:a16="http://schemas.microsoft.com/office/drawing/2014/main" id="{708AB7D6-2CDF-65E4-DFCF-96EFAC6FF818}"/>
              </a:ext>
            </a:extLst>
          </p:cNvPr>
          <p:cNvSpPr txBox="1"/>
          <p:nvPr/>
        </p:nvSpPr>
        <p:spPr>
          <a:xfrm>
            <a:off x="7143703" y="5483595"/>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a:t>
            </a: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800">
                <a:solidFill>
                  <a:srgbClr val="0070C0"/>
                </a:solidFill>
                <a:latin typeface="BIZ UDPゴシック"/>
                <a:ea typeface="BIZ UDPゴシック"/>
              </a:rPr>
              <a:t>③サブスクサービスの提供</a:t>
            </a:r>
            <a:endParaRPr lang="en-US" altLang="ja-JP" sz="1800">
              <a:solidFill>
                <a:srgbClr val="0070C0"/>
              </a:solidFill>
              <a:latin typeface="BIZ UDPゴシック"/>
              <a:ea typeface="BIZ UDPゴシック"/>
            </a:endParaRPr>
          </a:p>
        </p:txBody>
      </p:sp>
      <p:sp>
        <p:nvSpPr>
          <p:cNvPr id="4" name="テキスト ボックス 3">
            <a:extLst>
              <a:ext uri="{FF2B5EF4-FFF2-40B4-BE49-F238E27FC236}">
                <a16:creationId xmlns:a16="http://schemas.microsoft.com/office/drawing/2014/main" id="{59E4C0AC-1EA3-A883-AD00-D81FA7B914F5}"/>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9338900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地域の</a:t>
            </a:r>
            <a:r>
              <a:rPr kumimoji="1" lang="en-US" altLang="ja-JP" sz="1600">
                <a:solidFill>
                  <a:srgbClr val="0070C0"/>
                </a:solidFill>
                <a:latin typeface="+mn-ea"/>
              </a:rPr>
              <a:t>AI</a:t>
            </a:r>
            <a:r>
              <a:rPr kumimoji="1" lang="ja-JP" altLang="en-US" sz="1600">
                <a:solidFill>
                  <a:srgbClr val="0070C0"/>
                </a:solidFill>
                <a:latin typeface="+mn-ea"/>
              </a:rPr>
              <a:t>オンデマンド交通を反映した経路検索が</a:t>
            </a:r>
            <a:br>
              <a:rPr kumimoji="1" lang="ja-JP" altLang="en-US" sz="1600">
                <a:solidFill>
                  <a:srgbClr val="0070C0"/>
                </a:solidFill>
                <a:latin typeface="+mn-ea"/>
              </a:rPr>
            </a:br>
            <a:r>
              <a:rPr kumimoji="1" lang="ja-JP" altLang="en-US" sz="1600">
                <a:solidFill>
                  <a:srgbClr val="0070C0"/>
                </a:solidFill>
                <a:latin typeface="+mn-ea"/>
              </a:rPr>
              <a:t>できない</a:t>
            </a:r>
            <a:endParaRPr kumimoji="1" lang="en-US" altLang="ja-JP" sz="1600">
              <a:solidFill>
                <a:srgbClr val="0070C0"/>
              </a:solidFill>
              <a:latin typeface="+mn-ea"/>
            </a:endParaRPr>
          </a:p>
          <a:p>
            <a:pPr marL="742950" lvl="1" indent="-285750">
              <a:buFont typeface="Wingdings" panose="05000000000000000000" pitchFamily="2" charset="2"/>
              <a:buChar char="Ø"/>
              <a:defRPr/>
            </a:pPr>
            <a:r>
              <a:rPr kumimoji="1" lang="ja-JP" altLang="en-US" sz="1600">
                <a:solidFill>
                  <a:srgbClr val="0070C0"/>
                </a:solidFill>
                <a:latin typeface="+mn-ea"/>
              </a:rPr>
              <a:t>交通モード個別のサイトで予約・決済</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該当エリアの周遊チケットは紙券を利用</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プロジェクトエリア内のマルチーダルな経路検索</a:t>
            </a:r>
            <a:endParaRPr lang="en-US" altLang="ja-JP" sz="1600">
              <a:solidFill>
                <a:srgbClr val="0070C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経路検索からのチケット購入、決済</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チケットをデジタル化し、鉄道の改札で</a:t>
            </a:r>
            <a:r>
              <a:rPr lang="en-US" altLang="ja-JP" sz="1600">
                <a:solidFill>
                  <a:srgbClr val="0070C0"/>
                </a:solidFill>
                <a:latin typeface="BIZ UDPゴシック"/>
                <a:ea typeface="BIZ UDPゴシック"/>
              </a:rPr>
              <a:t>QR</a:t>
            </a:r>
            <a:r>
              <a:rPr lang="ja-JP" altLang="en-US" sz="1600">
                <a:solidFill>
                  <a:srgbClr val="0070C0"/>
                </a:solidFill>
                <a:latin typeface="BIZ UDPゴシック"/>
                <a:ea typeface="BIZ UDPゴシック"/>
              </a:rPr>
              <a:t>コードを読み取り機に提示することで利用</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　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5" name="テキスト ボックス 14">
            <a:extLst>
              <a:ext uri="{FF2B5EF4-FFF2-40B4-BE49-F238E27FC236}">
                <a16:creationId xmlns:a16="http://schemas.microsoft.com/office/drawing/2014/main" id="{A9796D27-DDEF-1B7A-97DA-28272B9383AC}"/>
              </a:ext>
            </a:extLst>
          </p:cNvPr>
          <p:cNvSpPr txBox="1"/>
          <p:nvPr/>
        </p:nvSpPr>
        <p:spPr>
          <a:xfrm>
            <a:off x="2928358" y="4798746"/>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2249235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決済機能はクレジットカードのみ。</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チケットが単回使用のみだった。</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大量のチケットはあるものの、その中から目的地のエリアのチケットは探すが困難。</a:t>
            </a: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イベント等、アプリの利用促進につながる</a:t>
            </a:r>
            <a:r>
              <a:rPr lang="en-US" altLang="ja-JP" sz="1600">
                <a:solidFill>
                  <a:srgbClr val="0070C0"/>
                </a:solidFill>
                <a:latin typeface="BIZ UDPゴシック"/>
                <a:ea typeface="BIZ UDPゴシック"/>
              </a:rPr>
              <a:t>PR</a:t>
            </a:r>
            <a:r>
              <a:rPr lang="ja-JP" altLang="en-US" sz="1600">
                <a:solidFill>
                  <a:srgbClr val="0070C0"/>
                </a:solidFill>
                <a:latin typeface="BIZ UDPゴシック"/>
                <a:ea typeface="BIZ UDPゴシック"/>
              </a:rPr>
              <a:t>記事を掲載する際、アプリ事業者の確認に時間を要し時期を逃すことがあった。</a:t>
            </a:r>
            <a:endPar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キャッシュレス決済（</a:t>
            </a:r>
            <a:r>
              <a:rPr lang="en-US" altLang="ja-JP" sz="1600" err="1">
                <a:solidFill>
                  <a:srgbClr val="0070C0"/>
                </a:solidFill>
                <a:latin typeface="BIZ UDPゴシック"/>
                <a:ea typeface="BIZ UDPゴシック"/>
              </a:rPr>
              <a:t>PayPay</a:t>
            </a:r>
            <a:r>
              <a:rPr lang="ja-JP" altLang="en-US" sz="1600">
                <a:solidFill>
                  <a:srgbClr val="0070C0"/>
                </a:solidFill>
                <a:latin typeface="BIZ UDPゴシック"/>
                <a:ea typeface="BIZ UDPゴシック"/>
              </a:rPr>
              <a:t>）を導入。</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複数回利用できる回数券機能の実装。</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県単位⇒ドロップダウンで地域選択できる形式に整理。</a:t>
            </a: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en-US" altLang="ja-JP" sz="1600">
                <a:solidFill>
                  <a:srgbClr val="0070C0"/>
                </a:solidFill>
                <a:latin typeface="BIZ UDPゴシック"/>
                <a:ea typeface="BIZ UDPゴシック"/>
              </a:rPr>
              <a:t>PR</a:t>
            </a:r>
            <a:r>
              <a:rPr lang="ja-JP" altLang="en-US" sz="1600">
                <a:solidFill>
                  <a:srgbClr val="0070C0"/>
                </a:solidFill>
                <a:latin typeface="BIZ UDPゴシック"/>
                <a:ea typeface="BIZ UDPゴシック"/>
              </a:rPr>
              <a:t>記事掲載の手続きをツール化し、事業者自らで自由に編集、投稿できる仕様に変更。</a:t>
            </a:r>
            <a:endPar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800">
                <a:solidFill>
                  <a:srgbClr val="0070C0"/>
                </a:solidFill>
                <a:latin typeface="BIZ UDPゴシック"/>
                <a:ea typeface="BIZ UDPゴシック"/>
              </a:rPr>
              <a:t>②デジタルパスの販売</a:t>
            </a:r>
            <a:endParaRPr lang="en-US" altLang="ja-JP" sz="1800">
              <a:solidFill>
                <a:srgbClr val="0070C0"/>
              </a:solidFill>
              <a:latin typeface="BIZ UDPゴシック"/>
              <a:ea typeface="BIZ UDPゴシック"/>
            </a:endParaRPr>
          </a:p>
        </p:txBody>
      </p:sp>
      <p:sp>
        <p:nvSpPr>
          <p:cNvPr id="16" name="テキスト ボックス 15">
            <a:extLst>
              <a:ext uri="{FF2B5EF4-FFF2-40B4-BE49-F238E27FC236}">
                <a16:creationId xmlns:a16="http://schemas.microsoft.com/office/drawing/2014/main" id="{7D1DF7C9-B22D-7878-CE7C-F671592FAA6D}"/>
              </a:ext>
            </a:extLst>
          </p:cNvPr>
          <p:cNvSpPr txBox="1"/>
          <p:nvPr/>
        </p:nvSpPr>
        <p:spPr>
          <a:xfrm>
            <a:off x="2960758" y="4122923"/>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8665720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企画チケットを利用の都度、予約・決済手続きが必要。</a:t>
            </a:r>
            <a:endParaRPr lang="en-US" altLang="ja-JP" sz="1600">
              <a:solidFill>
                <a:srgbClr val="0070C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料金が観光客</a:t>
            </a: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a:t>
            </a: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住民一律で、住民の利用が少ない。</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観光客の利用が多く住民の利用が少ない。</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企画チケットを販売しても単発の利用で終わることが多く、新規顧客獲得に向け継続的な広告宣伝が必要。</a:t>
            </a: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サブスクサービスを提供</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マイナンバーカード連携により住民利用時は割引提供</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一度獲得した顧客が継続利用するため、広告宣伝にかかる費用を抑えることができる。</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defTabSz="914400">
              <a:spcBef>
                <a:spcPts val="300"/>
              </a:spcBef>
              <a:defRPr/>
            </a:pPr>
            <a:r>
              <a:rPr lang="ja-JP" altLang="en-US" sz="1800">
                <a:solidFill>
                  <a:srgbClr val="0070C0"/>
                </a:solidFill>
                <a:latin typeface="BIZ UDPゴシック"/>
                <a:ea typeface="BIZ UDPゴシック"/>
              </a:rPr>
              <a:t>③サブスクサービスの提供</a:t>
            </a:r>
            <a:endParaRPr lang="en-US" altLang="ja-JP" sz="1800">
              <a:solidFill>
                <a:srgbClr val="0070C0"/>
              </a:solidFill>
              <a:latin typeface="BIZ UDPゴシック"/>
              <a:ea typeface="BIZ UDPゴシック"/>
            </a:endParaRPr>
          </a:p>
        </p:txBody>
      </p:sp>
      <p:sp>
        <p:nvSpPr>
          <p:cNvPr id="16" name="テキスト ボックス 15">
            <a:extLst>
              <a:ext uri="{FF2B5EF4-FFF2-40B4-BE49-F238E27FC236}">
                <a16:creationId xmlns:a16="http://schemas.microsoft.com/office/drawing/2014/main" id="{088ECDFF-B871-3B4F-0FC7-C986C6F1A6FC}"/>
              </a:ext>
            </a:extLst>
          </p:cNvPr>
          <p:cNvSpPr txBox="1"/>
          <p:nvPr/>
        </p:nvSpPr>
        <p:spPr>
          <a:xfrm>
            <a:off x="2960758" y="4122923"/>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2588649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AE4F6-F01F-62C2-59D7-A3B8E9AE82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8C9B9F-8072-E0E4-77B7-420C6D2F9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6" name="think-cell data - do not delete" hidden="1">
                        <a:extLst>
                          <a:ext uri="{FF2B5EF4-FFF2-40B4-BE49-F238E27FC236}">
                            <a16:creationId xmlns:a16="http://schemas.microsoft.com/office/drawing/2014/main" id="{1E8C9B9F-8072-E0E4-77B7-420C6D2F9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8ED92B7C-1EEB-5342-CD72-059EC9543A4F}"/>
              </a:ext>
            </a:extLst>
          </p:cNvPr>
          <p:cNvSpPr>
            <a:spLocks noGrp="1"/>
          </p:cNvSpPr>
          <p:nvPr>
            <p:ph type="body" sz="quarter" idx="36"/>
          </p:nvPr>
        </p:nvSpPr>
        <p:spPr/>
        <p:txBody>
          <a:bodyPr/>
          <a:lstStyle/>
          <a:p>
            <a:endParaRPr kumimoji="1" lang="ja-JP" altLang="en-US"/>
          </a:p>
        </p:txBody>
      </p:sp>
      <p:sp>
        <p:nvSpPr>
          <p:cNvPr id="8" name="タイトル 3">
            <a:extLst>
              <a:ext uri="{FF2B5EF4-FFF2-40B4-BE49-F238E27FC236}">
                <a16:creationId xmlns:a16="http://schemas.microsoft.com/office/drawing/2014/main" id="{8D9C3CC9-DEFB-340A-4AF6-A5EE3526D94E}"/>
              </a:ext>
            </a:extLst>
          </p:cNvPr>
          <p:cNvSpPr txBox="1">
            <a:spLocks/>
          </p:cNvSpPr>
          <p:nvPr/>
        </p:nvSpPr>
        <p:spPr>
          <a:xfrm>
            <a:off x="300779" y="601848"/>
            <a:ext cx="11376000" cy="432000"/>
          </a:xfrm>
          <a:prstGeom prst="rect">
            <a:avLst/>
          </a:prstGeom>
        </p:spPr>
        <p:txBody>
          <a:bodyPr vert="horz" anchor="ctr"/>
          <a:lstStyle>
            <a:lvl1pPr algn="l" rtl="0" eaLnBrk="1" fontAlgn="base" hangingPunct="1">
              <a:lnSpc>
                <a:spcPct val="80000"/>
              </a:lnSpc>
              <a:spcBef>
                <a:spcPct val="0"/>
              </a:spcBef>
              <a:spcAft>
                <a:spcPct val="0"/>
              </a:spcAft>
              <a:defRPr kumimoji="1" sz="3200" b="1">
                <a:solidFill>
                  <a:schemeClr val="tx1"/>
                </a:solidFill>
                <a:latin typeface="Meiryo UI" panose="020B0604030504040204" pitchFamily="50" charset="-128"/>
                <a:ea typeface="Meiryo UI" panose="020B0604030504040204"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a:lstStyle>
          <a:p>
            <a:r>
              <a:rPr lang="ja-JP" altLang="en-US" kern="0"/>
              <a:t>本資料の位置付け①</a:t>
            </a:r>
          </a:p>
        </p:txBody>
      </p:sp>
      <p:sp>
        <p:nvSpPr>
          <p:cNvPr id="9" name="テキスト プレースホルダー 1">
            <a:extLst>
              <a:ext uri="{FF2B5EF4-FFF2-40B4-BE49-F238E27FC236}">
                <a16:creationId xmlns:a16="http://schemas.microsoft.com/office/drawing/2014/main" id="{813AD4D0-F7E6-497C-BF37-FF66806078EB}"/>
              </a:ext>
            </a:extLst>
          </p:cNvPr>
          <p:cNvSpPr txBox="1">
            <a:spLocks/>
          </p:cNvSpPr>
          <p:nvPr/>
        </p:nvSpPr>
        <p:spPr>
          <a:xfrm>
            <a:off x="300779" y="909710"/>
            <a:ext cx="11376000" cy="661720"/>
          </a:xfrm>
          <a:prstGeom prst="rect">
            <a:avLst/>
          </a:prstGeom>
        </p:spPr>
        <p:txBody>
          <a:bodyPr vert="horz" lIns="91440" tIns="45720" rIns="91440" bIns="45720" rtlCol="0">
            <a:normAutofit/>
          </a:bodyPr>
          <a:lst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r>
              <a:rPr lang="ja-JP" altLang="en-US" kern="0"/>
              <a:t>本業務の作業スケジュールや履行体制を含めた業務実施計画書を策定する</a:t>
            </a:r>
          </a:p>
          <a:p>
            <a:endParaRPr lang="ja-JP" altLang="en-US" kern="0"/>
          </a:p>
        </p:txBody>
      </p:sp>
      <p:graphicFrame>
        <p:nvGraphicFramePr>
          <p:cNvPr id="2" name="表 1">
            <a:extLst>
              <a:ext uri="{FF2B5EF4-FFF2-40B4-BE49-F238E27FC236}">
                <a16:creationId xmlns:a16="http://schemas.microsoft.com/office/drawing/2014/main" id="{C3C93744-0DC7-5B60-8914-C41066C93FEF}"/>
              </a:ext>
            </a:extLst>
          </p:cNvPr>
          <p:cNvGraphicFramePr>
            <a:graphicFrameLocks noGrp="1"/>
          </p:cNvGraphicFramePr>
          <p:nvPr>
            <p:extLst>
              <p:ext uri="{D42A27DB-BD31-4B8C-83A1-F6EECF244321}">
                <p14:modId xmlns:p14="http://schemas.microsoft.com/office/powerpoint/2010/main" val="3056501786"/>
              </p:ext>
            </p:extLst>
          </p:nvPr>
        </p:nvGraphicFramePr>
        <p:xfrm>
          <a:off x="403226" y="1193915"/>
          <a:ext cx="11273553" cy="3779520"/>
        </p:xfrm>
        <a:graphic>
          <a:graphicData uri="http://schemas.openxmlformats.org/drawingml/2006/table">
            <a:tbl>
              <a:tblPr bandRow="1">
                <a:tableStyleId>{69012ECD-51FC-41F1-AA8D-1B2483CD663E}</a:tableStyleId>
              </a:tblPr>
              <a:tblGrid>
                <a:gridCol w="390612">
                  <a:extLst>
                    <a:ext uri="{9D8B030D-6E8A-4147-A177-3AD203B41FA5}">
                      <a16:colId xmlns:a16="http://schemas.microsoft.com/office/drawing/2014/main" val="2108554568"/>
                    </a:ext>
                  </a:extLst>
                </a:gridCol>
                <a:gridCol w="1404732">
                  <a:extLst>
                    <a:ext uri="{9D8B030D-6E8A-4147-A177-3AD203B41FA5}">
                      <a16:colId xmlns:a16="http://schemas.microsoft.com/office/drawing/2014/main" val="3815544931"/>
                    </a:ext>
                  </a:extLst>
                </a:gridCol>
                <a:gridCol w="2897082">
                  <a:extLst>
                    <a:ext uri="{9D8B030D-6E8A-4147-A177-3AD203B41FA5}">
                      <a16:colId xmlns:a16="http://schemas.microsoft.com/office/drawing/2014/main" val="603325944"/>
                    </a:ext>
                  </a:extLst>
                </a:gridCol>
                <a:gridCol w="6581127">
                  <a:extLst>
                    <a:ext uri="{9D8B030D-6E8A-4147-A177-3AD203B41FA5}">
                      <a16:colId xmlns:a16="http://schemas.microsoft.com/office/drawing/2014/main" val="410620975"/>
                    </a:ext>
                  </a:extLst>
                </a:gridCol>
              </a:tblGrid>
              <a:tr h="201149">
                <a:tc gridSpan="2">
                  <a:txBody>
                    <a:bodyPr/>
                    <a:lstStyle/>
                    <a:p>
                      <a:r>
                        <a:rPr kumimoji="1" lang="ja-JP" altLang="en-US" sz="950" b="1"/>
                        <a:t>章</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0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950" b="1"/>
                        <a:t>アジェンダ</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950" b="1"/>
                        <a:t>記載内容</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20628022"/>
                  </a:ext>
                </a:extLst>
              </a:tr>
              <a:tr h="201149">
                <a:tc rowSpan="6">
                  <a:txBody>
                    <a:bodyPr/>
                    <a:lstStyle/>
                    <a:p>
                      <a:r>
                        <a:rPr kumimoji="1" lang="en-US" altLang="ja-JP" sz="950"/>
                        <a:t>Ⅰ</a:t>
                      </a:r>
                      <a:endParaRPr kumimoji="1" lang="ja-JP" altLang="en-US" sz="95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rowSpan="6">
                  <a:txBody>
                    <a:bodyPr/>
                    <a:lstStyle/>
                    <a:p>
                      <a:r>
                        <a:rPr kumimoji="1" lang="ja-JP" altLang="en-US" sz="950"/>
                        <a:t>プロジェクトの</a:t>
                      </a:r>
                      <a:br>
                        <a:rPr kumimoji="1" lang="en-US" altLang="ja-JP" sz="950"/>
                      </a:br>
                      <a:r>
                        <a:rPr kumimoji="1" lang="ja-JP" altLang="en-US" sz="950"/>
                        <a:t>ビジョン</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kumimoji="1" lang="en-US" altLang="ja-JP" sz="950"/>
                        <a:t>1.</a:t>
                      </a:r>
                      <a:r>
                        <a:rPr kumimoji="1" lang="ja-JP" altLang="en-US" sz="950"/>
                        <a:t>解決すべき社会課題</a:t>
                      </a:r>
                    </a:p>
                  </a:txBody>
                  <a:tcPr>
                    <a:lnT w="19050" cap="flat" cmpd="sng" algn="ctr">
                      <a:solidFill>
                        <a:schemeClr val="tx1"/>
                      </a:solidFill>
                      <a:prstDash val="solid"/>
                      <a:round/>
                      <a:headEnd type="none" w="med" len="med"/>
                      <a:tailEnd type="none" w="med" len="med"/>
                    </a:lnT>
                  </a:tcPr>
                </a:tc>
                <a:tc>
                  <a:txBody>
                    <a:bodyPr/>
                    <a:lstStyle/>
                    <a:p>
                      <a:r>
                        <a:rPr kumimoji="1" lang="ja-JP" altLang="en-US" sz="950"/>
                        <a:t>本実証にあたり解決すべき社会課題</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35912491"/>
                  </a:ext>
                </a:extLst>
              </a:tr>
              <a:tr h="201149">
                <a:tc vMerge="1">
                  <a:txBody>
                    <a:bodyPr/>
                    <a:lstStyle/>
                    <a:p>
                      <a:endParaRPr kumimoji="1" lang="ja-JP" altLang="en-US" sz="1000"/>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950"/>
                        <a:t>2.</a:t>
                      </a:r>
                      <a:r>
                        <a:rPr kumimoji="1" lang="ja-JP" altLang="en-US" sz="950"/>
                        <a:t>創出価値</a:t>
                      </a:r>
                    </a:p>
                  </a:txBody>
                  <a:tcPr/>
                </a:tc>
                <a:tc>
                  <a:txBody>
                    <a:bodyPr/>
                    <a:lstStyle/>
                    <a:p>
                      <a:r>
                        <a:rPr kumimoji="1" lang="ja-JP" altLang="en-US" sz="950"/>
                        <a:t>本実証が業界・事業領域全体にもたらす価値</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613895637"/>
                  </a:ext>
                </a:extLst>
              </a:tr>
              <a:tr h="201149">
                <a:tc vMerge="1">
                  <a:txBody>
                    <a:bodyPr/>
                    <a:lstStyle/>
                    <a:p>
                      <a:endParaRPr kumimoji="1" lang="ja-JP" altLang="en-US" sz="1000"/>
                    </a:p>
                  </a:txBody>
                  <a:tcPr>
                    <a:solidFill>
                      <a:schemeClr val="bg1"/>
                    </a:solidFill>
                  </a:tcPr>
                </a:tc>
                <a:tc vMerge="1">
                  <a:txBody>
                    <a:bodyPr/>
                    <a:lstStyle/>
                    <a:p>
                      <a:endParaRPr kumimoji="1" lang="ja-JP" altLang="en-US" sz="1000"/>
                    </a:p>
                  </a:txBody>
                  <a:tcPr>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950"/>
                        <a:t>3.</a:t>
                      </a:r>
                      <a:r>
                        <a:rPr kumimoji="1" lang="ja-JP" altLang="en-US" sz="950"/>
                        <a:t>課題解決のアプローチ</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本実証における課題解決の方法</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93486874"/>
                  </a:ext>
                </a:extLst>
              </a:tr>
              <a:tr h="201149">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950"/>
                        <a:t>4.KPI</a:t>
                      </a:r>
                      <a:endParaRPr kumimoji="1" lang="ja-JP" altLang="en-US" sz="950"/>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成功の指標となる具体的な目標値を設定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564492162"/>
                  </a:ext>
                </a:extLst>
              </a:tr>
              <a:tr h="201149">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950"/>
                        <a:t>5.</a:t>
                      </a:r>
                      <a:r>
                        <a:rPr kumimoji="1" lang="ja-JP" altLang="en-US" sz="950"/>
                        <a:t>想定事業機会</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本プロジェクトが目指すビジョン、将来構想及び想定事業機会</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846630787"/>
                  </a:ext>
                </a:extLst>
              </a:tr>
              <a:tr h="201149">
                <a:tc vMerge="1">
                  <a:txBody>
                    <a:bodyPr/>
                    <a:lstStyle/>
                    <a:p>
                      <a:endParaRPr kumimoji="1" lang="ja-JP" altLang="en-US" sz="1000"/>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950"/>
                        <a:t>６</a:t>
                      </a:r>
                      <a:r>
                        <a:rPr kumimoji="1" lang="en-US" altLang="ja-JP" sz="950"/>
                        <a:t>.</a:t>
                      </a:r>
                      <a:r>
                        <a:rPr kumimoji="1" lang="ja-JP" altLang="en-US" sz="950"/>
                        <a:t>中長期的な展開</a:t>
                      </a:r>
                    </a:p>
                  </a:txBody>
                  <a:tcPr>
                    <a:lnB w="19050" cap="flat" cmpd="sng" algn="ctr">
                      <a:solidFill>
                        <a:schemeClr val="tx1"/>
                      </a:solidFill>
                      <a:prstDash val="solid"/>
                      <a:round/>
                      <a:headEnd type="none" w="med" len="med"/>
                      <a:tailEnd type="none" w="med" len="med"/>
                    </a:lnB>
                  </a:tcPr>
                </a:tc>
                <a:tc>
                  <a:txBody>
                    <a:bodyPr/>
                    <a:lstStyle/>
                    <a:p>
                      <a:r>
                        <a:rPr kumimoji="1" lang="ja-JP" altLang="en-US" sz="950"/>
                        <a:t>本プロジェクトのスケジュールを中長期的に設定する</a:t>
                      </a:r>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6354811"/>
                  </a:ext>
                </a:extLst>
              </a:tr>
              <a:tr h="201149">
                <a:tc rowSpan="9">
                  <a:txBody>
                    <a:bodyPr/>
                    <a:lstStyle/>
                    <a:p>
                      <a:r>
                        <a:rPr kumimoji="1" lang="en-US" altLang="ja-JP" sz="950"/>
                        <a:t>Ⅱ</a:t>
                      </a:r>
                    </a:p>
                    <a:p>
                      <a:endParaRPr kumimoji="1" lang="en-US" altLang="ja-JP" sz="950"/>
                    </a:p>
                    <a:p>
                      <a:endParaRPr kumimoji="1" lang="en-US" altLang="ja-JP" sz="95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9">
                  <a:txBody>
                    <a:bodyPr/>
                    <a:lstStyle/>
                    <a:p>
                      <a:r>
                        <a:rPr kumimoji="1" lang="ja-JP" altLang="en-US" sz="950">
                          <a:solidFill>
                            <a:schemeClr val="tx1"/>
                          </a:solidFill>
                        </a:rPr>
                        <a:t>交通サービスの高度化</a:t>
                      </a:r>
                      <a:endParaRPr kumimoji="1" lang="en-US" altLang="ja-JP" sz="950">
                        <a:solidFill>
                          <a:schemeClr val="tx1"/>
                        </a:solidFill>
                      </a:endParaRPr>
                    </a:p>
                    <a:p>
                      <a:endParaRPr kumimoji="1" lang="en-US" altLang="ja-JP" sz="950">
                        <a:solidFill>
                          <a:schemeClr val="tx1"/>
                        </a:solidFill>
                      </a:endParaRPr>
                    </a:p>
                  </a:txBody>
                  <a:tcP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en-US" altLang="ja-JP" sz="950">
                          <a:solidFill>
                            <a:schemeClr val="tx1"/>
                          </a:solidFill>
                        </a:rPr>
                        <a:t>1.</a:t>
                      </a:r>
                      <a:r>
                        <a:rPr kumimoji="1" lang="ja-JP" altLang="en-US" sz="950">
                          <a:solidFill>
                            <a:schemeClr val="tx1"/>
                          </a:solidFill>
                        </a:rPr>
                        <a:t>サービス全体像</a:t>
                      </a:r>
                    </a:p>
                  </a:txBody>
                  <a:tcPr>
                    <a:lnT w="19050" cap="flat" cmpd="sng" algn="ctr">
                      <a:solidFill>
                        <a:schemeClr val="tx1"/>
                      </a:solidFill>
                      <a:prstDash val="solid"/>
                      <a:round/>
                      <a:headEnd type="none" w="med" len="med"/>
                      <a:tailEnd type="none" w="med" len="med"/>
                    </a:lnT>
                  </a:tcPr>
                </a:tc>
                <a:tc>
                  <a:txBody>
                    <a:bodyPr/>
                    <a:lstStyle/>
                    <a:p>
                      <a:r>
                        <a:rPr kumimoji="1" lang="ja-JP" altLang="en-US" sz="950"/>
                        <a:t>提供するサービスの全体像を明確にする</a:t>
                      </a:r>
                      <a:endParaRPr kumimoji="1" lang="en-US" altLang="ja-JP" sz="950"/>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00664750"/>
                  </a:ext>
                </a:extLst>
              </a:tr>
              <a:tr h="201149">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solidFill>
                            <a:schemeClr val="tx1"/>
                          </a:solidFill>
                        </a:rPr>
                        <a:t>２</a:t>
                      </a:r>
                      <a:r>
                        <a:rPr kumimoji="1" lang="en-US" altLang="ja-JP" sz="950">
                          <a:solidFill>
                            <a:schemeClr val="tx1"/>
                          </a:solidFill>
                        </a:rPr>
                        <a:t>.</a:t>
                      </a:r>
                      <a:r>
                        <a:rPr kumimoji="1" lang="ja-JP" altLang="en-US" sz="950">
                          <a:solidFill>
                            <a:schemeClr val="tx1"/>
                          </a:solidFill>
                        </a:rPr>
                        <a:t>実証仮説</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実証の前提条件や期待される結果を定義する</a:t>
                      </a:r>
                      <a:endParaRPr kumimoji="1" lang="en-US" altLang="ja-JP" sz="950"/>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87408296"/>
                  </a:ext>
                </a:extLst>
              </a:tr>
              <a:tr h="201149">
                <a:tc vMerge="1">
                  <a:txBody>
                    <a:bodyPr/>
                    <a:lstStyle/>
                    <a:p>
                      <a:endParaRPr/>
                    </a:p>
                  </a:txBody>
                  <a:tcPr>
                    <a:lnT w="1270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2700" cap="flat" cmpd="sng" algn="ctr">
                      <a:solidFill>
                        <a:schemeClr val="tx1"/>
                      </a:solidFill>
                      <a:prstDash val="solid"/>
                      <a:round/>
                      <a:headEnd type="none" w="med" len="med"/>
                      <a:tailEnd type="none" w="med" len="med"/>
                    </a:lnT>
                    <a:solidFill>
                      <a:schemeClr val="bg1"/>
                    </a:solidFill>
                  </a:tcPr>
                </a:tc>
                <a:tc>
                  <a:txBody>
                    <a:bodyPr/>
                    <a:lstStyle/>
                    <a:p>
                      <a:r>
                        <a:rPr kumimoji="1" lang="ja-JP" altLang="en-US" sz="950">
                          <a:solidFill>
                            <a:schemeClr val="tx1"/>
                          </a:solidFill>
                        </a:rPr>
                        <a:t>３</a:t>
                      </a:r>
                      <a:r>
                        <a:rPr kumimoji="1" lang="en-US" altLang="ja-JP" sz="950">
                          <a:solidFill>
                            <a:schemeClr val="tx1"/>
                          </a:solidFill>
                        </a:rPr>
                        <a:t>.</a:t>
                      </a:r>
                      <a:r>
                        <a:rPr kumimoji="1" lang="ja-JP" altLang="en-US" sz="950">
                          <a:solidFill>
                            <a:schemeClr val="tx1"/>
                          </a:solidFill>
                        </a:rPr>
                        <a:t>スコープ詳細</a:t>
                      </a:r>
                    </a:p>
                  </a:txBody>
                  <a:tcPr/>
                </a:tc>
                <a:tc>
                  <a:txBody>
                    <a:bodyPr/>
                    <a:lstStyle/>
                    <a:p>
                      <a:r>
                        <a:rPr kumimoji="1" lang="ja-JP" altLang="en-US" sz="950"/>
                        <a:t>スコープ単位で実施する内容を明確に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71575238"/>
                  </a:ext>
                </a:extLst>
              </a:tr>
              <a:tr h="201149">
                <a:tc vMerge="1">
                  <a:txBody>
                    <a:bodyPr/>
                    <a:lstStyle/>
                    <a:p>
                      <a:endParaRPr/>
                    </a:p>
                  </a:txBody>
                  <a:tcPr>
                    <a:lnT w="1905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9050" cap="flat" cmpd="sng" algn="ctr">
                      <a:solidFill>
                        <a:schemeClr val="tx1"/>
                      </a:solidFill>
                      <a:prstDash val="solid"/>
                      <a:round/>
                      <a:headEnd type="none" w="med" len="med"/>
                      <a:tailEnd type="none" w="med" len="med"/>
                    </a:lnT>
                    <a:solidFill>
                      <a:schemeClr val="bg1"/>
                    </a:solidFill>
                  </a:tcPr>
                </a:tc>
                <a:tc>
                  <a:txBody>
                    <a:bodyPr/>
                    <a:lstStyle/>
                    <a:p>
                      <a:r>
                        <a:rPr kumimoji="1" lang="en-US" altLang="ja-JP" sz="950"/>
                        <a:t>4.</a:t>
                      </a:r>
                      <a:r>
                        <a:rPr kumimoji="1" lang="ja-JP" altLang="en-US" sz="950"/>
                        <a:t>プロジェクト実施エリア</a:t>
                      </a:r>
                    </a:p>
                  </a:txBody>
                  <a:tcPr/>
                </a:tc>
                <a:tc>
                  <a:txBody>
                    <a:bodyPr/>
                    <a:lstStyle/>
                    <a:p>
                      <a:r>
                        <a:rPr kumimoji="1" lang="ja-JP" altLang="en-US" sz="950"/>
                        <a:t>実証を行う具体的な地域や範囲を特定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73715988"/>
                  </a:ext>
                </a:extLst>
              </a:tr>
              <a:tr h="201149">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950"/>
                        <a:t>5.</a:t>
                      </a:r>
                      <a:r>
                        <a:rPr kumimoji="1" lang="ja-JP" altLang="en-US" sz="950"/>
                        <a:t>アーキテクチャ全体図</a:t>
                      </a: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システム全体の構造を視覚的に示し、各コンポーネントの相互関係を明確に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1657409"/>
                  </a:ext>
                </a:extLst>
              </a:tr>
              <a:tr h="201149">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950"/>
                        <a:t>6.</a:t>
                      </a:r>
                      <a:r>
                        <a:rPr kumimoji="1" lang="ja-JP" altLang="en-US" sz="950"/>
                        <a:t>ハードウェアアーキテクチャ</a:t>
                      </a:r>
                      <a:endParaRPr kumimoji="1" lang="ja-JP" altLang="en-US" sz="950">
                        <a:solidFill>
                          <a:srgbClr val="C00000"/>
                        </a:solidFill>
                      </a:endParaRPr>
                    </a:p>
                  </a:txBody>
                  <a:tcPr/>
                </a:tc>
                <a:tc>
                  <a:txBody>
                    <a:bodyPr/>
                    <a:lstStyle/>
                    <a:p>
                      <a:r>
                        <a:rPr kumimoji="1" lang="ja-JP" altLang="en-US" sz="950"/>
                        <a:t>システム全体において稼働するデバイスやインフラを説明する</a:t>
                      </a:r>
                      <a:endParaRPr kumimoji="1" lang="en-US" altLang="ja-JP" sz="950"/>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123195499"/>
                  </a:ext>
                </a:extLst>
              </a:tr>
              <a:tr h="201149">
                <a:tc vMerge="1">
                  <a:txBody>
                    <a:bodyPr/>
                    <a:lstStyle/>
                    <a:p>
                      <a:endParaRPr kumimoji="1" lang="ja-JP" altLang="en-US"/>
                    </a:p>
                  </a:txBody>
                  <a:tcPr>
                    <a:lnT w="12700" cap="flat" cmpd="sng" algn="ctr">
                      <a:solidFill>
                        <a:schemeClr val="tx1"/>
                      </a:solidFill>
                      <a:prstDash val="solid"/>
                      <a:round/>
                      <a:headEnd type="none" w="med" len="med"/>
                      <a:tailEnd type="none" w="med" len="med"/>
                    </a:lnT>
                  </a:tcPr>
                </a:tc>
                <a:tc vMerge="1">
                  <a:txBody>
                    <a:bodyPr/>
                    <a:lstStyle/>
                    <a:p>
                      <a:endParaRPr kumimoji="1" lang="ja-JP" altLang="en-US"/>
                    </a:p>
                  </a:txBody>
                  <a:tcPr>
                    <a:lnT w="12700" cap="flat" cmpd="sng" algn="ctr">
                      <a:solidFill>
                        <a:schemeClr val="tx1"/>
                      </a:solidFill>
                      <a:prstDash val="solid"/>
                      <a:round/>
                      <a:headEnd type="none" w="med" len="med"/>
                      <a:tailEnd type="none" w="med" len="med"/>
                    </a:lnT>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solidFill>
                            <a:schemeClr val="tx1"/>
                          </a:solidFill>
                        </a:rPr>
                        <a:t>７．利用する技術要素</a:t>
                      </a:r>
                      <a:endParaRPr kumimoji="1" lang="en-US" altLang="ja-JP" sz="950">
                        <a:solidFill>
                          <a:schemeClr val="tx1"/>
                        </a:solidFill>
                      </a:endParaRP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システム開発において使用する技術スタックやツールを明示、各機能を説明する</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2827228097"/>
                  </a:ext>
                </a:extLst>
              </a:tr>
              <a:tr h="201149">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vMerge="1">
                  <a:txBody>
                    <a:bodyPr/>
                    <a:lstStyle/>
                    <a:p>
                      <a:endParaRPr kumimoji="1" lang="ja-JP" altLang="en-US"/>
                    </a:p>
                  </a:txBody>
                  <a:tcPr>
                    <a:lnT w="19050" cap="flat" cmpd="sng" algn="ctr">
                      <a:solidFill>
                        <a:schemeClr val="tx1"/>
                      </a:solidFill>
                      <a:prstDash val="solid"/>
                      <a:round/>
                      <a:headEnd type="none" w="med" len="med"/>
                      <a:tailEnd type="none" w="med" len="med"/>
                    </a:lnT>
                  </a:tcPr>
                </a:tc>
                <a:tc>
                  <a:txBody>
                    <a:bodyPr/>
                    <a:lstStyle/>
                    <a:p>
                      <a:r>
                        <a:rPr kumimoji="1" lang="ja-JP" altLang="en-US" sz="950">
                          <a:solidFill>
                            <a:schemeClr val="tx1"/>
                          </a:solidFill>
                        </a:rPr>
                        <a:t>８．ユーザインタフェース</a:t>
                      </a:r>
                      <a:endParaRPr kumimoji="1" lang="en-US" altLang="ja-JP" sz="950">
                        <a:solidFill>
                          <a:schemeClr val="tx1"/>
                        </a:solidFill>
                      </a:endParaRPr>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ユーザーがシステムを操作するためのインターフェースの設計方針とその具体的な構成要素を示す</a:t>
                      </a:r>
                    </a:p>
                  </a:txBody>
                  <a:tcPr>
                    <a:lnR w="1905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970593812"/>
                  </a:ext>
                </a:extLst>
              </a:tr>
              <a:tr h="201149">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950">
                          <a:solidFill>
                            <a:schemeClr val="tx1"/>
                          </a:solidFill>
                        </a:rPr>
                        <a:t>９．事業の推進体制</a:t>
                      </a:r>
                      <a:endParaRPr kumimoji="1" lang="en-US" altLang="ja-JP" sz="950">
                        <a:solidFill>
                          <a:schemeClr val="tx1"/>
                        </a:solidFill>
                      </a:endParaRPr>
                    </a:p>
                  </a:txBody>
                  <a:tcPr>
                    <a:lnB w="12700" cap="flat" cmpd="sng" algn="ctr">
                      <a:solidFill>
                        <a:schemeClr val="tx1"/>
                      </a:solidFill>
                      <a:prstDash val="solid"/>
                      <a:round/>
                      <a:headEnd type="none" w="med" len="med"/>
                      <a:tailEnd type="none" w="med" len="med"/>
                    </a:lnB>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事業に関与する主要な関係者を特定し、役割を明確にする</a:t>
                      </a:r>
                    </a:p>
                  </a:txBody>
                  <a:tcPr>
                    <a:lnR w="1905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7948930"/>
                  </a:ext>
                </a:extLst>
              </a:tr>
            </a:tbl>
          </a:graphicData>
        </a:graphic>
      </p:graphicFrame>
    </p:spTree>
    <p:extLst>
      <p:ext uri="{BB962C8B-B14F-4D97-AF65-F5344CB8AC3E}">
        <p14:creationId xmlns:p14="http://schemas.microsoft.com/office/powerpoint/2010/main" val="7795763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経路検索</a:t>
            </a:r>
            <a:r>
              <a:rPr lang="zh-TW" altLang="en-US" sz="1600">
                <a:solidFill>
                  <a:srgbClr val="0070C0"/>
                </a:solidFill>
                <a:latin typeface="BIZ UDPゴシック"/>
                <a:ea typeface="BIZ UDPゴシック"/>
              </a:rPr>
              <a:t>機能</a:t>
            </a:r>
            <a:endParaRPr lang="en-US" altLang="zh-TW" sz="1600">
              <a:solidFill>
                <a:srgbClr val="0070C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チケット造成機能</a:t>
            </a:r>
            <a:endParaRPr lang="zh-TW" altLang="en-US" sz="1600">
              <a:solidFill>
                <a:srgbClr val="0070C0"/>
              </a:solidFill>
              <a:latin typeface="BIZ UDPゴシック"/>
              <a:ea typeface="BIZ UDPゴシック"/>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各エリアのチケットを一覧ページに記載</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en-US" altLang="ja-JP" sz="16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アプリ検討会を設置</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アプリの利用促進につながる</a:t>
            </a:r>
            <a:r>
              <a:rPr lang="en-US" altLang="ja-JP" sz="1600">
                <a:solidFill>
                  <a:srgbClr val="0070C0"/>
                </a:solidFill>
                <a:latin typeface="BIZ UDPゴシック"/>
                <a:ea typeface="BIZ UDPゴシック"/>
              </a:rPr>
              <a:t>PR</a:t>
            </a:r>
            <a:r>
              <a:rPr lang="ja-JP" altLang="en-US" sz="1600">
                <a:solidFill>
                  <a:srgbClr val="0070C0"/>
                </a:solidFill>
                <a:latin typeface="BIZ UDPゴシック"/>
                <a:ea typeface="BIZ UDPゴシック"/>
              </a:rPr>
              <a:t>記事の作成・掲載を外注して定期的に実施</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6" name="テキスト ボックス 15">
            <a:extLst>
              <a:ext uri="{FF2B5EF4-FFF2-40B4-BE49-F238E27FC236}">
                <a16:creationId xmlns:a16="http://schemas.microsoft.com/office/drawing/2014/main" id="{CE3710F1-B30E-EA02-A69C-61327FEC95E4}"/>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7" name="テキスト ボックス 16">
            <a:extLst>
              <a:ext uri="{FF2B5EF4-FFF2-40B4-BE49-F238E27FC236}">
                <a16:creationId xmlns:a16="http://schemas.microsoft.com/office/drawing/2014/main" id="{B8742A06-7726-04DB-07A0-15A44946BF87}"/>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1302942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7"/>
            <a:ext cx="5761199" cy="23253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チケット購入機能（クレジットカード決済のみ）</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kumimoji="1" lang="ja-JP" altLang="en-US" sz="1600">
                <a:solidFill>
                  <a:srgbClr val="0070C0"/>
                </a:solidFill>
                <a:latin typeface="+mn-ea"/>
              </a:rPr>
              <a:t>企画乗車券提示</a:t>
            </a:r>
            <a:endParaRPr lang="en-US" altLang="ja-JP" sz="1600">
              <a:solidFill>
                <a:srgbClr val="00000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自治体、交通事業者、施設運営者によるチケット企画検討会を設置</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a:solidFill>
                  <a:srgbClr val="0070C0"/>
                </a:solidFill>
                <a:latin typeface="+mn-ea"/>
              </a:rPr>
              <a:t>イベント等、アプリの利用促進につながる</a:t>
            </a:r>
            <a:r>
              <a:rPr kumimoji="1" lang="en-US" altLang="ja-JP" sz="1600">
                <a:solidFill>
                  <a:srgbClr val="0070C0"/>
                </a:solidFill>
                <a:latin typeface="+mn-ea"/>
              </a:rPr>
              <a:t>PR</a:t>
            </a:r>
            <a:r>
              <a:rPr kumimoji="1" lang="ja-JP" altLang="en-US" sz="1600">
                <a:solidFill>
                  <a:srgbClr val="0070C0"/>
                </a:solidFill>
                <a:latin typeface="+mn-ea"/>
              </a:rPr>
              <a:t>記事の作成・掲載を外部へ委託して実施</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ja-JP" altLang="en-US" sz="1800">
                <a:solidFill>
                  <a:srgbClr val="0070C0"/>
                </a:solidFill>
                <a:latin typeface="BIZ UDPゴシック"/>
                <a:ea typeface="BIZ UDPゴシック"/>
              </a:rPr>
              <a:t>②デジタルパスの販売</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1" name="テキスト ボックス 10">
            <a:extLst>
              <a:ext uri="{FF2B5EF4-FFF2-40B4-BE49-F238E27FC236}">
                <a16:creationId xmlns:a16="http://schemas.microsoft.com/office/drawing/2014/main" id="{A12A54EC-FA39-9EC7-4DA0-3FF3D4DE53BD}"/>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6" name="テキスト ボックス 15">
            <a:extLst>
              <a:ext uri="{FF2B5EF4-FFF2-40B4-BE49-F238E27FC236}">
                <a16:creationId xmlns:a16="http://schemas.microsoft.com/office/drawing/2014/main" id="{6AFFC85C-4915-C68E-6642-AACE2FECBCFD}"/>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19780064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サービス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a:solidFill>
                <a:srgbClr val="0070C0"/>
              </a:solidFill>
              <a:latin typeface="+mn-ea"/>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a:solidFill>
                  <a:srgbClr val="0070C0"/>
                </a:solidFill>
                <a:latin typeface="+mn-ea"/>
              </a:rPr>
              <a:t>・・・・・</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defTabSz="914400">
              <a:spcBef>
                <a:spcPts val="300"/>
              </a:spcBef>
              <a:defRPr/>
            </a:pPr>
            <a:r>
              <a:rPr lang="ja-JP" altLang="en-US" sz="1800">
                <a:solidFill>
                  <a:srgbClr val="0070C0"/>
                </a:solidFill>
                <a:latin typeface="BIZ UDPゴシック"/>
                <a:ea typeface="BIZ UDPゴシック"/>
              </a:rPr>
              <a:t>③サブスクサービスの提供</a:t>
            </a:r>
            <a:endParaRPr lang="en-US" altLang="ja-JP" sz="1800">
              <a:solidFill>
                <a:srgbClr val="0070C0"/>
              </a:solidFill>
              <a:latin typeface="BIZ UDPゴシック"/>
              <a:ea typeface="BIZ UDPゴシック"/>
            </a:endParaRPr>
          </a:p>
        </p:txBody>
      </p:sp>
      <p:sp>
        <p:nvSpPr>
          <p:cNvPr id="11" name="テキスト ボックス 10">
            <a:extLst>
              <a:ext uri="{FF2B5EF4-FFF2-40B4-BE49-F238E27FC236}">
                <a16:creationId xmlns:a16="http://schemas.microsoft.com/office/drawing/2014/main" id="{7AD700B5-152F-F8C1-01F8-E4F93E6DE0A2}"/>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6" name="テキスト ボックス 15">
            <a:extLst>
              <a:ext uri="{FF2B5EF4-FFF2-40B4-BE49-F238E27FC236}">
                <a16:creationId xmlns:a16="http://schemas.microsoft.com/office/drawing/2014/main" id="{BE049EA0-0CE2-CD5F-4666-C5B7AD461329}"/>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18492806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extLst>
              <p:ext uri="{D42A27DB-BD31-4B8C-83A1-F6EECF244321}">
                <p14:modId xmlns:p14="http://schemas.microsoft.com/office/powerpoint/2010/main" val="1159869441"/>
              </p:ext>
            </p:ext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7F81DA45-2EDB-3376-10B4-C61FAB506B4F}"/>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実証仮説</a:t>
            </a:r>
          </a:p>
        </p:txBody>
      </p:sp>
      <p:graphicFrame>
        <p:nvGraphicFramePr>
          <p:cNvPr id="8" name="表 14">
            <a:extLst>
              <a:ext uri="{FF2B5EF4-FFF2-40B4-BE49-F238E27FC236}">
                <a16:creationId xmlns:a16="http://schemas.microsoft.com/office/drawing/2014/main" id="{628A4627-CAA7-6C39-A2F3-3AFB41DE8AAE}"/>
              </a:ext>
            </a:extLst>
          </p:cNvPr>
          <p:cNvGraphicFramePr>
            <a:graphicFrameLocks noGrp="1"/>
          </p:cNvGraphicFramePr>
          <p:nvPr>
            <p:extLst>
              <p:ext uri="{D42A27DB-BD31-4B8C-83A1-F6EECF244321}">
                <p14:modId xmlns:p14="http://schemas.microsoft.com/office/powerpoint/2010/main" val="1255812343"/>
              </p:ext>
            </p:extLst>
          </p:nvPr>
        </p:nvGraphicFramePr>
        <p:xfrm>
          <a:off x="300779" y="1520600"/>
          <a:ext cx="11587199" cy="5135138"/>
        </p:xfrm>
        <a:graphic>
          <a:graphicData uri="http://schemas.openxmlformats.org/drawingml/2006/table">
            <a:tbl>
              <a:tblPr firstRow="1" bandRow="1">
                <a:tableStyleId>{5940675A-B579-460E-94D1-54222C63F5DA}</a:tableStyleId>
              </a:tblPr>
              <a:tblGrid>
                <a:gridCol w="2137758">
                  <a:extLst>
                    <a:ext uri="{9D8B030D-6E8A-4147-A177-3AD203B41FA5}">
                      <a16:colId xmlns:a16="http://schemas.microsoft.com/office/drawing/2014/main" val="2207648862"/>
                    </a:ext>
                  </a:extLst>
                </a:gridCol>
                <a:gridCol w="9449441">
                  <a:extLst>
                    <a:ext uri="{9D8B030D-6E8A-4147-A177-3AD203B41FA5}">
                      <a16:colId xmlns:a16="http://schemas.microsoft.com/office/drawing/2014/main" val="3194800138"/>
                    </a:ext>
                  </a:extLst>
                </a:gridCol>
              </a:tblGrid>
              <a:tr h="349700">
                <a:tc>
                  <a:txBody>
                    <a:bodyPr/>
                    <a:lstStyle/>
                    <a:p>
                      <a:pPr marL="0" indent="0">
                        <a:buFont typeface="+mj-lt"/>
                        <a:buNone/>
                      </a:pPr>
                      <a:r>
                        <a:rPr kumimoji="1" lang="ja-JP" altLang="en-US" sz="1600" b="1">
                          <a:latin typeface="+mj-ea"/>
                          <a:ea typeface="+mj-ea"/>
                        </a:rPr>
                        <a:t>項目</a:t>
                      </a:r>
                    </a:p>
                  </a:txBody>
                  <a:tcPr marL="112542" marR="112542" marT="56271" marB="56271">
                    <a:solidFill>
                      <a:schemeClr val="bg1">
                        <a:lumMod val="85000"/>
                      </a:schemeClr>
                    </a:solidFill>
                  </a:tcPr>
                </a:tc>
                <a:tc>
                  <a:txBody>
                    <a:bodyPr/>
                    <a:lstStyle/>
                    <a:p>
                      <a:pPr marL="0" indent="0" defTabSz="990546" fontAlgn="auto">
                        <a:spcBef>
                          <a:spcPts val="300"/>
                        </a:spcBef>
                        <a:spcAft>
                          <a:spcPts val="0"/>
                        </a:spcAft>
                        <a:buSzPct val="100000"/>
                        <a:buFont typeface="Meiryo UI" panose="020B0604030504040204" pitchFamily="50" charset="-128"/>
                        <a:buNone/>
                        <a:defRPr/>
                      </a:pPr>
                      <a:r>
                        <a:rPr kumimoji="1" lang="ja-JP" altLang="en-US" sz="1600" b="1">
                          <a:solidFill>
                            <a:schemeClr val="tx1"/>
                          </a:solidFill>
                          <a:latin typeface="+mj-ea"/>
                          <a:ea typeface="+mj-ea"/>
                        </a:rPr>
                        <a:t>内容</a:t>
                      </a:r>
                      <a:endParaRPr kumimoji="1" lang="en-US" altLang="ja-JP" sz="1600" b="1">
                        <a:solidFill>
                          <a:schemeClr val="tx1"/>
                        </a:solidFill>
                        <a:latin typeface="+mj-ea"/>
                        <a:ea typeface="+mj-ea"/>
                      </a:endParaRPr>
                    </a:p>
                  </a:txBody>
                  <a:tcPr marL="112542" marR="112542" marT="56271" marB="56271">
                    <a:solidFill>
                      <a:schemeClr val="bg1">
                        <a:lumMod val="85000"/>
                      </a:schemeClr>
                    </a:solidFill>
                  </a:tcPr>
                </a:tc>
                <a:extLst>
                  <a:ext uri="{0D108BD9-81ED-4DB2-BD59-A6C34878D82A}">
                    <a16:rowId xmlns:a16="http://schemas.microsoft.com/office/drawing/2014/main" val="4015009209"/>
                  </a:ext>
                </a:extLst>
              </a:tr>
              <a:tr h="4778756">
                <a:tc>
                  <a:txBody>
                    <a:bodyPr/>
                    <a:lstStyle/>
                    <a:p>
                      <a:pPr marL="0" indent="0">
                        <a:buFont typeface="+mj-lt"/>
                        <a:buNone/>
                      </a:pPr>
                      <a:r>
                        <a:rPr kumimoji="1" lang="ja-JP" altLang="en-US" sz="1600" b="0">
                          <a:latin typeface="+mn-ea"/>
                          <a:ea typeface="+mn-ea"/>
                        </a:rPr>
                        <a:t>実証仮説</a:t>
                      </a:r>
                    </a:p>
                  </a:txBody>
                  <a:tcPr marL="112542" marR="112542" marT="56271" marB="56271">
                    <a:noFill/>
                  </a:tcPr>
                </a:tc>
                <a:tc>
                  <a:txBody>
                    <a:bodyPr/>
                    <a:lstStyle/>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400" b="0" i="0" u="none" strike="noStrike" kern="1200" cap="none" spc="0" normalizeH="0" baseline="0" noProof="0">
                          <a:ln>
                            <a:noFill/>
                          </a:ln>
                          <a:solidFill>
                            <a:srgbClr val="0070C0"/>
                          </a:solidFill>
                          <a:effectLst/>
                          <a:uLnTx/>
                          <a:uFillTx/>
                          <a:latin typeface="+mn-lt"/>
                          <a:ea typeface="+mn-ea"/>
                          <a:cs typeface="+mn-cs"/>
                        </a:rPr>
                        <a:t>①新規</a:t>
                      </a:r>
                      <a:r>
                        <a:rPr kumimoji="1" lang="en-US" altLang="ja-JP" sz="1400" b="0" i="0" u="none" strike="noStrike" kern="1200" cap="none" spc="0" normalizeH="0" baseline="0" noProof="0">
                          <a:ln>
                            <a:noFill/>
                          </a:ln>
                          <a:solidFill>
                            <a:srgbClr val="0070C0"/>
                          </a:solidFill>
                          <a:effectLst/>
                          <a:uLnTx/>
                          <a:uFillTx/>
                          <a:latin typeface="+mn-lt"/>
                          <a:ea typeface="+mn-ea"/>
                          <a:cs typeface="+mn-cs"/>
                        </a:rPr>
                        <a:t>MaaS</a:t>
                      </a:r>
                      <a:r>
                        <a:rPr kumimoji="1" lang="ja-JP" altLang="en-US" sz="1400" b="0" i="0" u="none" strike="noStrike" kern="1200" cap="none" spc="0" normalizeH="0" baseline="0" noProof="0">
                          <a:ln>
                            <a:noFill/>
                          </a:ln>
                          <a:solidFill>
                            <a:srgbClr val="0070C0"/>
                          </a:solidFill>
                          <a:effectLst/>
                          <a:uLnTx/>
                          <a:uFillTx/>
                          <a:latin typeface="+mn-lt"/>
                          <a:ea typeface="+mn-ea"/>
                          <a:cs typeface="+mn-cs"/>
                        </a:rPr>
                        <a:t>アプリの開発</a:t>
                      </a:r>
                      <a:endParaRPr kumimoji="1" lang="en-US" altLang="ja-JP" sz="1400" b="0" i="0" u="none" strike="noStrike" kern="1200" cap="none" spc="0" normalizeH="0" baseline="0" noProof="0">
                        <a:ln>
                          <a:noFill/>
                        </a:ln>
                        <a:solidFill>
                          <a:srgbClr val="0070C0"/>
                        </a:solidFill>
                        <a:effectLst/>
                        <a:uLnTx/>
                        <a:uFillTx/>
                        <a:latin typeface="+mn-lt"/>
                        <a:ea typeface="+mn-ea"/>
                        <a:cs typeface="+mn-cs"/>
                      </a:endParaRPr>
                    </a:p>
                    <a:p>
                      <a:pPr marL="0" indent="0">
                        <a:buFont typeface="Wingdings" panose="05000000000000000000" pitchFamily="2" charset="2"/>
                        <a:buNone/>
                      </a:pPr>
                      <a:endParaRPr lang="en-US" altLang="ja-JP" sz="1400"/>
                    </a:p>
                    <a:p>
                      <a:pPr marL="285750" indent="-285750">
                        <a:buFont typeface="Wingdings" panose="05000000000000000000" pitchFamily="2" charset="2"/>
                        <a:buChar char="l"/>
                      </a:pPr>
                      <a:r>
                        <a:rPr lang="ja-JP" altLang="en-US" sz="1400">
                          <a:solidFill>
                            <a:srgbClr val="0070C0"/>
                          </a:solidFill>
                        </a:rPr>
                        <a:t>仮説</a:t>
                      </a:r>
                      <a:r>
                        <a:rPr lang="en-US" altLang="ja-JP" sz="1400">
                          <a:solidFill>
                            <a:srgbClr val="0070C0"/>
                          </a:solidFill>
                        </a:rPr>
                        <a:t>: MaaS</a:t>
                      </a:r>
                      <a:r>
                        <a:rPr lang="ja-JP" altLang="en-US" sz="1400">
                          <a:solidFill>
                            <a:srgbClr val="0070C0"/>
                          </a:solidFill>
                        </a:rPr>
                        <a:t>システムの導入により、公共交通利用率が</a:t>
                      </a:r>
                      <a:r>
                        <a:rPr lang="en-US" altLang="ja-JP" sz="1400">
                          <a:solidFill>
                            <a:srgbClr val="0070C0"/>
                          </a:solidFill>
                        </a:rPr>
                        <a:t>20%</a:t>
                      </a:r>
                      <a:r>
                        <a:rPr lang="ja-JP" altLang="en-US" sz="1400">
                          <a:solidFill>
                            <a:srgbClr val="0070C0"/>
                          </a:solidFill>
                        </a:rPr>
                        <a:t>向上し、交通渋滞が</a:t>
                      </a:r>
                      <a:r>
                        <a:rPr lang="en-US" altLang="ja-JP" sz="1400">
                          <a:solidFill>
                            <a:srgbClr val="0070C0"/>
                          </a:solidFill>
                        </a:rPr>
                        <a:t>15%</a:t>
                      </a:r>
                      <a:r>
                        <a:rPr lang="ja-JP" altLang="en-US" sz="1400">
                          <a:solidFill>
                            <a:srgbClr val="0070C0"/>
                          </a:solidFill>
                        </a:rPr>
                        <a:t>減少する。</a:t>
                      </a:r>
                    </a:p>
                    <a:p>
                      <a:pPr marL="0" indent="0">
                        <a:buFont typeface="Wingdings" panose="05000000000000000000" pitchFamily="2" charset="2"/>
                        <a:buNone/>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MaaS</a:t>
                      </a:r>
                      <a:r>
                        <a:rPr lang="ja-JP" altLang="en-US" sz="1400">
                          <a:solidFill>
                            <a:srgbClr val="0070C0"/>
                          </a:solidFill>
                        </a:rPr>
                        <a:t>の統合システムにより、利用者は複数の交通手段をシームレスに利用でき、公共交通の魅力が増す。</a:t>
                      </a:r>
                      <a:endParaRPr lang="en-US" altLang="ja-JP" sz="1400">
                        <a:solidFill>
                          <a:srgbClr val="0070C0"/>
                        </a:solidFill>
                      </a:endParaRPr>
                    </a:p>
                    <a:p>
                      <a:pPr marL="285750" indent="-285750">
                        <a:buFont typeface="Wingdings" panose="05000000000000000000" pitchFamily="2" charset="2"/>
                        <a:buChar char="l"/>
                      </a:pPr>
                      <a:endParaRPr lang="en-US" altLang="ja-JP" sz="1400"/>
                    </a:p>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400">
                          <a:solidFill>
                            <a:srgbClr val="0070C0"/>
                          </a:solidFill>
                          <a:latin typeface="+mn-lt"/>
                          <a:ea typeface="+mn-ea"/>
                        </a:rPr>
                        <a:t>②デジタルパスの販売</a:t>
                      </a:r>
                      <a:endParaRPr lang="en-US" altLang="ja-JP" sz="1400">
                        <a:solidFill>
                          <a:srgbClr val="0070C0"/>
                        </a:solidFill>
                        <a:latin typeface="+mn-lt"/>
                        <a:ea typeface="+mn-ea"/>
                      </a:endParaRPr>
                    </a:p>
                    <a:p>
                      <a:pPr marL="0" indent="0">
                        <a:buFont typeface="Wingdings" panose="05000000000000000000" pitchFamily="2" charset="2"/>
                        <a:buNone/>
                      </a:pPr>
                      <a:endParaRPr lang="en-US" altLang="ja-JP" sz="1400"/>
                    </a:p>
                    <a:p>
                      <a:pPr marL="285750" indent="-285750">
                        <a:buFont typeface="Wingdings" panose="05000000000000000000" pitchFamily="2" charset="2"/>
                        <a:buChar char="l"/>
                      </a:pPr>
                      <a:r>
                        <a:rPr lang="ja-JP" altLang="en-US" sz="1400">
                          <a:solidFill>
                            <a:srgbClr val="0070C0"/>
                          </a:solidFill>
                        </a:rPr>
                        <a:t>仮説</a:t>
                      </a:r>
                      <a:r>
                        <a:rPr lang="en-US" altLang="ja-JP" sz="1400">
                          <a:solidFill>
                            <a:srgbClr val="0070C0"/>
                          </a:solidFill>
                        </a:rPr>
                        <a:t>: </a:t>
                      </a:r>
                      <a:r>
                        <a:rPr lang="ja-JP" altLang="en-US" sz="1400">
                          <a:solidFill>
                            <a:srgbClr val="0070C0"/>
                          </a:solidFill>
                        </a:rPr>
                        <a:t>観光施設のクーポンを含む周遊デジタルチケットの販売により、該当観光施設への来客数</a:t>
                      </a:r>
                      <a:r>
                        <a:rPr lang="en-US" altLang="ja-JP" sz="1400">
                          <a:solidFill>
                            <a:srgbClr val="0070C0"/>
                          </a:solidFill>
                        </a:rPr>
                        <a:t>20%</a:t>
                      </a:r>
                      <a:r>
                        <a:rPr lang="ja-JP" altLang="en-US" sz="1400">
                          <a:solidFill>
                            <a:srgbClr val="0070C0"/>
                          </a:solidFill>
                        </a:rPr>
                        <a:t>アップ、また観光客の移動需要を取り込み観光目的の公共交通利用率が</a:t>
                      </a:r>
                      <a:r>
                        <a:rPr lang="en-US" altLang="ja-JP" sz="1400">
                          <a:solidFill>
                            <a:srgbClr val="0070C0"/>
                          </a:solidFill>
                        </a:rPr>
                        <a:t>10%</a:t>
                      </a:r>
                      <a:r>
                        <a:rPr lang="ja-JP" altLang="en-US" sz="1400">
                          <a:solidFill>
                            <a:srgbClr val="0070C0"/>
                          </a:solidFill>
                        </a:rPr>
                        <a:t>向上。</a:t>
                      </a:r>
                      <a:endParaRPr lang="en-US" altLang="ja-JP" sz="1400">
                        <a:solidFill>
                          <a:srgbClr val="0070C0"/>
                        </a:solidFill>
                      </a:endParaRPr>
                    </a:p>
                    <a:p>
                      <a:pPr marL="285750" indent="-285750">
                        <a:buFont typeface="Wingdings" panose="05000000000000000000" pitchFamily="2" charset="2"/>
                        <a:buChar char="l"/>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クーポン付きの周遊デジタルチケットにより、観光客は目的地までシームレスに利用でき主要観光地だけでなく、周辺エリアにおいても観光客が増加する。</a:t>
                      </a:r>
                      <a:endParaRPr lang="en-US" altLang="ja-JP" sz="1400">
                        <a:solidFill>
                          <a:srgbClr val="0070C0"/>
                        </a:solidFill>
                      </a:endParaRPr>
                    </a:p>
                    <a:p>
                      <a:pPr marL="0" indent="0">
                        <a:buFont typeface="Wingdings" panose="05000000000000000000" pitchFamily="2" charset="2"/>
                        <a:buNone/>
                      </a:pPr>
                      <a:endParaRPr lang="en-US" altLang="ja-JP" sz="1400">
                        <a:solidFill>
                          <a:srgbClr val="0070C0"/>
                        </a:solidFill>
                      </a:endParaRPr>
                    </a:p>
                    <a:p>
                      <a:pPr marL="0" marR="0" lvl="0" indent="0" algn="l" defTabSz="74295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400">
                          <a:solidFill>
                            <a:srgbClr val="0070C0"/>
                          </a:solidFill>
                          <a:latin typeface="+mn-lt"/>
                          <a:ea typeface="+mn-ea"/>
                        </a:rPr>
                        <a:t>③サブスクサービスの提供</a:t>
                      </a:r>
                      <a:endParaRPr lang="en-US" altLang="ja-JP" sz="1400">
                        <a:solidFill>
                          <a:srgbClr val="0070C0"/>
                        </a:solidFill>
                      </a:endParaRPr>
                    </a:p>
                    <a:p>
                      <a:pPr marL="285750" marR="0" lvl="0" indent="-285750" algn="l" defTabSz="74295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lang="ja-JP" altLang="en-US" sz="1400">
                          <a:solidFill>
                            <a:srgbClr val="0070C0"/>
                          </a:solidFill>
                        </a:rPr>
                        <a:t>仮説</a:t>
                      </a:r>
                      <a:r>
                        <a:rPr lang="en-US" altLang="ja-JP" sz="1400">
                          <a:solidFill>
                            <a:srgbClr val="0070C0"/>
                          </a:solidFill>
                        </a:rPr>
                        <a:t>: </a:t>
                      </a:r>
                      <a:r>
                        <a:rPr lang="ja-JP" altLang="en-US" sz="1400">
                          <a:solidFill>
                            <a:srgbClr val="0070C0"/>
                          </a:solidFill>
                        </a:rPr>
                        <a:t>サブスクサービスの導入により、公共交通利用率が</a:t>
                      </a:r>
                      <a:r>
                        <a:rPr lang="en-US" altLang="ja-JP" sz="1400">
                          <a:solidFill>
                            <a:srgbClr val="0070C0"/>
                          </a:solidFill>
                        </a:rPr>
                        <a:t>20%</a:t>
                      </a:r>
                      <a:r>
                        <a:rPr lang="ja-JP" altLang="en-US" sz="1400">
                          <a:solidFill>
                            <a:srgbClr val="0070C0"/>
                          </a:solidFill>
                        </a:rPr>
                        <a:t>向上し、交通渋滞が</a:t>
                      </a:r>
                      <a:r>
                        <a:rPr lang="en-US" altLang="ja-JP" sz="1400">
                          <a:solidFill>
                            <a:srgbClr val="0070C0"/>
                          </a:solidFill>
                        </a:rPr>
                        <a:t>15%</a:t>
                      </a:r>
                      <a:r>
                        <a:rPr lang="ja-JP" altLang="en-US" sz="1400">
                          <a:solidFill>
                            <a:srgbClr val="0070C0"/>
                          </a:solidFill>
                        </a:rPr>
                        <a:t>減少する。</a:t>
                      </a:r>
                    </a:p>
                    <a:p>
                      <a:pPr marL="285750" indent="-285750">
                        <a:buFont typeface="Wingdings" panose="05000000000000000000" pitchFamily="2" charset="2"/>
                        <a:buChar char="l"/>
                      </a:pPr>
                      <a:endParaRPr lang="en-US" altLang="ja-JP" sz="1400">
                        <a:solidFill>
                          <a:srgbClr val="0070C0"/>
                        </a:solidFill>
                      </a:endParaRPr>
                    </a:p>
                    <a:p>
                      <a:pPr marL="0" indent="0">
                        <a:buFont typeface="Wingdings" panose="05000000000000000000" pitchFamily="2" charset="2"/>
                        <a:buNone/>
                      </a:pPr>
                      <a:r>
                        <a:rPr lang="ja-JP" altLang="en-US" sz="1400">
                          <a:solidFill>
                            <a:srgbClr val="0070C0"/>
                          </a:solidFill>
                        </a:rPr>
                        <a:t>仮説が実現する理由</a:t>
                      </a:r>
                      <a:r>
                        <a:rPr lang="en-US" altLang="ja-JP" sz="1400">
                          <a:solidFill>
                            <a:srgbClr val="0070C0"/>
                          </a:solidFill>
                        </a:rPr>
                        <a:t>: </a:t>
                      </a:r>
                      <a:r>
                        <a:rPr lang="ja-JP" altLang="en-US" sz="1400">
                          <a:solidFill>
                            <a:srgbClr val="0070C0"/>
                          </a:solidFill>
                        </a:rPr>
                        <a:t>該当エリアの鉄道とバスが定額で乗り放題なため、公共交通がお得と感じる利用者が増え、公共交通の魅力が増す。</a:t>
                      </a:r>
                      <a:endParaRPr lang="en-US" altLang="ja-JP" sz="1400" u="none" kern="100">
                        <a:solidFill>
                          <a:srgbClr val="000000"/>
                        </a:solidFill>
                        <a:effectLst/>
                        <a:latin typeface="+mn-ea"/>
                        <a:ea typeface="+mn-ea"/>
                        <a:cs typeface="Arial" panose="020B0604020202020204" pitchFamily="34" charset="0"/>
                      </a:endParaRPr>
                    </a:p>
                  </a:txBody>
                  <a:tcPr marL="112542" marR="112542" marT="56271" marB="56271">
                    <a:solidFill>
                      <a:schemeClr val="bg1"/>
                    </a:solidFill>
                  </a:tcPr>
                </a:tc>
                <a:extLst>
                  <a:ext uri="{0D108BD9-81ED-4DB2-BD59-A6C34878D82A}">
                    <a16:rowId xmlns:a16="http://schemas.microsoft.com/office/drawing/2014/main" val="4257226144"/>
                  </a:ext>
                </a:extLst>
              </a:tr>
            </a:tbl>
          </a:graphicData>
        </a:graphic>
      </p:graphicFrame>
      <p:sp>
        <p:nvSpPr>
          <p:cNvPr id="11" name="テキスト ボックス 10">
            <a:extLst>
              <a:ext uri="{FF2B5EF4-FFF2-40B4-BE49-F238E27FC236}">
                <a16:creationId xmlns:a16="http://schemas.microsoft.com/office/drawing/2014/main" id="{F3C7DC9A-525C-F63B-8EA0-A1FD3AEF7283}"/>
              </a:ext>
            </a:extLst>
          </p:cNvPr>
          <p:cNvSpPr txBox="1"/>
          <p:nvPr/>
        </p:nvSpPr>
        <p:spPr>
          <a:xfrm>
            <a:off x="1754907" y="3506673"/>
            <a:ext cx="8467744" cy="16306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スコープ単位で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をすることにより▲▲になる、等スコープに対してどのような仮説が立つか具体的に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の部分のどうなるかについては、できるだけ定量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852443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0797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新規</a:t>
            </a:r>
            <a:r>
              <a:rPr kumimoji="1" lang="en-US" altLang="ja-JP" sz="18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アプリの開発</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0070C0"/>
                </a:solidFill>
                <a:effectLst/>
                <a:uLnTx/>
                <a:uFillTx/>
              </a:rPr>
              <a:t>当該エリア内のシームレスな移動を可能とするため、</a:t>
            </a:r>
            <a:r>
              <a:rPr kumimoji="0" lang="en-US" altLang="ja-JP" sz="1400" b="0" i="0" u="none" strike="noStrike" kern="0" cap="none" spc="0" normalizeH="0" baseline="0" noProof="0" err="1">
                <a:ln>
                  <a:noFill/>
                </a:ln>
                <a:solidFill>
                  <a:srgbClr val="0070C0"/>
                </a:solidFill>
                <a:effectLst/>
                <a:uLnTx/>
                <a:uFillTx/>
              </a:rPr>
              <a:t>MaaS</a:t>
            </a:r>
            <a:r>
              <a:rPr kumimoji="0" lang="ja-JP" altLang="en-US" sz="1400" b="0" i="0" u="none" strike="noStrike" kern="0" cap="none" spc="0" normalizeH="0" baseline="0" noProof="0">
                <a:ln>
                  <a:noFill/>
                </a:ln>
                <a:solidFill>
                  <a:srgbClr val="0070C0"/>
                </a:solidFill>
                <a:effectLst/>
                <a:uLnTx/>
                <a:uFillTx/>
              </a:rPr>
              <a:t>アプリの開発及び実証を行う。</a:t>
            </a:r>
            <a:endParaRPr kumimoji="0" lang="en-US" altLang="ja-JP" sz="1400" b="0" i="0" u="none" strike="noStrike" kern="0" cap="none" spc="0" normalizeH="0" baseline="0" noProof="0">
              <a:ln>
                <a:noFill/>
              </a:ln>
              <a:solidFill>
                <a:srgbClr val="0070C0"/>
              </a:solidFill>
              <a:effectLst/>
              <a:uLnTx/>
              <a:uFillTx/>
            </a:endParaRPr>
          </a:p>
        </p:txBody>
      </p:sp>
      <p:graphicFrame>
        <p:nvGraphicFramePr>
          <p:cNvPr id="32" name="表 31">
            <a:extLst>
              <a:ext uri="{FF2B5EF4-FFF2-40B4-BE49-F238E27FC236}">
                <a16:creationId xmlns:a16="http://schemas.microsoft.com/office/drawing/2014/main" id="{3B80BC24-01AA-213D-76FD-38F653AD9B7C}"/>
              </a:ext>
            </a:extLst>
          </p:cNvPr>
          <p:cNvGraphicFramePr>
            <a:graphicFrameLocks noGrp="1"/>
          </p:cNvGraphicFramePr>
          <p:nvPr>
            <p:extLst>
              <p:ext uri="{D42A27DB-BD31-4B8C-83A1-F6EECF244321}">
                <p14:modId xmlns:p14="http://schemas.microsoft.com/office/powerpoint/2010/main" val="1092475293"/>
              </p:ext>
            </p:extLst>
          </p:nvPr>
        </p:nvGraphicFramePr>
        <p:xfrm>
          <a:off x="537268"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23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39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a:solidFill>
                            <a:srgbClr val="0070C0"/>
                          </a:solidFill>
                        </a:rPr>
                        <a:t>MaaS</a:t>
                      </a:r>
                      <a:r>
                        <a:rPr kumimoji="1" lang="ja-JP" altLang="en-US" sz="1050">
                          <a:solidFill>
                            <a:srgbClr val="0070C0"/>
                          </a:solidFill>
                        </a:rPr>
                        <a:t>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統合した</a:t>
                      </a:r>
                      <a:r>
                        <a:rPr kumimoji="1" lang="en-US" altLang="ja-JP" sz="1050" err="1">
                          <a:solidFill>
                            <a:srgbClr val="0070C0"/>
                          </a:solidFill>
                        </a:rPr>
                        <a:t>MaaS</a:t>
                      </a:r>
                      <a:r>
                        <a:rPr kumimoji="1" lang="ja-JP" altLang="en-US" sz="1050">
                          <a:solidFill>
                            <a:srgbClr val="0070C0"/>
                          </a:solidFill>
                        </a:rPr>
                        <a:t>アプリを開発し、一般ユーザーに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1929">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シームレスに統合した企画乗車券造成し、販売を行う（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8811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エンドコンテンツと連携した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〇〇施設や宿泊施設のクーポンをセットにした企画乗車券を造成・販売する（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1244317">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a:solidFill>
                            <a:srgbClr val="0070C0"/>
                          </a:solidFill>
                        </a:rPr>
                        <a:t>QR</a:t>
                      </a:r>
                      <a:r>
                        <a:rPr kumimoji="1" lang="ja-JP" altLang="en-US" sz="1050">
                          <a:solidFill>
                            <a:srgbClr val="0070C0"/>
                          </a:solidFill>
                        </a:rPr>
                        <a:t>チケッティング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err="1">
                          <a:solidFill>
                            <a:srgbClr val="0070C0"/>
                          </a:solidFill>
                        </a:rPr>
                        <a:t>MaaS</a:t>
                      </a:r>
                      <a:r>
                        <a:rPr kumimoji="1" lang="ja-JP" altLang="en-US" sz="1050">
                          <a:solidFill>
                            <a:srgbClr val="0070C0"/>
                          </a:solidFill>
                        </a:rPr>
                        <a:t>で販売するチケットの認証を</a:t>
                      </a:r>
                      <a:r>
                        <a:rPr kumimoji="1" lang="en-US" altLang="ja-JP" sz="1050">
                          <a:solidFill>
                            <a:srgbClr val="0070C0"/>
                          </a:solidFill>
                        </a:rPr>
                        <a:t>QR</a:t>
                      </a:r>
                      <a:r>
                        <a:rPr kumimoji="1" lang="ja-JP" altLang="en-US" sz="1050">
                          <a:solidFill>
                            <a:srgbClr val="0070C0"/>
                          </a:solidFill>
                        </a:rPr>
                        <a:t>により行う（全種）。対象エリアの全路線に及びオンデマンド交通に</a:t>
                      </a:r>
                      <a:r>
                        <a:rPr kumimoji="1" lang="en-US" altLang="ja-JP" sz="1050">
                          <a:solidFill>
                            <a:srgbClr val="0070C0"/>
                          </a:solidFill>
                        </a:rPr>
                        <a:t>QR</a:t>
                      </a:r>
                      <a:r>
                        <a:rPr kumimoji="1" lang="ja-JP" altLang="en-US" sz="1050">
                          <a:solidFill>
                            <a:srgbClr val="0070C0"/>
                          </a:solidFill>
                        </a:rPr>
                        <a:t>認証端末を設置する。</a:t>
                      </a:r>
                      <a:endParaRPr kumimoji="1" lang="en-US" altLang="ja-JP" sz="1050">
                        <a:solidFill>
                          <a:srgbClr val="0070C0"/>
                        </a:solidFill>
                      </a:endParaRPr>
                    </a:p>
                    <a:p>
                      <a:r>
                        <a:rPr kumimoji="1" lang="ja-JP" altLang="en-US" sz="1050">
                          <a:solidFill>
                            <a:srgbClr val="0070C0"/>
                          </a:solidFill>
                        </a:rPr>
                        <a:t>設置数は以下を想定。</a:t>
                      </a:r>
                      <a:endParaRPr kumimoji="1" lang="en-US" altLang="ja-JP" sz="1050">
                        <a:solidFill>
                          <a:srgbClr val="0070C0"/>
                        </a:solidFill>
                      </a:endParaRPr>
                    </a:p>
                    <a:p>
                      <a:r>
                        <a:rPr kumimoji="1" lang="ja-JP" altLang="en-US" sz="1050">
                          <a:solidFill>
                            <a:srgbClr val="0070C0"/>
                          </a:solidFill>
                        </a:rPr>
                        <a:t>〇〇交通（</a:t>
                      </a:r>
                      <a:r>
                        <a:rPr kumimoji="1" lang="en-US" altLang="ja-JP" sz="1050">
                          <a:solidFill>
                            <a:srgbClr val="0070C0"/>
                          </a:solidFill>
                        </a:rPr>
                        <a:t>XX</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バス（</a:t>
                      </a:r>
                      <a:r>
                        <a:rPr kumimoji="1" lang="en-US" altLang="ja-JP" sz="1050">
                          <a:solidFill>
                            <a:srgbClr val="0070C0"/>
                          </a:solidFill>
                        </a:rPr>
                        <a:t>YY</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号（オンデマンドバス）（</a:t>
                      </a:r>
                      <a:r>
                        <a:rPr kumimoji="1" lang="en-US" altLang="ja-JP" sz="1050">
                          <a:solidFill>
                            <a:srgbClr val="0070C0"/>
                          </a:solidFill>
                        </a:rPr>
                        <a:t>PP</a:t>
                      </a:r>
                      <a:r>
                        <a:rPr kumimoji="1" lang="ja-JP" altLang="en-US" sz="1050">
                          <a:solidFill>
                            <a:srgbClr val="0070C0"/>
                          </a:solidFill>
                        </a:rPr>
                        <a:t>台）</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43014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160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01929">
                <a:tc>
                  <a:txBody>
                    <a:body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985992937"/>
                  </a:ext>
                </a:extLst>
              </a:tr>
            </a:tbl>
          </a:graphicData>
        </a:graphic>
      </p:graphicFrame>
      <p:graphicFrame>
        <p:nvGraphicFramePr>
          <p:cNvPr id="33" name="表 32">
            <a:extLst>
              <a:ext uri="{FF2B5EF4-FFF2-40B4-BE49-F238E27FC236}">
                <a16:creationId xmlns:a16="http://schemas.microsoft.com/office/drawing/2014/main" id="{579C0925-57A0-3030-666F-7E61FE13005C}"/>
              </a:ext>
            </a:extLst>
          </p:cNvPr>
          <p:cNvGraphicFramePr>
            <a:graphicFrameLocks noGrp="1"/>
          </p:cNvGraphicFramePr>
          <p:nvPr>
            <p:extLst>
              <p:ext uri="{D42A27DB-BD31-4B8C-83A1-F6EECF244321}">
                <p14:modId xmlns:p14="http://schemas.microsoft.com/office/powerpoint/2010/main" val="212512707"/>
              </p:ext>
            </p:extLst>
          </p:nvPr>
        </p:nvGraphicFramePr>
        <p:xfrm>
          <a:off x="6285177"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4592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経路検索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の全モードを対象とした経路検索機能を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購入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で提供する企画乗車券を購入する機能。経路検索機能と連携し、経路検索結果から該当する企画乗車券の購入ページへ遷移でき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60103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決済機能（既存）</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を購入した際に、クレジットカードによる決済ができる機能。ユーザー登録及びクレジットカード登録は</a:t>
                      </a:r>
                      <a:r>
                        <a:rPr kumimoji="1" lang="en-US" altLang="ja-JP" sz="1050">
                          <a:solidFill>
                            <a:srgbClr val="0070C0"/>
                          </a:solidFill>
                        </a:rPr>
                        <a:t>SaaS</a:t>
                      </a:r>
                      <a:r>
                        <a:rPr kumimoji="1" lang="ja-JP" altLang="en-US" sz="1050">
                          <a:solidFill>
                            <a:srgbClr val="0070C0"/>
                          </a:solidFill>
                        </a:rPr>
                        <a:t>（</a:t>
                      </a:r>
                      <a:r>
                        <a:rPr kumimoji="1" lang="en-US" altLang="ja-JP" sz="1050">
                          <a:solidFill>
                            <a:srgbClr val="0070C0"/>
                          </a:solidFill>
                        </a:rPr>
                        <a:t>GMO</a:t>
                      </a:r>
                      <a:r>
                        <a:rPr kumimoji="1" lang="ja-JP" altLang="en-US" sz="1050">
                          <a:solidFill>
                            <a:srgbClr val="0070C0"/>
                          </a:solidFill>
                        </a:rPr>
                        <a:t>）を利用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84552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の予約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〇〇バス）の送迎依頼を予約できる機能。経路検索機能と連携し、経路検索結果を引き継いだ乗降地点の指定が可能。決済機能と連携し、事前に決済可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目検）</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目視確認で行い、交通事業者又はクーポン発行対象となる施設管理者が画面上の操作を行うことで消込む。</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ングルライド券の購入・認証</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3606418"/>
                  </a:ext>
                </a:extLst>
              </a:tr>
            </a:tbl>
          </a:graphicData>
        </a:graphic>
      </p:graphicFrame>
      <p:sp>
        <p:nvSpPr>
          <p:cNvPr id="35" name="テキスト ボックス 34">
            <a:extLst>
              <a:ext uri="{FF2B5EF4-FFF2-40B4-BE49-F238E27FC236}">
                <a16:creationId xmlns:a16="http://schemas.microsoft.com/office/drawing/2014/main" id="{031691BD-8701-682B-2568-3E02BCFA60E2}"/>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企画乗車券の販売や</a:t>
            </a:r>
            <a:r>
              <a:rPr kumimoji="0" lang="en-US" altLang="ja-JP" sz="1400" b="0" i="0" u="none" strike="noStrike" kern="0" cap="none" spc="0" normalizeH="0" baseline="0" noProof="0">
                <a:ln>
                  <a:noFill/>
                </a:ln>
                <a:solidFill>
                  <a:srgbClr val="FFFFFF"/>
                </a:solidFill>
                <a:effectLst/>
                <a:uLnTx/>
                <a:uFillTx/>
              </a:rPr>
              <a:t>QR</a:t>
            </a:r>
            <a:r>
              <a:rPr kumimoji="0" lang="ja-JP" altLang="en-US" sz="1400" b="0" i="0" u="none" strike="noStrike" kern="0" cap="none" spc="0" normalizeH="0" baseline="0" noProof="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36" name="テキスト ボックス 35">
            <a:extLst>
              <a:ext uri="{FF2B5EF4-FFF2-40B4-BE49-F238E27FC236}">
                <a16:creationId xmlns:a16="http://schemas.microsoft.com/office/drawing/2014/main" id="{7EE4361D-BD43-605B-F877-5947AB823C05}"/>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4332511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ja-JP" altLang="en-US" sz="1800">
                <a:solidFill>
                  <a:srgbClr val="0070C0"/>
                </a:solidFill>
                <a:latin typeface="BIZ UDPゴシック"/>
                <a:ea typeface="BIZ UDPゴシック"/>
              </a:rPr>
              <a:t>②デジタルパスの販売</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400">
                <a:solidFill>
                  <a:srgbClr val="0070C0"/>
                </a:solidFill>
                <a:latin typeface="BIZ UDPゴシック"/>
                <a:ea typeface="BIZ UDPゴシック"/>
              </a:rPr>
              <a:t>①で開発したアプリにおいて、エリア内の交通のフリー乗車券と商業施設のクーポンをセットにし他デジタルパスの販売を実施。</a:t>
            </a:r>
            <a:endParaRPr lang="en-US" altLang="ja-JP" sz="1400">
              <a:solidFill>
                <a:srgbClr val="0070C0"/>
              </a:solidFill>
              <a:latin typeface="BIZ UDPゴシック"/>
              <a:ea typeface="BIZ UDPゴシック"/>
            </a:endParaRPr>
          </a:p>
        </p:txBody>
      </p:sp>
      <p:graphicFrame>
        <p:nvGraphicFramePr>
          <p:cNvPr id="32" name="表 31">
            <a:extLst>
              <a:ext uri="{FF2B5EF4-FFF2-40B4-BE49-F238E27FC236}">
                <a16:creationId xmlns:a16="http://schemas.microsoft.com/office/drawing/2014/main" id="{3B80BC24-01AA-213D-76FD-38F653AD9B7C}"/>
              </a:ext>
            </a:extLst>
          </p:cNvPr>
          <p:cNvGraphicFramePr>
            <a:graphicFrameLocks noGrp="1"/>
          </p:cNvGraphicFramePr>
          <p:nvPr>
            <p:extLst>
              <p:ext uri="{D42A27DB-BD31-4B8C-83A1-F6EECF244321}">
                <p14:modId xmlns:p14="http://schemas.microsoft.com/office/powerpoint/2010/main" val="998204283"/>
              </p:ext>
            </p:extLst>
          </p:nvPr>
        </p:nvGraphicFramePr>
        <p:xfrm>
          <a:off x="537268"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23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39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a:solidFill>
                            <a:srgbClr val="0070C0"/>
                          </a:solidFill>
                        </a:rPr>
                        <a:t>MaaS</a:t>
                      </a:r>
                      <a:r>
                        <a:rPr kumimoji="1" lang="ja-JP" altLang="en-US" sz="1050">
                          <a:solidFill>
                            <a:srgbClr val="0070C0"/>
                          </a:solidFill>
                        </a:rPr>
                        <a:t>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統合した</a:t>
                      </a:r>
                      <a:r>
                        <a:rPr kumimoji="1" lang="en-US" altLang="ja-JP" sz="1050" err="1">
                          <a:solidFill>
                            <a:srgbClr val="0070C0"/>
                          </a:solidFill>
                        </a:rPr>
                        <a:t>MaaS</a:t>
                      </a:r>
                      <a:r>
                        <a:rPr kumimoji="1" lang="ja-JP" altLang="en-US" sz="1050">
                          <a:solidFill>
                            <a:srgbClr val="0070C0"/>
                          </a:solidFill>
                        </a:rPr>
                        <a:t>アプリを開発し、一般ユーザーに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1929">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の交通サービスをシームレスに統合した企画乗車券造成し、販売を行う（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88112">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エンドコンテンツと連携した企画乗車券の造成・販売</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〇〇施設や宿泊施設のクーポンをセットにした企画乗車券を造成・販売する（目標：〇種）。</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1244317">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50">
                          <a:solidFill>
                            <a:srgbClr val="0070C0"/>
                          </a:solidFill>
                        </a:rPr>
                        <a:t>QR</a:t>
                      </a:r>
                      <a:r>
                        <a:rPr kumimoji="1" lang="ja-JP" altLang="en-US" sz="1050">
                          <a:solidFill>
                            <a:srgbClr val="0070C0"/>
                          </a:solidFill>
                        </a:rPr>
                        <a:t>チケッティングの開発・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〇〇</a:t>
                      </a:r>
                      <a:r>
                        <a:rPr kumimoji="1" lang="en-US" altLang="ja-JP" sz="1050" err="1">
                          <a:solidFill>
                            <a:srgbClr val="0070C0"/>
                          </a:solidFill>
                        </a:rPr>
                        <a:t>MaaS</a:t>
                      </a:r>
                      <a:r>
                        <a:rPr kumimoji="1" lang="ja-JP" altLang="en-US" sz="1050">
                          <a:solidFill>
                            <a:srgbClr val="0070C0"/>
                          </a:solidFill>
                        </a:rPr>
                        <a:t>で販売するチケットの認証を</a:t>
                      </a:r>
                      <a:r>
                        <a:rPr kumimoji="1" lang="en-US" altLang="ja-JP" sz="1050">
                          <a:solidFill>
                            <a:srgbClr val="0070C0"/>
                          </a:solidFill>
                        </a:rPr>
                        <a:t>QR</a:t>
                      </a:r>
                      <a:r>
                        <a:rPr kumimoji="1" lang="ja-JP" altLang="en-US" sz="1050">
                          <a:solidFill>
                            <a:srgbClr val="0070C0"/>
                          </a:solidFill>
                        </a:rPr>
                        <a:t>により行う（全種）。対象エリアの全路線に及びオンデマンド交通に</a:t>
                      </a:r>
                      <a:r>
                        <a:rPr kumimoji="1" lang="en-US" altLang="ja-JP" sz="1050">
                          <a:solidFill>
                            <a:srgbClr val="0070C0"/>
                          </a:solidFill>
                        </a:rPr>
                        <a:t>QR</a:t>
                      </a:r>
                      <a:r>
                        <a:rPr kumimoji="1" lang="ja-JP" altLang="en-US" sz="1050">
                          <a:solidFill>
                            <a:srgbClr val="0070C0"/>
                          </a:solidFill>
                        </a:rPr>
                        <a:t>認証端末を設置する。</a:t>
                      </a:r>
                      <a:endParaRPr kumimoji="1" lang="en-US" altLang="ja-JP" sz="1050">
                        <a:solidFill>
                          <a:srgbClr val="0070C0"/>
                        </a:solidFill>
                      </a:endParaRPr>
                    </a:p>
                    <a:p>
                      <a:r>
                        <a:rPr kumimoji="1" lang="ja-JP" altLang="en-US" sz="1050">
                          <a:solidFill>
                            <a:srgbClr val="0070C0"/>
                          </a:solidFill>
                        </a:rPr>
                        <a:t>設置数は以下を想定。</a:t>
                      </a:r>
                      <a:endParaRPr kumimoji="1" lang="en-US" altLang="ja-JP" sz="1050">
                        <a:solidFill>
                          <a:srgbClr val="0070C0"/>
                        </a:solidFill>
                      </a:endParaRPr>
                    </a:p>
                    <a:p>
                      <a:r>
                        <a:rPr kumimoji="1" lang="ja-JP" altLang="en-US" sz="1050">
                          <a:solidFill>
                            <a:srgbClr val="0070C0"/>
                          </a:solidFill>
                        </a:rPr>
                        <a:t>〇〇交通（</a:t>
                      </a:r>
                      <a:r>
                        <a:rPr kumimoji="1" lang="en-US" altLang="ja-JP" sz="1050">
                          <a:solidFill>
                            <a:srgbClr val="0070C0"/>
                          </a:solidFill>
                        </a:rPr>
                        <a:t>XX</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バス（</a:t>
                      </a:r>
                      <a:r>
                        <a:rPr kumimoji="1" lang="en-US" altLang="ja-JP" sz="1050">
                          <a:solidFill>
                            <a:srgbClr val="0070C0"/>
                          </a:solidFill>
                        </a:rPr>
                        <a:t>YY</a:t>
                      </a:r>
                      <a:r>
                        <a:rPr kumimoji="1" lang="ja-JP" altLang="en-US" sz="1050">
                          <a:solidFill>
                            <a:srgbClr val="0070C0"/>
                          </a:solidFill>
                        </a:rPr>
                        <a:t>台）</a:t>
                      </a:r>
                      <a:endParaRPr kumimoji="1" lang="en-US" altLang="ja-JP" sz="1050">
                        <a:solidFill>
                          <a:srgbClr val="0070C0"/>
                        </a:solidFill>
                      </a:endParaRPr>
                    </a:p>
                    <a:p>
                      <a:r>
                        <a:rPr kumimoji="1" lang="ja-JP" altLang="en-US" sz="1050">
                          <a:solidFill>
                            <a:srgbClr val="0070C0"/>
                          </a:solidFill>
                        </a:rPr>
                        <a:t>□□号（オンデマンドバス）（</a:t>
                      </a:r>
                      <a:r>
                        <a:rPr kumimoji="1" lang="en-US" altLang="ja-JP" sz="1050">
                          <a:solidFill>
                            <a:srgbClr val="0070C0"/>
                          </a:solidFill>
                        </a:rPr>
                        <a:t>PP</a:t>
                      </a:r>
                      <a:r>
                        <a:rPr kumimoji="1" lang="ja-JP" altLang="en-US" sz="1050">
                          <a:solidFill>
                            <a:srgbClr val="0070C0"/>
                          </a:solidFill>
                        </a:rPr>
                        <a:t>台）</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43014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160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01929">
                <a:tc>
                  <a:txBody>
                    <a:body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ap="flat" cmpd="sng" algn="ctr">
                      <a:solidFill>
                        <a:srgbClr val="000000"/>
                      </a:solidFill>
                      <a:prstDash val="solid"/>
                      <a:round/>
                      <a:headEnd type="none" w="med" len="med"/>
                      <a:tailEnd type="none" w="med" len="med"/>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985992937"/>
                  </a:ext>
                </a:extLst>
              </a:tr>
            </a:tbl>
          </a:graphicData>
        </a:graphic>
      </p:graphicFrame>
      <p:graphicFrame>
        <p:nvGraphicFramePr>
          <p:cNvPr id="33" name="表 32">
            <a:extLst>
              <a:ext uri="{FF2B5EF4-FFF2-40B4-BE49-F238E27FC236}">
                <a16:creationId xmlns:a16="http://schemas.microsoft.com/office/drawing/2014/main" id="{579C0925-57A0-3030-666F-7E61FE13005C}"/>
              </a:ext>
            </a:extLst>
          </p:cNvPr>
          <p:cNvGraphicFramePr>
            <a:graphicFrameLocks noGrp="1"/>
          </p:cNvGraphicFramePr>
          <p:nvPr/>
        </p:nvGraphicFramePr>
        <p:xfrm>
          <a:off x="6285177" y="2065032"/>
          <a:ext cx="5390886" cy="4435116"/>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4592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経路検索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の全モードを対象とした経路検索機能を提供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の購入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地域内で提供する企画乗車券を購入する機能。経路検索機能と連携し、経路検索結果から該当する企画乗車券の購入ページへ遷移でき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60103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決済機能（既存）</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企画乗車券を購入した際に、クレジットカードによる決済ができる機能。ユーザー登録及びクレジットカード登録は</a:t>
                      </a:r>
                      <a:r>
                        <a:rPr kumimoji="1" lang="en-US" altLang="ja-JP" sz="1050">
                          <a:solidFill>
                            <a:srgbClr val="0070C0"/>
                          </a:solidFill>
                        </a:rPr>
                        <a:t>SaaS</a:t>
                      </a:r>
                      <a:r>
                        <a:rPr kumimoji="1" lang="ja-JP" altLang="en-US" sz="1050">
                          <a:solidFill>
                            <a:srgbClr val="0070C0"/>
                          </a:solidFill>
                        </a:rPr>
                        <a:t>（</a:t>
                      </a:r>
                      <a:r>
                        <a:rPr kumimoji="1" lang="en-US" altLang="ja-JP" sz="1050">
                          <a:solidFill>
                            <a:srgbClr val="0070C0"/>
                          </a:solidFill>
                        </a:rPr>
                        <a:t>GMO</a:t>
                      </a:r>
                      <a:r>
                        <a:rPr kumimoji="1" lang="ja-JP" altLang="en-US" sz="1050">
                          <a:solidFill>
                            <a:srgbClr val="0070C0"/>
                          </a:solidFill>
                        </a:rPr>
                        <a:t>）を利用す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84552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の予約機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en-US" altLang="ja-JP" sz="1050">
                          <a:solidFill>
                            <a:srgbClr val="0070C0"/>
                          </a:solidFill>
                        </a:rPr>
                        <a:t>AI</a:t>
                      </a:r>
                      <a:r>
                        <a:rPr kumimoji="1" lang="ja-JP" altLang="en-US" sz="1050">
                          <a:solidFill>
                            <a:srgbClr val="0070C0"/>
                          </a:solidFill>
                        </a:rPr>
                        <a:t>オンデマンド交通（〇〇バス）の送迎依頼を予約できる機能。経路検索機能と連携し、経路検索結果を引き継いだ乗降地点の指定が可能。決済機能と連携し、事前に決済可能。</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目検）</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目視確認で行い、交通事業者又はクーポン発行対象となる施設管理者が画面上の操作を行うことで消込む。</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購入した企画乗車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r h="52614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ングルライド券の購入・認証</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113606418"/>
                  </a:ext>
                </a:extLst>
              </a:tr>
            </a:tbl>
          </a:graphicData>
        </a:graphic>
      </p:graphicFrame>
      <p:sp>
        <p:nvSpPr>
          <p:cNvPr id="3" name="テキスト ボックス 2">
            <a:extLst>
              <a:ext uri="{FF2B5EF4-FFF2-40B4-BE49-F238E27FC236}">
                <a16:creationId xmlns:a16="http://schemas.microsoft.com/office/drawing/2014/main" id="{FC95606A-CF49-B0E9-10BB-C733F70D7D75}"/>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企画乗車券の販売や</a:t>
            </a:r>
            <a:r>
              <a:rPr kumimoji="0" lang="en-US" altLang="ja-JP" sz="1400" b="0" i="0" u="none" strike="noStrike" kern="0" cap="none" spc="0" normalizeH="0" baseline="0" noProof="0">
                <a:ln>
                  <a:noFill/>
                </a:ln>
                <a:solidFill>
                  <a:srgbClr val="FFFFFF"/>
                </a:solidFill>
                <a:effectLst/>
                <a:uLnTx/>
                <a:uFillTx/>
              </a:rPr>
              <a:t>QR</a:t>
            </a:r>
            <a:r>
              <a:rPr kumimoji="0" lang="ja-JP" altLang="en-US" sz="1400" b="0" i="0" u="none" strike="noStrike" kern="0" cap="none" spc="0" normalizeH="0" baseline="0" noProof="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4" name="テキスト ボックス 3">
            <a:extLst>
              <a:ext uri="{FF2B5EF4-FFF2-40B4-BE49-F238E27FC236}">
                <a16:creationId xmlns:a16="http://schemas.microsoft.com/office/drawing/2014/main" id="{690A6CCB-2507-E699-A307-5C4989693FDE}"/>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4369773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E6B03505-EDB8-244C-E39B-4DFF4A9A0927}"/>
              </a:ext>
            </a:extLst>
          </p:cNvPr>
          <p:cNvGraphicFramePr>
            <a:graphicFrameLocks noGrp="1"/>
          </p:cNvGraphicFramePr>
          <p:nvPr>
            <p:extLst>
              <p:ext uri="{D42A27DB-BD31-4B8C-83A1-F6EECF244321}">
                <p14:modId xmlns:p14="http://schemas.microsoft.com/office/powerpoint/2010/main" val="2650462513"/>
              </p:ext>
            </p:extLst>
          </p:nvPr>
        </p:nvGraphicFramePr>
        <p:xfrm>
          <a:off x="6227652" y="1934384"/>
          <a:ext cx="5390886" cy="4405812"/>
        </p:xfrm>
        <a:graphic>
          <a:graphicData uri="http://schemas.openxmlformats.org/drawingml/2006/table">
            <a:tbl>
              <a:tblPr firstRow="1" firstCol="1" bandRow="1">
                <a:tableStyleId>{5940675A-B579-460E-94D1-54222C63F5DA}</a:tableStyleId>
              </a:tblPr>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tc>
                  <a:txBody>
                    <a:body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extLst>
                  <a:ext uri="{0D108BD9-81ED-4DB2-BD59-A6C34878D82A}">
                    <a16:rowId xmlns:a16="http://schemas.microsoft.com/office/drawing/2014/main" val="1526276123"/>
                  </a:ext>
                </a:extLst>
              </a:tr>
              <a:tr h="445920">
                <a:tc>
                  <a:txBody>
                    <a:bodyPr/>
                    <a:lstStyle/>
                    <a:p>
                      <a:r>
                        <a:rPr kumimoji="1" lang="ja-JP" altLang="en-US" sz="1050">
                          <a:solidFill>
                            <a:srgbClr val="0070C0"/>
                          </a:solidFill>
                        </a:rPr>
                        <a:t>サブスク機能</a:t>
                      </a:r>
                    </a:p>
                  </a:txBody>
                  <a:tcPr marL="90000" marR="90000" marT="46800" marB="46800" anchor="ctr"/>
                </a:tc>
                <a:tc>
                  <a:txBody>
                    <a:bodyPr/>
                    <a:lstStyle/>
                    <a:p>
                      <a:r>
                        <a:rPr kumimoji="1" lang="ja-JP" altLang="en-US" sz="1050">
                          <a:solidFill>
                            <a:srgbClr val="0070C0"/>
                          </a:solidFill>
                        </a:rPr>
                        <a:t>左記スコープに記載の交通モードを一定額で乗車を可能とする機能。</a:t>
                      </a:r>
                    </a:p>
                  </a:txBody>
                  <a:tcPr marL="90000" marR="90000" marT="46800" marB="46800" anchor="ctr"/>
                </a:tc>
                <a:extLst>
                  <a:ext uri="{0D108BD9-81ED-4DB2-BD59-A6C34878D82A}">
                    <a16:rowId xmlns:a16="http://schemas.microsoft.com/office/drawing/2014/main" val="1596975374"/>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チケッティング機能（</a:t>
                      </a:r>
                      <a:r>
                        <a:rPr kumimoji="1" lang="en-US" altLang="ja-JP" sz="1050">
                          <a:solidFill>
                            <a:srgbClr val="0070C0"/>
                          </a:solidFill>
                        </a:rPr>
                        <a:t>QR</a:t>
                      </a:r>
                      <a:r>
                        <a:rPr kumimoji="1" lang="ja-JP" altLang="en-US" sz="1050">
                          <a:solidFill>
                            <a:srgbClr val="0070C0"/>
                          </a:solidFill>
                        </a:rPr>
                        <a:t>）</a:t>
                      </a:r>
                      <a:endParaRPr kumimoji="1" lang="en-US" altLang="ja-JP" sz="1050">
                        <a:solidFill>
                          <a:srgbClr val="0070C0"/>
                        </a:solidFill>
                      </a:endParaRP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前ページ①で開発）</a:t>
                      </a:r>
                      <a:endParaRPr kumimoji="1" lang="en-US" altLang="ja-JP" sz="1050">
                        <a:solidFill>
                          <a:srgbClr val="0070C0"/>
                        </a:solidFill>
                      </a:endParaRPr>
                    </a:p>
                  </a:txBody>
                  <a:tcPr marL="90000" marR="90000" marT="46800" marB="46800" anchor="ct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a:solidFill>
                            <a:srgbClr val="0070C0"/>
                          </a:solidFill>
                        </a:rPr>
                        <a:t>購入したサブスク券の提示、認証、消込を行う機能。認証は</a:t>
                      </a:r>
                      <a:r>
                        <a:rPr kumimoji="1" lang="en-US" altLang="ja-JP" sz="1050">
                          <a:solidFill>
                            <a:srgbClr val="0070C0"/>
                          </a:solidFill>
                        </a:rPr>
                        <a:t>QR</a:t>
                      </a:r>
                      <a:r>
                        <a:rPr kumimoji="1" lang="ja-JP" altLang="en-US" sz="1050">
                          <a:solidFill>
                            <a:srgbClr val="0070C0"/>
                          </a:solidFill>
                        </a:rPr>
                        <a:t>認証システムで行い、消込はシステム上自動で処理される。</a:t>
                      </a:r>
                    </a:p>
                  </a:txBody>
                  <a:tcPr marL="90000" marR="90000" marT="46800" marB="46800" anchor="ctr"/>
                </a:tc>
                <a:extLst>
                  <a:ext uri="{0D108BD9-81ED-4DB2-BD59-A6C34878D82A}">
                    <a16:rowId xmlns:a16="http://schemas.microsoft.com/office/drawing/2014/main" val="3479908594"/>
                  </a:ext>
                </a:extLst>
              </a:tr>
              <a:tr h="619248">
                <a:tc>
                  <a:txBody>
                    <a:bodyPr/>
                    <a:lstStyle/>
                    <a:p>
                      <a:r>
                        <a:rPr kumimoji="1" lang="ja-JP" altLang="en-US" sz="1050">
                          <a:solidFill>
                            <a:srgbClr val="0070C0"/>
                          </a:solidFill>
                        </a:rPr>
                        <a:t>マイナンバーカード連携機能</a:t>
                      </a:r>
                    </a:p>
                  </a:txBody>
                  <a:tcPr marL="90000" marR="90000" marT="46800" marB="46800" anchor="ctr"/>
                </a:tc>
                <a:tc>
                  <a:txBody>
                    <a:bodyPr/>
                    <a:lstStyle/>
                    <a:p>
                      <a:r>
                        <a:rPr kumimoji="1" lang="ja-JP" altLang="en-US" sz="1050">
                          <a:solidFill>
                            <a:srgbClr val="0070C0"/>
                          </a:solidFill>
                        </a:rPr>
                        <a:t>サブスク券を購入する際に、</a:t>
                      </a:r>
                      <a:r>
                        <a:rPr kumimoji="1" lang="en-US" altLang="ja-JP" sz="1050" err="1">
                          <a:solidFill>
                            <a:srgbClr val="0070C0"/>
                          </a:solidFill>
                        </a:rPr>
                        <a:t>MaaS</a:t>
                      </a:r>
                      <a:r>
                        <a:rPr kumimoji="1" lang="ja-JP" altLang="en-US" sz="1050">
                          <a:solidFill>
                            <a:srgbClr val="0070C0"/>
                          </a:solidFill>
                        </a:rPr>
                        <a:t>アプリ上に紐付けたマイナンバカードの情報より、市民割引を適用する機能。</a:t>
                      </a:r>
                    </a:p>
                  </a:txBody>
                  <a:tcPr marL="90000" marR="90000" marT="46800" marB="46800" anchor="ctr"/>
                </a:tc>
                <a:extLst>
                  <a:ext uri="{0D108BD9-81ED-4DB2-BD59-A6C34878D82A}">
                    <a16:rowId xmlns:a16="http://schemas.microsoft.com/office/drawing/2014/main" val="213378181"/>
                  </a:ext>
                </a:extLst>
              </a:tr>
              <a:tr h="845525">
                <a:tc>
                  <a:txBody>
                    <a:bodyPr/>
                    <a:lstStyle/>
                    <a:p>
                      <a:r>
                        <a:rPr kumimoji="1" lang="en-US" altLang="ja-JP" sz="1050">
                          <a:solidFill>
                            <a:srgbClr val="0070C0"/>
                          </a:solidFill>
                        </a:rPr>
                        <a:t>AI</a:t>
                      </a:r>
                      <a:r>
                        <a:rPr kumimoji="1" lang="ja-JP" altLang="en-US" sz="1050">
                          <a:solidFill>
                            <a:srgbClr val="0070C0"/>
                          </a:solidFill>
                        </a:rPr>
                        <a:t>オンデマンド交通の予約機能</a:t>
                      </a:r>
                      <a:endParaRPr kumimoji="1" lang="en-US" altLang="ja-JP" sz="1050">
                        <a:solidFill>
                          <a:srgbClr val="0070C0"/>
                        </a:solidFill>
                      </a:endParaRPr>
                    </a:p>
                    <a:p>
                      <a:r>
                        <a:rPr kumimoji="1" lang="ja-JP" altLang="en-US" sz="1050">
                          <a:solidFill>
                            <a:srgbClr val="0070C0"/>
                          </a:solidFill>
                        </a:rPr>
                        <a:t>（前ページ①で開発）</a:t>
                      </a:r>
                    </a:p>
                  </a:txBody>
                  <a:tcPr marL="90000" marR="90000" marT="46800" marB="46800" anchor="ctr"/>
                </a:tc>
                <a:tc>
                  <a:txBody>
                    <a:bodyPr/>
                    <a:lstStyle/>
                    <a:p>
                      <a:r>
                        <a:rPr kumimoji="1" lang="en-US" altLang="ja-JP" sz="1050">
                          <a:solidFill>
                            <a:srgbClr val="0070C0"/>
                          </a:solidFill>
                        </a:rPr>
                        <a:t>AI</a:t>
                      </a:r>
                      <a:r>
                        <a:rPr kumimoji="1" lang="ja-JP" altLang="en-US" sz="1050">
                          <a:solidFill>
                            <a:srgbClr val="0070C0"/>
                          </a:solidFill>
                        </a:rPr>
                        <a:t>オンデマンド交通（〇〇バス）の送迎依頼を予約できる機能。サブスク機能と連携し、事前予約可能。</a:t>
                      </a:r>
                    </a:p>
                  </a:txBody>
                  <a:tcPr marL="90000" marR="90000" marT="46800" marB="46800" anchor="ctr"/>
                </a:tc>
                <a:extLst>
                  <a:ext uri="{0D108BD9-81ED-4DB2-BD59-A6C34878D82A}">
                    <a16:rowId xmlns:a16="http://schemas.microsoft.com/office/drawing/2014/main" val="3204529771"/>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ェアサイクル予約機能</a:t>
                      </a: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シェアサイクル（○○会社）の利用予約ができる機能。サブスク機能と連携し、事前予約可能。</a:t>
                      </a:r>
                    </a:p>
                  </a:txBody>
                  <a:tcPr marL="90000" marR="90000" marT="46800" marB="46800" anchor="ctr"/>
                </a:tc>
                <a:extLst>
                  <a:ext uri="{0D108BD9-81ED-4DB2-BD59-A6C34878D82A}">
                    <a16:rowId xmlns:a16="http://schemas.microsoft.com/office/drawing/2014/main" val="3146275505"/>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569301698"/>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4113606418"/>
                  </a:ext>
                </a:extLst>
              </a:tr>
            </a:tbl>
          </a:graphicData>
        </a:graphic>
      </p:graphicFrame>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11" name="テキスト プレースホルダー 10">
            <a:extLst>
              <a:ext uri="{FF2B5EF4-FFF2-40B4-BE49-F238E27FC236}">
                <a16:creationId xmlns:a16="http://schemas.microsoft.com/office/drawing/2014/main" id="{962E5203-2DFF-C1A0-2F9F-F26700D05F5E}"/>
              </a:ext>
            </a:extLst>
          </p:cNvPr>
          <p:cNvSpPr txBox="1">
            <a:spLocks noGrp="1"/>
          </p:cNvSpPr>
          <p:nvPr>
            <p:ph type="body" sz="quarter" idx="4294967295"/>
          </p:nvPr>
        </p:nvSpPr>
        <p:spPr>
          <a:xfrm>
            <a:off x="300038" y="1135063"/>
            <a:ext cx="11376025"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ja-JP" altLang="en-US" sz="1800">
                <a:solidFill>
                  <a:srgbClr val="0070C0"/>
                </a:solidFill>
                <a:latin typeface="BIZ UDPゴシック"/>
                <a:ea typeface="BIZ UDPゴシック"/>
              </a:rPr>
              <a:t>③サブスクサービスの提供</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26" name="テキスト ボックス 25">
            <a:extLst>
              <a:ext uri="{FF2B5EF4-FFF2-40B4-BE49-F238E27FC236}">
                <a16:creationId xmlns:a16="http://schemas.microsoft.com/office/drawing/2014/main" id="{E79CF6B0-5AD5-B0A6-5A82-B2F5A3B16A53}"/>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400">
                <a:solidFill>
                  <a:srgbClr val="0070C0"/>
                </a:solidFill>
                <a:latin typeface="BIZ UDPゴシック"/>
                <a:ea typeface="BIZ UDPゴシック"/>
              </a:rPr>
              <a:t>当該エリア内で主にマイカー通勤者に対して公共交通利用への転換を促すため、サブスクサービスの提供を実施。</a:t>
            </a:r>
            <a:endParaRPr lang="en-US" altLang="ja-JP" sz="1400">
              <a:solidFill>
                <a:srgbClr val="0070C0"/>
              </a:solidFill>
              <a:latin typeface="BIZ UDPゴシック"/>
              <a:ea typeface="BIZ UDPゴシック"/>
            </a:endParaRPr>
          </a:p>
        </p:txBody>
      </p:sp>
      <p:graphicFrame>
        <p:nvGraphicFramePr>
          <p:cNvPr id="3" name="表 2">
            <a:extLst>
              <a:ext uri="{FF2B5EF4-FFF2-40B4-BE49-F238E27FC236}">
                <a16:creationId xmlns:a16="http://schemas.microsoft.com/office/drawing/2014/main" id="{4B9CF8F6-B231-7F04-870D-14B3245AE835}"/>
              </a:ext>
            </a:extLst>
          </p:cNvPr>
          <p:cNvGraphicFramePr>
            <a:graphicFrameLocks noGrp="1"/>
          </p:cNvGraphicFramePr>
          <p:nvPr>
            <p:extLst>
              <p:ext uri="{D42A27DB-BD31-4B8C-83A1-F6EECF244321}">
                <p14:modId xmlns:p14="http://schemas.microsoft.com/office/powerpoint/2010/main" val="86135894"/>
              </p:ext>
            </p:extLst>
          </p:nvPr>
        </p:nvGraphicFramePr>
        <p:xfrm>
          <a:off x="453017" y="1934384"/>
          <a:ext cx="5390886" cy="3067777"/>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39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60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サブスクチケットの造成・提供</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対象エリア内の鉄道、路線バス、</a:t>
                      </a:r>
                      <a:r>
                        <a:rPr kumimoji="1" lang="en-US" altLang="ja-JP" sz="1050">
                          <a:solidFill>
                            <a:srgbClr val="0070C0"/>
                          </a:solidFill>
                        </a:rPr>
                        <a:t>AI</a:t>
                      </a:r>
                      <a:r>
                        <a:rPr kumimoji="1" lang="ja-JP" altLang="en-US" sz="1050">
                          <a:solidFill>
                            <a:srgbClr val="0070C0"/>
                          </a:solidFill>
                        </a:rPr>
                        <a:t>オンデマンド交通、シェアサイクルの行って期間乗り放題可能とするサブスクチケットを造成し、販売を行う。（</a:t>
                      </a:r>
                      <a:r>
                        <a:rPr kumimoji="1" lang="en-US" altLang="ja-JP" sz="1050">
                          <a:solidFill>
                            <a:srgbClr val="0070C0"/>
                          </a:solidFill>
                        </a:rPr>
                        <a:t>1</a:t>
                      </a:r>
                      <a:r>
                        <a:rPr kumimoji="1" lang="ja-JP" altLang="en-US" sz="1050">
                          <a:solidFill>
                            <a:srgbClr val="0070C0"/>
                          </a:solidFill>
                        </a:rPr>
                        <a:t>ヶ月券の</a:t>
                      </a:r>
                      <a:r>
                        <a:rPr kumimoji="1" lang="en-US" altLang="ja-JP" sz="1050">
                          <a:solidFill>
                            <a:srgbClr val="0070C0"/>
                          </a:solidFill>
                        </a:rPr>
                        <a:t>1</a:t>
                      </a:r>
                      <a:r>
                        <a:rPr kumimoji="1" lang="ja-JP" altLang="en-US" sz="1050">
                          <a:solidFill>
                            <a:srgbClr val="0070C0"/>
                          </a:solidFill>
                        </a:rPr>
                        <a:t>種類）</a:t>
                      </a:r>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21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マイナンバーカードとの連携</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サブスクチケットを市民割引で提供するため、</a:t>
                      </a:r>
                      <a:r>
                        <a:rPr kumimoji="1" lang="en-US" altLang="ja-JP" sz="1050" err="1">
                          <a:solidFill>
                            <a:srgbClr val="0070C0"/>
                          </a:solidFill>
                        </a:rPr>
                        <a:t>MaaS</a:t>
                      </a:r>
                      <a:r>
                        <a:rPr kumimoji="1" lang="ja-JP" altLang="en-US" sz="1050">
                          <a:solidFill>
                            <a:srgbClr val="0070C0"/>
                          </a:solidFill>
                        </a:rPr>
                        <a:t>アプリ上でマイナンバーカードとの連携を行う。</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322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実証運行</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実証期間中に</a:t>
                      </a:r>
                      <a:r>
                        <a:rPr kumimoji="1" lang="en-US" altLang="ja-JP" sz="1050">
                          <a:solidFill>
                            <a:srgbClr val="0070C0"/>
                          </a:solidFill>
                        </a:rPr>
                        <a:t>1</a:t>
                      </a:r>
                      <a:r>
                        <a:rPr kumimoji="1" lang="ja-JP" altLang="en-US" sz="1050">
                          <a:solidFill>
                            <a:srgbClr val="0070C0"/>
                          </a:solidFill>
                        </a:rPr>
                        <a:t>ヶ月のサブスクチケットを販売する。</a:t>
                      </a:r>
                      <a:endParaRPr kumimoji="1" lang="en-US" altLang="ja-JP" sz="1050">
                        <a:solidFill>
                          <a:srgbClr val="0070C0"/>
                        </a:solidFill>
                      </a:endParaRPr>
                    </a:p>
                    <a:p>
                      <a:r>
                        <a:rPr kumimoji="1" lang="ja-JP" altLang="en-US" sz="1050">
                          <a:solidFill>
                            <a:srgbClr val="0070C0"/>
                          </a:solidFill>
                        </a:rPr>
                        <a:t>モニターは事前に</a:t>
                      </a:r>
                      <a:r>
                        <a:rPr kumimoji="1" lang="en-US" altLang="ja-JP" sz="1050">
                          <a:solidFill>
                            <a:srgbClr val="0070C0"/>
                          </a:solidFill>
                        </a:rPr>
                        <a:t>WEB</a:t>
                      </a:r>
                      <a:r>
                        <a:rPr kumimoji="1" lang="ja-JP" altLang="en-US" sz="1050">
                          <a:solidFill>
                            <a:srgbClr val="0070C0"/>
                          </a:solidFill>
                        </a:rPr>
                        <a:t>広告で募集。</a:t>
                      </a:r>
                      <a:endParaRPr kumimoji="1" lang="en-US" altLang="ja-JP" sz="1050">
                        <a:solidFill>
                          <a:srgbClr val="0070C0"/>
                        </a:solidFill>
                      </a:endParaRPr>
                    </a:p>
                    <a:p>
                      <a:r>
                        <a:rPr kumimoji="1" lang="ja-JP" altLang="en-US" sz="1050">
                          <a:solidFill>
                            <a:srgbClr val="0070C0"/>
                          </a:solidFill>
                        </a:rPr>
                        <a:t>実証期間４ヶ月（</a:t>
                      </a:r>
                      <a:r>
                        <a:rPr kumimoji="1" lang="en-US" altLang="ja-JP" sz="1050">
                          <a:solidFill>
                            <a:srgbClr val="0070C0"/>
                          </a:solidFill>
                        </a:rPr>
                        <a:t>10~1</a:t>
                      </a:r>
                      <a:r>
                        <a:rPr kumimoji="1" lang="ja-JP" altLang="en-US" sz="1050">
                          <a:solidFill>
                            <a:srgbClr val="0070C0"/>
                          </a:solidFill>
                        </a:rPr>
                        <a:t>月実証予定）</a:t>
                      </a:r>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36698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32143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0246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bl>
          </a:graphicData>
        </a:graphic>
      </p:graphicFrame>
      <p:sp>
        <p:nvSpPr>
          <p:cNvPr id="6" name="テキスト ボックス 5">
            <a:extLst>
              <a:ext uri="{FF2B5EF4-FFF2-40B4-BE49-F238E27FC236}">
                <a16:creationId xmlns:a16="http://schemas.microsoft.com/office/drawing/2014/main" id="{9E2DAF2E-472C-510F-05DE-7518ACBD26E9}"/>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企画乗車券の販売や</a:t>
            </a:r>
            <a:r>
              <a:rPr kumimoji="0" lang="en-US" altLang="ja-JP" sz="1400" b="0" i="0" u="none" strike="noStrike" kern="0" cap="none" spc="0" normalizeH="0" baseline="0" noProof="0">
                <a:ln>
                  <a:noFill/>
                </a:ln>
                <a:solidFill>
                  <a:srgbClr val="FFFFFF"/>
                </a:solidFill>
                <a:effectLst/>
                <a:uLnTx/>
                <a:uFillTx/>
              </a:rPr>
              <a:t>QR</a:t>
            </a:r>
            <a:r>
              <a:rPr kumimoji="0" lang="ja-JP" altLang="en-US" sz="1400" b="0" i="0" u="none" strike="noStrike" kern="0" cap="none" spc="0" normalizeH="0" baseline="0" noProof="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7" name="テキスト ボックス 6">
            <a:extLst>
              <a:ext uri="{FF2B5EF4-FFF2-40B4-BE49-F238E27FC236}">
                <a16:creationId xmlns:a16="http://schemas.microsoft.com/office/drawing/2014/main" id="{5828CE01-E065-D101-86CE-9AC102FC5CE2}"/>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8088147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a:t>
            </a:r>
            <a:r>
              <a:rPr lang="ja-JP" altLang="en-US"/>
              <a:t>プロジェクト実施エリア</a:t>
            </a:r>
          </a:p>
        </p:txBody>
      </p:sp>
      <p:pic>
        <p:nvPicPr>
          <p:cNvPr id="4" name="図 3" descr="グラフ&#10;&#10;自動的に生成された説明">
            <a:extLst>
              <a:ext uri="{FF2B5EF4-FFF2-40B4-BE49-F238E27FC236}">
                <a16:creationId xmlns:a16="http://schemas.microsoft.com/office/drawing/2014/main" id="{45F9E099-4110-7BC2-05FA-9F23A7A3343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62159" y="1505154"/>
            <a:ext cx="7505723" cy="4946065"/>
          </a:xfrm>
          <a:prstGeom prst="rect">
            <a:avLst/>
          </a:prstGeom>
        </p:spPr>
      </p:pic>
      <p:sp>
        <p:nvSpPr>
          <p:cNvPr id="7" name="テキスト ボックス 6">
            <a:extLst>
              <a:ext uri="{FF2B5EF4-FFF2-40B4-BE49-F238E27FC236}">
                <a16:creationId xmlns:a16="http://schemas.microsoft.com/office/drawing/2014/main" id="{4CC34C06-2770-D52E-887C-60A7718811AC}"/>
              </a:ext>
            </a:extLst>
          </p:cNvPr>
          <p:cNvSpPr txBox="1"/>
          <p:nvPr/>
        </p:nvSpPr>
        <p:spPr>
          <a:xfrm>
            <a:off x="4530056" y="3978186"/>
            <a:ext cx="2216924" cy="261610"/>
          </a:xfrm>
          <a:prstGeom prst="rect">
            <a:avLst/>
          </a:prstGeom>
          <a:solidFill>
            <a:srgbClr val="FFC000">
              <a:alpha val="80000"/>
            </a:srgbClr>
          </a:solidFill>
        </p:spPr>
        <p:txBody>
          <a:bodyPr wrap="square">
            <a:spAutoFit/>
          </a:bodyPr>
          <a:lstStyle/>
          <a:p>
            <a:r>
              <a:rPr lang="ja-JP" altLang="en-US" sz="1050">
                <a:solidFill>
                  <a:schemeClr val="bg1"/>
                </a:solidFill>
              </a:rPr>
              <a:t>●●市営デマンドバス</a:t>
            </a:r>
          </a:p>
        </p:txBody>
      </p:sp>
      <p:sp>
        <p:nvSpPr>
          <p:cNvPr id="8" name="正方形/長方形 7">
            <a:extLst>
              <a:ext uri="{FF2B5EF4-FFF2-40B4-BE49-F238E27FC236}">
                <a16:creationId xmlns:a16="http://schemas.microsoft.com/office/drawing/2014/main" id="{1E2378D2-462D-DC21-377B-1F2BE4C99A33}"/>
              </a:ext>
            </a:extLst>
          </p:cNvPr>
          <p:cNvSpPr/>
          <p:nvPr/>
        </p:nvSpPr>
        <p:spPr>
          <a:xfrm rot="18900000">
            <a:off x="6479127" y="2938561"/>
            <a:ext cx="3778202" cy="2190750"/>
          </a:xfrm>
          <a:prstGeom prst="rect">
            <a:avLst/>
          </a:prstGeom>
          <a:solidFill>
            <a:srgbClr val="0070C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D9546854-B4CE-1F65-2F6D-8A404DD40BB1}"/>
              </a:ext>
            </a:extLst>
          </p:cNvPr>
          <p:cNvSpPr txBox="1"/>
          <p:nvPr/>
        </p:nvSpPr>
        <p:spPr>
          <a:xfrm>
            <a:off x="9767929" y="2296865"/>
            <a:ext cx="2216924" cy="261610"/>
          </a:xfrm>
          <a:prstGeom prst="rect">
            <a:avLst/>
          </a:prstGeom>
          <a:solidFill>
            <a:srgbClr val="0070C0">
              <a:alpha val="80000"/>
            </a:srgbClr>
          </a:solidFill>
        </p:spPr>
        <p:txBody>
          <a:bodyPr wrap="square">
            <a:spAutoFit/>
          </a:bodyPr>
          <a:lstStyle/>
          <a:p>
            <a:r>
              <a:rPr lang="ja-JP" altLang="en-US" sz="1050">
                <a:solidFill>
                  <a:schemeClr val="bg1"/>
                </a:solidFill>
              </a:rPr>
              <a:t>●●交通（タクシー）運行区域</a:t>
            </a:r>
          </a:p>
        </p:txBody>
      </p:sp>
      <p:cxnSp>
        <p:nvCxnSpPr>
          <p:cNvPr id="12" name="直線コネクタ 11">
            <a:extLst>
              <a:ext uri="{FF2B5EF4-FFF2-40B4-BE49-F238E27FC236}">
                <a16:creationId xmlns:a16="http://schemas.microsoft.com/office/drawing/2014/main" id="{36894EAB-405F-0998-1890-37C962DD7CF6}"/>
              </a:ext>
            </a:extLst>
          </p:cNvPr>
          <p:cNvCxnSpPr>
            <a:cxnSpLocks/>
            <a:endCxn id="11" idx="1"/>
          </p:cNvCxnSpPr>
          <p:nvPr/>
        </p:nvCxnSpPr>
        <p:spPr>
          <a:xfrm flipV="1">
            <a:off x="9523132" y="2427670"/>
            <a:ext cx="244797" cy="13080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3" name="フリーフォーム: 図形 12">
            <a:extLst>
              <a:ext uri="{FF2B5EF4-FFF2-40B4-BE49-F238E27FC236}">
                <a16:creationId xmlns:a16="http://schemas.microsoft.com/office/drawing/2014/main" id="{B43B6931-1CB3-5574-1F6D-B4058353AD33}"/>
              </a:ext>
            </a:extLst>
          </p:cNvPr>
          <p:cNvSpPr/>
          <p:nvPr/>
        </p:nvSpPr>
        <p:spPr>
          <a:xfrm>
            <a:off x="6892160" y="3788647"/>
            <a:ext cx="943276" cy="1039529"/>
          </a:xfrm>
          <a:custGeom>
            <a:avLst/>
            <a:gdLst>
              <a:gd name="connsiteX0" fmla="*/ 394636 w 943276"/>
              <a:gd name="connsiteY0" fmla="*/ 0 h 1039529"/>
              <a:gd name="connsiteX1" fmla="*/ 28876 w 943276"/>
              <a:gd name="connsiteY1" fmla="*/ 279133 h 1039529"/>
              <a:gd name="connsiteX2" fmla="*/ 28876 w 943276"/>
              <a:gd name="connsiteY2" fmla="*/ 404261 h 1039529"/>
              <a:gd name="connsiteX3" fmla="*/ 0 w 943276"/>
              <a:gd name="connsiteY3" fmla="*/ 635268 h 1039529"/>
              <a:gd name="connsiteX4" fmla="*/ 356135 w 943276"/>
              <a:gd name="connsiteY4" fmla="*/ 991402 h 1039529"/>
              <a:gd name="connsiteX5" fmla="*/ 567890 w 943276"/>
              <a:gd name="connsiteY5" fmla="*/ 1001028 h 1039529"/>
              <a:gd name="connsiteX6" fmla="*/ 731520 w 943276"/>
              <a:gd name="connsiteY6" fmla="*/ 1039529 h 1039529"/>
              <a:gd name="connsiteX7" fmla="*/ 904775 w 943276"/>
              <a:gd name="connsiteY7" fmla="*/ 827773 h 1039529"/>
              <a:gd name="connsiteX8" fmla="*/ 943276 w 943276"/>
              <a:gd name="connsiteY8" fmla="*/ 298384 h 1039529"/>
              <a:gd name="connsiteX9" fmla="*/ 837398 w 943276"/>
              <a:gd name="connsiteY9" fmla="*/ 144379 h 1039529"/>
              <a:gd name="connsiteX10" fmla="*/ 394636 w 943276"/>
              <a:gd name="connsiteY10" fmla="*/ 0 h 10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6" h="1039529">
                <a:moveTo>
                  <a:pt x="394636" y="0"/>
                </a:moveTo>
                <a:lnTo>
                  <a:pt x="28876" y="279133"/>
                </a:lnTo>
                <a:lnTo>
                  <a:pt x="28876" y="404261"/>
                </a:lnTo>
                <a:lnTo>
                  <a:pt x="0" y="635268"/>
                </a:lnTo>
                <a:lnTo>
                  <a:pt x="356135" y="991402"/>
                </a:lnTo>
                <a:cubicBezTo>
                  <a:pt x="503611" y="1003693"/>
                  <a:pt x="433004" y="1001028"/>
                  <a:pt x="567890" y="1001028"/>
                </a:cubicBezTo>
                <a:lnTo>
                  <a:pt x="731520" y="1039529"/>
                </a:lnTo>
                <a:cubicBezTo>
                  <a:pt x="909712" y="970993"/>
                  <a:pt x="844038" y="1034274"/>
                  <a:pt x="904775" y="827773"/>
                </a:cubicBezTo>
                <a:lnTo>
                  <a:pt x="943276" y="298384"/>
                </a:lnTo>
                <a:cubicBezTo>
                  <a:pt x="842853" y="157792"/>
                  <a:pt x="871708" y="213003"/>
                  <a:pt x="837398" y="144379"/>
                </a:cubicBezTo>
                <a:lnTo>
                  <a:pt x="394636" y="0"/>
                </a:lnTo>
                <a:close/>
              </a:path>
            </a:pathLst>
          </a:custGeom>
          <a:solidFill>
            <a:srgbClr val="FFC00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a:extLst>
              <a:ext uri="{FF2B5EF4-FFF2-40B4-BE49-F238E27FC236}">
                <a16:creationId xmlns:a16="http://schemas.microsoft.com/office/drawing/2014/main" id="{3AA73118-94F8-70C1-35F7-26CD5AF7F242}"/>
              </a:ext>
            </a:extLst>
          </p:cNvPr>
          <p:cNvCxnSpPr>
            <a:cxnSpLocks/>
            <a:endCxn id="13" idx="2"/>
          </p:cNvCxnSpPr>
          <p:nvPr/>
        </p:nvCxnSpPr>
        <p:spPr>
          <a:xfrm>
            <a:off x="6746980" y="4108991"/>
            <a:ext cx="174056" cy="8391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graphicFrame>
        <p:nvGraphicFramePr>
          <p:cNvPr id="15" name="表 14">
            <a:extLst>
              <a:ext uri="{FF2B5EF4-FFF2-40B4-BE49-F238E27FC236}">
                <a16:creationId xmlns:a16="http://schemas.microsoft.com/office/drawing/2014/main" id="{6BA7322B-8E83-4959-AED5-CDCB2DC09E66}"/>
              </a:ext>
            </a:extLst>
          </p:cNvPr>
          <p:cNvGraphicFramePr>
            <a:graphicFrameLocks noGrp="1"/>
          </p:cNvGraphicFramePr>
          <p:nvPr>
            <p:extLst>
              <p:ext uri="{D42A27DB-BD31-4B8C-83A1-F6EECF244321}">
                <p14:modId xmlns:p14="http://schemas.microsoft.com/office/powerpoint/2010/main" val="3517680498"/>
              </p:ext>
            </p:extLst>
          </p:nvPr>
        </p:nvGraphicFramePr>
        <p:xfrm>
          <a:off x="300779" y="1755865"/>
          <a:ext cx="3763597" cy="2032782"/>
        </p:xfrm>
        <a:graphic>
          <a:graphicData uri="http://schemas.openxmlformats.org/drawingml/2006/table">
            <a:tbl>
              <a:tblPr firstRow="1" bandRow="1">
                <a:tableStyleId>{5940675A-B579-460E-94D1-54222C63F5DA}</a:tableStyleId>
              </a:tblPr>
              <a:tblGrid>
                <a:gridCol w="3763597">
                  <a:extLst>
                    <a:ext uri="{9D8B030D-6E8A-4147-A177-3AD203B41FA5}">
                      <a16:colId xmlns:a16="http://schemas.microsoft.com/office/drawing/2014/main" val="518456691"/>
                    </a:ext>
                  </a:extLst>
                </a:gridCol>
              </a:tblGrid>
              <a:tr h="1061101">
                <a:tc>
                  <a:txBody>
                    <a:bodyPr/>
                    <a:lstStyle/>
                    <a:p>
                      <a:r>
                        <a:rPr kumimoji="1" lang="ja-JP" altLang="en-US" sz="1050">
                          <a:solidFill>
                            <a:srgbClr val="0070C0"/>
                          </a:solidFill>
                          <a:latin typeface="+mj-ea"/>
                          <a:ea typeface="+mj-ea"/>
                        </a:rPr>
                        <a:t>富山県富山市　富山駅周辺～市内主要エリア</a:t>
                      </a:r>
                      <a:endParaRPr kumimoji="1" lang="en-US" altLang="ja-JP" sz="1050">
                        <a:solidFill>
                          <a:srgbClr val="0070C0"/>
                        </a:solidFill>
                        <a:latin typeface="+mj-ea"/>
                        <a:ea typeface="+mj-ea"/>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chemeClr val="tx1"/>
                          </a:solidFill>
                          <a:latin typeface="+mj-ea"/>
                          <a:ea typeface="+mn-ea"/>
                          <a:cs typeface="+mn-cs"/>
                        </a:rPr>
                        <a:t>［鉄道］</a:t>
                      </a:r>
                      <a:endParaRPr kumimoji="1" lang="en-US" altLang="ja-JP" sz="1050" kern="1200">
                        <a:solidFill>
                          <a:schemeClr val="tx1"/>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富山軌道線（富山地鉄）</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あいの風とやま鉄道（富山駅～東富山駅区間）</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JR</a:t>
                      </a:r>
                      <a:r>
                        <a:rPr kumimoji="1" lang="ja-JP" altLang="en-US" sz="1050" kern="1200">
                          <a:solidFill>
                            <a:srgbClr val="0070C0"/>
                          </a:solidFill>
                          <a:latin typeface="+mj-ea"/>
                          <a:ea typeface="+mn-ea"/>
                          <a:cs typeface="+mn-cs"/>
                        </a:rPr>
                        <a:t>東日本高山本線</a:t>
                      </a:r>
                      <a:endParaRPr kumimoji="1" lang="en-US" altLang="ja-JP" sz="1050" kern="1200">
                        <a:solidFill>
                          <a:srgbClr val="0070C0"/>
                        </a:solidFill>
                        <a:latin typeface="+mj-ea"/>
                        <a:ea typeface="+mn-ea"/>
                        <a:cs typeface="+mn-cs"/>
                      </a:endParaRPr>
                    </a:p>
                    <a:p>
                      <a:pPr marL="0" indent="0">
                        <a:buFont typeface="Wingdings" panose="05000000000000000000" pitchFamily="2" charset="2"/>
                        <a:buNone/>
                      </a:pPr>
                      <a:r>
                        <a:rPr kumimoji="1" lang="ja-JP" altLang="en-US" sz="1050" kern="1200">
                          <a:solidFill>
                            <a:schemeClr val="tx1"/>
                          </a:solidFill>
                          <a:latin typeface="+mj-ea"/>
                          <a:ea typeface="+mn-ea"/>
                          <a:cs typeface="+mn-cs"/>
                        </a:rPr>
                        <a:t>［</a:t>
                      </a:r>
                      <a:r>
                        <a:rPr kumimoji="1" lang="ja-JP" altLang="en-US" sz="1050">
                          <a:solidFill>
                            <a:schemeClr val="tx1"/>
                          </a:solidFill>
                          <a:latin typeface="+mj-ea"/>
                          <a:ea typeface="+mj-ea"/>
                        </a:rPr>
                        <a:t>バス］</a:t>
                      </a:r>
                      <a:endParaRPr kumimoji="1" lang="en-US" altLang="ja-JP" sz="1050">
                        <a:solidFill>
                          <a:schemeClr val="tx1"/>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地鉄バス（市内全路線）</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市営コミュニティバス（大山地域、八尾地域、山田地域）</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まいどはやバス（地域自主運行バス）</a:t>
                      </a: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chemeClr val="tx1"/>
                          </a:solidFill>
                          <a:latin typeface="+mj-ea"/>
                          <a:ea typeface="+mj-ea"/>
                        </a:rPr>
                        <a:t>［デマンド交通］</a:t>
                      </a:r>
                      <a:endParaRPr kumimoji="1" lang="en-US" altLang="ja-JP" sz="1050">
                        <a:solidFill>
                          <a:schemeClr val="tx1"/>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あいのり大山（市営デマンドバス）</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交通（タクシー）</a:t>
                      </a:r>
                      <a:endParaRPr kumimoji="1" lang="ja-JP" altLang="en-US" sz="1050">
                        <a:solidFill>
                          <a:srgbClr val="0070C0"/>
                        </a:solidFill>
                        <a:highlight>
                          <a:srgbClr val="C0C0C0"/>
                        </a:highlight>
                        <a:latin typeface="+mj-ea"/>
                        <a:ea typeface="+mj-ea"/>
                      </a:endParaRPr>
                    </a:p>
                  </a:txBody>
                  <a:tcPr marL="112542" marR="112542" marT="56271" marB="5627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4430111"/>
                  </a:ext>
                </a:extLst>
              </a:tr>
            </a:tbl>
          </a:graphicData>
        </a:graphic>
      </p:graphicFrame>
      <p:sp>
        <p:nvSpPr>
          <p:cNvPr id="17" name="テキスト ボックス 16">
            <a:extLst>
              <a:ext uri="{FF2B5EF4-FFF2-40B4-BE49-F238E27FC236}">
                <a16:creationId xmlns:a16="http://schemas.microsoft.com/office/drawing/2014/main" id="{159BE264-9942-E766-987F-6CA378A61798}"/>
              </a:ext>
            </a:extLst>
          </p:cNvPr>
          <p:cNvSpPr txBox="1"/>
          <p:nvPr/>
        </p:nvSpPr>
        <p:spPr>
          <a:xfrm>
            <a:off x="1588445" y="4938690"/>
            <a:ext cx="8920716" cy="10763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の具体的なサービス提供事業者名・路線・区間を文言及び図示によって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サービス提供エリアが広域の場合は、地図を複数枚用意のうえ、実施エリアや路線が分かるよう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が過年度からの継続事業の場合、今年度の対象がわかるように記載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19" name="テキスト ボックス 18">
            <a:extLst>
              <a:ext uri="{FF2B5EF4-FFF2-40B4-BE49-F238E27FC236}">
                <a16:creationId xmlns:a16="http://schemas.microsoft.com/office/drawing/2014/main" id="{F4F6AADC-220D-BFC7-4F32-89892ED6B785}"/>
              </a:ext>
            </a:extLst>
          </p:cNvPr>
          <p:cNvSpPr txBox="1"/>
          <p:nvPr/>
        </p:nvSpPr>
        <p:spPr>
          <a:xfrm>
            <a:off x="377162" y="1507003"/>
            <a:ext cx="3695699" cy="261962"/>
          </a:xfrm>
          <a:prstGeom prst="rect">
            <a:avLst/>
          </a:prstGeom>
          <a:solidFill>
            <a:srgbClr val="636163">
              <a:lumMod val="20000"/>
              <a:lumOff val="8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000000"/>
                </a:solidFill>
                <a:effectLst/>
                <a:uLnTx/>
                <a:uFillTx/>
              </a:rPr>
              <a:t>本プロジェクトにおけるサービス提供事業者</a:t>
            </a:r>
          </a:p>
        </p:txBody>
      </p:sp>
      <p:grpSp>
        <p:nvGrpSpPr>
          <p:cNvPr id="23" name="グループ化 22">
            <a:extLst>
              <a:ext uri="{FF2B5EF4-FFF2-40B4-BE49-F238E27FC236}">
                <a16:creationId xmlns:a16="http://schemas.microsoft.com/office/drawing/2014/main" id="{A07996F8-B910-E0AB-D4FD-7620B6D4FD6E}"/>
              </a:ext>
            </a:extLst>
          </p:cNvPr>
          <p:cNvGrpSpPr/>
          <p:nvPr/>
        </p:nvGrpSpPr>
        <p:grpSpPr>
          <a:xfrm>
            <a:off x="377162" y="1144962"/>
            <a:ext cx="11327639" cy="310897"/>
            <a:chOff x="609601" y="1337306"/>
            <a:chExt cx="5206999" cy="310897"/>
          </a:xfrm>
        </p:grpSpPr>
        <p:sp>
          <p:nvSpPr>
            <p:cNvPr id="24" name="正方形/長方形 23">
              <a:extLst>
                <a:ext uri="{FF2B5EF4-FFF2-40B4-BE49-F238E27FC236}">
                  <a16:creationId xmlns:a16="http://schemas.microsoft.com/office/drawing/2014/main" id="{C05D70C8-A0E4-1745-E63B-587FB5CC9386}"/>
                </a:ext>
              </a:extLst>
            </p:cNvPr>
            <p:cNvSpPr/>
            <p:nvPr/>
          </p:nvSpPr>
          <p:spPr>
            <a:xfrm>
              <a:off x="609601" y="1337306"/>
              <a:ext cx="5198587" cy="2991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636163"/>
                </a:solidFill>
                <a:effectLst/>
                <a:uLnTx/>
                <a:uFillTx/>
                <a:latin typeface="Noto Sans CJK JP"/>
                <a:ea typeface="BIZ UDPゴシック"/>
                <a:cs typeface="+mn-cs"/>
              </a:endParaRPr>
            </a:p>
          </p:txBody>
        </p:sp>
        <p:cxnSp>
          <p:nvCxnSpPr>
            <p:cNvPr id="25" name="直線コネクタ 24">
              <a:extLst>
                <a:ext uri="{FF2B5EF4-FFF2-40B4-BE49-F238E27FC236}">
                  <a16:creationId xmlns:a16="http://schemas.microsoft.com/office/drawing/2014/main" id="{9B8C3470-E35E-E2A6-58B9-6E0188FCF49E}"/>
                </a:ext>
              </a:extLst>
            </p:cNvPr>
            <p:cNvCxnSpPr/>
            <p:nvPr/>
          </p:nvCxnSpPr>
          <p:spPr>
            <a:xfrm>
              <a:off x="609601" y="1648203"/>
              <a:ext cx="5206999" cy="0"/>
            </a:xfrm>
            <a:prstGeom prst="line">
              <a:avLst/>
            </a:prstGeom>
            <a:noFill/>
            <a:ln w="9525" cap="flat" cmpd="sng" algn="ctr">
              <a:solidFill>
                <a:srgbClr val="636163"/>
              </a:solidFill>
              <a:prstDash val="solid"/>
            </a:ln>
            <a:effectLst/>
          </p:spPr>
        </p:cxnSp>
      </p:grpSp>
      <p:sp>
        <p:nvSpPr>
          <p:cNvPr id="20" name="テキスト プレースホルダー 19">
            <a:extLst>
              <a:ext uri="{FF2B5EF4-FFF2-40B4-BE49-F238E27FC236}">
                <a16:creationId xmlns:a16="http://schemas.microsoft.com/office/drawing/2014/main" id="{C0739B5E-974C-B8C0-C502-00B3AE8E25D2}"/>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Tree>
    <p:extLst>
      <p:ext uri="{BB962C8B-B14F-4D97-AF65-F5344CB8AC3E}">
        <p14:creationId xmlns:p14="http://schemas.microsoft.com/office/powerpoint/2010/main" val="24525954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31" name="図 30">
            <a:extLst>
              <a:ext uri="{FF2B5EF4-FFF2-40B4-BE49-F238E27FC236}">
                <a16:creationId xmlns:a16="http://schemas.microsoft.com/office/drawing/2014/main" id="{16020430-00B1-287F-A924-BAA06D233495}"/>
              </a:ext>
            </a:extLst>
          </p:cNvPr>
          <p:cNvPicPr>
            <a:picLocks noChangeAspect="1"/>
          </p:cNvPicPr>
          <p:nvPr/>
        </p:nvPicPr>
        <p:blipFill>
          <a:blip r:embed="rId3"/>
          <a:stretch>
            <a:fillRect/>
          </a:stretch>
        </p:blipFill>
        <p:spPr>
          <a:xfrm>
            <a:off x="2077459" y="1489767"/>
            <a:ext cx="6519604" cy="4925102"/>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a:xfrm>
            <a:off x="300779" y="215626"/>
            <a:ext cx="11376000" cy="415498"/>
          </a:xfrm>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５</a:t>
            </a:r>
            <a:r>
              <a:rPr lang="en-US" altLang="ja-JP"/>
              <a:t>.</a:t>
            </a:r>
            <a:r>
              <a:rPr lang="ja-JP" altLang="en-US"/>
              <a:t>アーキテクチャ全体図</a:t>
            </a:r>
            <a:r>
              <a:rPr lang="en-US" altLang="ja-JP" sz="2400"/>
              <a:t>-</a:t>
            </a:r>
            <a:r>
              <a:rPr lang="ja-JP" altLang="en-US" sz="2400"/>
              <a:t>システムアーキテクチャ図</a:t>
            </a:r>
            <a:r>
              <a:rPr lang="en-US" altLang="ja-JP" sz="2400"/>
              <a:t>-</a:t>
            </a:r>
            <a:endParaRPr lang="ja-JP" altLang="en-US" sz="2800"/>
          </a:p>
        </p:txBody>
      </p:sp>
      <p:sp>
        <p:nvSpPr>
          <p:cNvPr id="4" name="テキスト ボックス 3">
            <a:extLst>
              <a:ext uri="{FF2B5EF4-FFF2-40B4-BE49-F238E27FC236}">
                <a16:creationId xmlns:a16="http://schemas.microsoft.com/office/drawing/2014/main" id="{2D0F773D-7F31-6F9D-4700-F8F75C3164F8}"/>
              </a:ext>
            </a:extLst>
          </p:cNvPr>
          <p:cNvSpPr txBox="1"/>
          <p:nvPr/>
        </p:nvSpPr>
        <p:spPr>
          <a:xfrm>
            <a:off x="2920785" y="2759484"/>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の構造を視覚的に示し、各コンポーネントの相互関係を明確にするため、システム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機能モジュールとそのインターフェスを処理フローに従って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要件定義を見据え、必要な機能モジュールの定義・分割と</a:t>
            </a:r>
            <a:r>
              <a:rPr kumimoji="0" lang="en-US" altLang="ja-JP" sz="1400" b="0" i="0" u="none" strike="noStrike" kern="0" cap="none" spc="0" normalizeH="0" baseline="0" noProof="0">
                <a:ln>
                  <a:noFill/>
                </a:ln>
                <a:solidFill>
                  <a:srgbClr val="FFFFFF"/>
                </a:solidFill>
                <a:effectLst/>
                <a:uLnTx/>
                <a:uFillTx/>
              </a:rPr>
              <a:t>ID</a:t>
            </a:r>
            <a:r>
              <a:rPr kumimoji="0" lang="ja-JP" altLang="en-US" sz="1400" b="0" i="0" u="none" strike="noStrike" kern="0" cap="none" spc="0" normalizeH="0" baseline="0" noProof="0">
                <a:ln>
                  <a:noFill/>
                </a:ln>
                <a:solidFill>
                  <a:srgbClr val="FFFFFF"/>
                </a:solidFill>
                <a:effectLst/>
                <a:uLnTx/>
                <a:uFillTx/>
              </a:rPr>
              <a:t>付与、フルスクラッチ、</a:t>
            </a:r>
            <a:r>
              <a:rPr kumimoji="0" lang="en-US" altLang="ja-JP" sz="1400" b="0" i="0" u="none" strike="noStrike" kern="0" cap="none" spc="0" normalizeH="0" baseline="0" noProof="0">
                <a:ln>
                  <a:noFill/>
                </a:ln>
                <a:solidFill>
                  <a:srgbClr val="FFFFFF"/>
                </a:solidFill>
                <a:effectLst/>
                <a:uLnTx/>
                <a:uFillTx/>
              </a:rPr>
              <a:t>SaaS</a:t>
            </a:r>
            <a:r>
              <a:rPr kumimoji="0" lang="ja-JP" altLang="en-US" sz="1400" b="0" i="0" u="none" strike="noStrike" kern="0" cap="none" spc="0" normalizeH="0" baseline="0" noProof="0">
                <a:ln>
                  <a:noFill/>
                </a:ln>
                <a:solidFill>
                  <a:srgbClr val="FFFFFF"/>
                </a:solidFill>
                <a:effectLst/>
                <a:uLnTx/>
                <a:uFillTx/>
              </a:rPr>
              <a:t>利用、外部</a:t>
            </a:r>
            <a:r>
              <a:rPr kumimoji="0" lang="en-US" altLang="ja-JP" sz="1400" b="0" i="0" u="none" strike="noStrike" kern="0" cap="none" spc="0" normalizeH="0" baseline="0" noProof="0">
                <a:ln>
                  <a:noFill/>
                </a:ln>
                <a:solidFill>
                  <a:srgbClr val="FFFFFF"/>
                </a:solidFill>
                <a:effectLst/>
                <a:uLnTx/>
                <a:uFillTx/>
              </a:rPr>
              <a:t>API</a:t>
            </a:r>
            <a:r>
              <a:rPr kumimoji="0" lang="ja-JP" altLang="en-US" sz="1400" b="0" i="0" u="none" strike="noStrike" kern="0" cap="none" spc="0" normalizeH="0" baseline="0" noProof="0">
                <a:ln>
                  <a:noFill/>
                </a:ln>
                <a:solidFill>
                  <a:srgbClr val="FFFFFF"/>
                </a:solidFill>
                <a:effectLst/>
                <a:uLnTx/>
                <a:uFillTx/>
              </a:rPr>
              <a:t>利用などの区別など、可能な限り詳細な粒度で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右下の凡例を参考に作成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利用及び開発を行わない場合は、その旨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grpSp>
        <p:nvGrpSpPr>
          <p:cNvPr id="7" name="グループ化 6">
            <a:extLst>
              <a:ext uri="{FF2B5EF4-FFF2-40B4-BE49-F238E27FC236}">
                <a16:creationId xmlns:a16="http://schemas.microsoft.com/office/drawing/2014/main" id="{52002093-DF50-FA02-BA5F-6BBF146BCA66}"/>
              </a:ext>
            </a:extLst>
          </p:cNvPr>
          <p:cNvGrpSpPr/>
          <p:nvPr/>
        </p:nvGrpSpPr>
        <p:grpSpPr>
          <a:xfrm>
            <a:off x="10081737" y="5038356"/>
            <a:ext cx="1630886" cy="1264098"/>
            <a:chOff x="10291234" y="5263193"/>
            <a:chExt cx="1530502" cy="1186290"/>
          </a:xfrm>
        </p:grpSpPr>
        <p:sp>
          <p:nvSpPr>
            <p:cNvPr id="8" name="四角形: 角を丸くする 7">
              <a:extLst>
                <a:ext uri="{FF2B5EF4-FFF2-40B4-BE49-F238E27FC236}">
                  <a16:creationId xmlns:a16="http://schemas.microsoft.com/office/drawing/2014/main" id="{FC1AB3A4-9382-A032-5903-9A510E8475E3}"/>
                </a:ext>
              </a:extLst>
            </p:cNvPr>
            <p:cNvSpPr/>
            <p:nvPr/>
          </p:nvSpPr>
          <p:spPr>
            <a:xfrm>
              <a:off x="10291234" y="5263193"/>
              <a:ext cx="1530502" cy="1186290"/>
            </a:xfrm>
            <a:prstGeom prst="roundRect">
              <a:avLst>
                <a:gd name="adj" fmla="val 3180"/>
              </a:avLst>
            </a:prstGeom>
            <a:noFill/>
            <a:ln w="12700" cap="flat" cmpd="sng" algn="ctr">
              <a:solidFill>
                <a:srgbClr val="636163"/>
              </a:solid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nvGrpSpPr>
            <p:cNvPr id="10" name="グループ化 9">
              <a:extLst>
                <a:ext uri="{FF2B5EF4-FFF2-40B4-BE49-F238E27FC236}">
                  <a16:creationId xmlns:a16="http://schemas.microsoft.com/office/drawing/2014/main" id="{B738998B-D1C7-4DA0-CFF5-9A123E597911}"/>
                </a:ext>
              </a:extLst>
            </p:cNvPr>
            <p:cNvGrpSpPr/>
            <p:nvPr/>
          </p:nvGrpSpPr>
          <p:grpSpPr>
            <a:xfrm>
              <a:off x="10446248" y="5791146"/>
              <a:ext cx="1327938" cy="260466"/>
              <a:chOff x="10692611" y="5304251"/>
              <a:chExt cx="1327938" cy="260466"/>
            </a:xfrm>
          </p:grpSpPr>
          <p:pic>
            <p:nvPicPr>
              <p:cNvPr id="20" name="Picture 2">
                <a:extLst>
                  <a:ext uri="{FF2B5EF4-FFF2-40B4-BE49-F238E27FC236}">
                    <a16:creationId xmlns:a16="http://schemas.microsoft.com/office/drawing/2014/main" id="{5F251E6C-56B2-4EEE-259F-0A6F4F938D4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l="271" r="271"/>
              <a:stretch/>
            </p:blipFill>
            <p:spPr bwMode="auto">
              <a:xfrm>
                <a:off x="10692611" y="5304251"/>
                <a:ext cx="259054" cy="260466"/>
              </a:xfrm>
              <a:prstGeom prst="rect">
                <a:avLst/>
              </a:prstGeom>
              <a:noFill/>
            </p:spPr>
          </p:pic>
          <p:sp>
            <p:nvSpPr>
              <p:cNvPr id="21" name="テキスト ボックス 20">
                <a:extLst>
                  <a:ext uri="{FF2B5EF4-FFF2-40B4-BE49-F238E27FC236}">
                    <a16:creationId xmlns:a16="http://schemas.microsoft.com/office/drawing/2014/main" id="{2795B796-42AA-2A86-F5EC-F78EB5494350}"/>
                  </a:ext>
                </a:extLst>
              </p:cNvPr>
              <p:cNvSpPr txBox="1"/>
              <p:nvPr/>
            </p:nvSpPr>
            <p:spPr>
              <a:xfrm>
                <a:off x="11006912" y="5350898"/>
                <a:ext cx="1013637"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システム</a:t>
                </a:r>
                <a:r>
                  <a:rPr kumimoji="0" lang="en-US" altLang="ja-JP" sz="800" kern="0">
                    <a:solidFill>
                      <a:srgbClr val="000000"/>
                    </a:solidFill>
                    <a:latin typeface="Noto Sans CJK JP"/>
                  </a:rPr>
                  <a:t>/</a:t>
                </a:r>
                <a:r>
                  <a:rPr kumimoji="0" lang="ja-JP" altLang="en-US" sz="800" kern="0">
                    <a:solidFill>
                      <a:srgbClr val="000000"/>
                    </a:solidFill>
                    <a:latin typeface="Noto Sans CJK JP"/>
                  </a:rPr>
                  <a:t>ライブラリ</a:t>
                </a:r>
                <a:r>
                  <a:rPr kumimoji="0" lang="en-US" altLang="ja-JP" sz="800" kern="0">
                    <a:solidFill>
                      <a:srgbClr val="000000"/>
                    </a:solidFill>
                    <a:latin typeface="Noto Sans CJK JP"/>
                  </a:rPr>
                  <a:t>/SaaS</a:t>
                </a:r>
              </a:p>
            </p:txBody>
          </p:sp>
        </p:grpSp>
        <p:grpSp>
          <p:nvGrpSpPr>
            <p:cNvPr id="11" name="グループ化 10">
              <a:extLst>
                <a:ext uri="{FF2B5EF4-FFF2-40B4-BE49-F238E27FC236}">
                  <a16:creationId xmlns:a16="http://schemas.microsoft.com/office/drawing/2014/main" id="{F9A3E8B6-D4F7-9975-8B59-D2F396C06F28}"/>
                </a:ext>
              </a:extLst>
            </p:cNvPr>
            <p:cNvGrpSpPr/>
            <p:nvPr/>
          </p:nvGrpSpPr>
          <p:grpSpPr>
            <a:xfrm>
              <a:off x="10446248" y="6114053"/>
              <a:ext cx="1145906" cy="260466"/>
              <a:chOff x="10692611" y="5591252"/>
              <a:chExt cx="1145906" cy="260466"/>
            </a:xfrm>
          </p:grpSpPr>
          <p:pic>
            <p:nvPicPr>
              <p:cNvPr id="18" name="Picture 2">
                <a:extLst>
                  <a:ext uri="{FF2B5EF4-FFF2-40B4-BE49-F238E27FC236}">
                    <a16:creationId xmlns:a16="http://schemas.microsoft.com/office/drawing/2014/main" id="{2507B095-8B76-5E1D-3144-5AC3E998E4FB}"/>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l="271" r="271"/>
              <a:stretch/>
            </p:blipFill>
            <p:spPr bwMode="auto">
              <a:xfrm>
                <a:off x="10692611" y="5591252"/>
                <a:ext cx="259054" cy="260466"/>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46CA9831-E830-18A4-36D3-B1CB18F4532A}"/>
                  </a:ext>
                </a:extLst>
              </p:cNvPr>
              <p:cNvSpPr txBox="1"/>
              <p:nvPr/>
            </p:nvSpPr>
            <p:spPr>
              <a:xfrm>
                <a:off x="11006913" y="5637899"/>
                <a:ext cx="831604"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アルゴリズム</a:t>
                </a:r>
                <a:endParaRPr kumimoji="0" lang="en-US" altLang="ja-JP" sz="800" kern="0">
                  <a:solidFill>
                    <a:srgbClr val="000000"/>
                  </a:solidFill>
                  <a:latin typeface="Noto Sans CJK JP"/>
                </a:endParaRPr>
              </a:p>
            </p:txBody>
          </p:sp>
        </p:grpSp>
        <p:grpSp>
          <p:nvGrpSpPr>
            <p:cNvPr id="12" name="グループ化 11">
              <a:extLst>
                <a:ext uri="{FF2B5EF4-FFF2-40B4-BE49-F238E27FC236}">
                  <a16:creationId xmlns:a16="http://schemas.microsoft.com/office/drawing/2014/main" id="{F1638528-25FC-34FB-615D-AC43812FAD07}"/>
                </a:ext>
              </a:extLst>
            </p:cNvPr>
            <p:cNvGrpSpPr/>
            <p:nvPr/>
          </p:nvGrpSpPr>
          <p:grpSpPr>
            <a:xfrm>
              <a:off x="10451931" y="5553460"/>
              <a:ext cx="1336838" cy="175245"/>
              <a:chOff x="10698295" y="5102471"/>
              <a:chExt cx="1604126" cy="175245"/>
            </a:xfrm>
          </p:grpSpPr>
          <p:sp>
            <p:nvSpPr>
              <p:cNvPr id="16" name="テキスト ボックス 15">
                <a:extLst>
                  <a:ext uri="{FF2B5EF4-FFF2-40B4-BE49-F238E27FC236}">
                    <a16:creationId xmlns:a16="http://schemas.microsoft.com/office/drawing/2014/main" id="{47DA8D64-CEC9-1F56-B9E9-35C546FFCD9E}"/>
                  </a:ext>
                </a:extLst>
              </p:cNvPr>
              <p:cNvSpPr txBox="1"/>
              <p:nvPr/>
            </p:nvSpPr>
            <p:spPr>
              <a:xfrm>
                <a:off x="11098283" y="5102471"/>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7EBE9A"/>
                    </a:solidFill>
                    <a:latin typeface="Noto Sans CJK JP"/>
                  </a:rPr>
                  <a:t>フルスクラッチ開発</a:t>
                </a:r>
                <a:endParaRPr kumimoji="0" lang="en-US" altLang="ja-JP" sz="800" kern="0">
                  <a:solidFill>
                    <a:srgbClr val="7EBE9A"/>
                  </a:solidFill>
                  <a:latin typeface="Noto Sans CJK JP"/>
                </a:endParaRPr>
              </a:p>
            </p:txBody>
          </p:sp>
          <p:sp>
            <p:nvSpPr>
              <p:cNvPr id="17" name="四角形: 角を丸くする 16">
                <a:extLst>
                  <a:ext uri="{FF2B5EF4-FFF2-40B4-BE49-F238E27FC236}">
                    <a16:creationId xmlns:a16="http://schemas.microsoft.com/office/drawing/2014/main" id="{2C56FA59-6C77-7FC1-AD1B-BBB66647627D}"/>
                  </a:ext>
                </a:extLst>
              </p:cNvPr>
              <p:cNvSpPr/>
              <p:nvPr/>
            </p:nvSpPr>
            <p:spPr>
              <a:xfrm>
                <a:off x="10698295" y="5164955"/>
                <a:ext cx="247686" cy="75595"/>
              </a:xfrm>
              <a:prstGeom prst="roundRect">
                <a:avLst/>
              </a:prstGeom>
              <a:solidFill>
                <a:srgbClr val="7EBE9A"/>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nvGrpSpPr>
            <p:cNvPr id="13" name="グループ化 12">
              <a:extLst>
                <a:ext uri="{FF2B5EF4-FFF2-40B4-BE49-F238E27FC236}">
                  <a16:creationId xmlns:a16="http://schemas.microsoft.com/office/drawing/2014/main" id="{0C48BC36-F017-A7FD-EFE5-3DD062E75EDB}"/>
                </a:ext>
              </a:extLst>
            </p:cNvPr>
            <p:cNvGrpSpPr/>
            <p:nvPr/>
          </p:nvGrpSpPr>
          <p:grpSpPr>
            <a:xfrm>
              <a:off x="10451932" y="5315774"/>
              <a:ext cx="1317183" cy="175245"/>
              <a:chOff x="10698295" y="4792973"/>
              <a:chExt cx="1580541" cy="175245"/>
            </a:xfrm>
          </p:grpSpPr>
          <p:sp>
            <p:nvSpPr>
              <p:cNvPr id="14" name="テキスト ボックス 13">
                <a:extLst>
                  <a:ext uri="{FF2B5EF4-FFF2-40B4-BE49-F238E27FC236}">
                    <a16:creationId xmlns:a16="http://schemas.microsoft.com/office/drawing/2014/main" id="{5C0D0E8C-3811-F6B0-69BB-69EE7E33FC74}"/>
                  </a:ext>
                </a:extLst>
              </p:cNvPr>
              <p:cNvSpPr txBox="1"/>
              <p:nvPr/>
            </p:nvSpPr>
            <p:spPr>
              <a:xfrm>
                <a:off x="11074698" y="4792973"/>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F3817B"/>
                    </a:solidFill>
                    <a:latin typeface="Noto Sans CJK JP"/>
                  </a:rPr>
                  <a:t>既存モジュールの改修</a:t>
                </a:r>
                <a:endParaRPr kumimoji="0" lang="en-US" altLang="ja-JP" sz="800" kern="0">
                  <a:solidFill>
                    <a:srgbClr val="F3817B"/>
                  </a:solidFill>
                  <a:latin typeface="Noto Sans CJK JP"/>
                </a:endParaRPr>
              </a:p>
            </p:txBody>
          </p:sp>
          <p:sp>
            <p:nvSpPr>
              <p:cNvPr id="15" name="四角形: 角を丸くする 14">
                <a:extLst>
                  <a:ext uri="{FF2B5EF4-FFF2-40B4-BE49-F238E27FC236}">
                    <a16:creationId xmlns:a16="http://schemas.microsoft.com/office/drawing/2014/main" id="{96FB319F-2503-4EE3-8CBC-47A4CDE48CA8}"/>
                  </a:ext>
                </a:extLst>
              </p:cNvPr>
              <p:cNvSpPr/>
              <p:nvPr/>
            </p:nvSpPr>
            <p:spPr>
              <a:xfrm>
                <a:off x="10698295" y="4848448"/>
                <a:ext cx="247686" cy="75595"/>
              </a:xfrm>
              <a:prstGeom prst="roundRect">
                <a:avLst/>
              </a:prstGeom>
              <a:solidFill>
                <a:srgbClr val="F3817B"/>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spTree>
    <p:extLst>
      <p:ext uri="{BB962C8B-B14F-4D97-AF65-F5344CB8AC3E}">
        <p14:creationId xmlns:p14="http://schemas.microsoft.com/office/powerpoint/2010/main" val="26421909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14F881AA-A9DD-5D4C-6B41-DC64E37C5F31}"/>
              </a:ext>
            </a:extLst>
          </p:cNvPr>
          <p:cNvPicPr>
            <a:picLocks noChangeAspect="1"/>
          </p:cNvPicPr>
          <p:nvPr/>
        </p:nvPicPr>
        <p:blipFill>
          <a:blip r:embed="rId3"/>
          <a:stretch>
            <a:fillRect/>
          </a:stretch>
        </p:blipFill>
        <p:spPr>
          <a:xfrm>
            <a:off x="1527382" y="1582517"/>
            <a:ext cx="9137236" cy="3692966"/>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６</a:t>
            </a:r>
            <a:r>
              <a:rPr lang="en-US" altLang="ja-JP"/>
              <a:t>.</a:t>
            </a:r>
            <a:r>
              <a:rPr lang="ja-JP" altLang="en-US"/>
              <a:t>ハードウェアアーキテクチャ</a:t>
            </a:r>
            <a:endParaRPr lang="ja-JP" altLang="en-US" sz="2800"/>
          </a:p>
        </p:txBody>
      </p:sp>
      <p:sp>
        <p:nvSpPr>
          <p:cNvPr id="7" name="テキスト ボックス 6">
            <a:extLst>
              <a:ext uri="{FF2B5EF4-FFF2-40B4-BE49-F238E27FC236}">
                <a16:creationId xmlns:a16="http://schemas.microsoft.com/office/drawing/2014/main" id="{753EDDE2-9BD8-2942-AFF5-CB0966A2B583}"/>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において稼働するデバイスやインフラを把握するため、ハードウェア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特に</a:t>
            </a:r>
            <a:r>
              <a:rPr kumimoji="0" lang="en-US" altLang="ja-JP" sz="1400" b="0" i="0" u="none" strike="noStrike" kern="0" cap="none" spc="0" normalizeH="0" baseline="0" noProof="0">
                <a:ln>
                  <a:noFill/>
                </a:ln>
                <a:solidFill>
                  <a:srgbClr val="FFFFFF"/>
                </a:solidFill>
                <a:effectLst/>
                <a:uLnTx/>
                <a:uFillTx/>
              </a:rPr>
              <a:t>IaaS</a:t>
            </a:r>
            <a:r>
              <a:rPr kumimoji="0" lang="ja-JP" altLang="en-US" sz="1400" b="0" i="0" u="none" strike="noStrike" kern="0" cap="none" spc="0" normalizeH="0" baseline="0" noProof="0">
                <a:ln>
                  <a:noFill/>
                </a:ln>
                <a:solidFill>
                  <a:srgbClr val="FFFFFF"/>
                </a:solidFill>
                <a:effectLst/>
                <a:uLnTx/>
                <a:uFillTx/>
              </a:rPr>
              <a:t>や</a:t>
            </a:r>
            <a:r>
              <a:rPr kumimoji="0" lang="en-US" altLang="ja-JP" sz="1400" b="0" i="0" u="none" strike="noStrike" kern="0" cap="none" spc="0" normalizeH="0" baseline="0" noProof="0">
                <a:ln>
                  <a:noFill/>
                </a:ln>
                <a:solidFill>
                  <a:srgbClr val="FFFFFF"/>
                </a:solidFill>
                <a:effectLst/>
                <a:uLnTx/>
                <a:uFillTx/>
              </a:rPr>
              <a:t>PaaS</a:t>
            </a:r>
            <a:r>
              <a:rPr kumimoji="0" lang="ja-JP" altLang="en-US" sz="1400" b="0" i="0" u="none" strike="noStrike" kern="0" cap="none" spc="0" normalizeH="0" baseline="0" noProof="0">
                <a:ln>
                  <a:noFill/>
                </a:ln>
                <a:solidFill>
                  <a:srgbClr val="FFFFFF"/>
                </a:solidFill>
                <a:effectLst/>
                <a:uLnTx/>
                <a:uFillTx/>
              </a:rPr>
              <a:t>など外部クラウドサーバを利用する場合、利用するコンポーネント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デバイス（改札機や認証端末など）と接続する場合などは、デバイスの製品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画像はサンプルです。提出時に削除してください。</a:t>
            </a:r>
          </a:p>
        </p:txBody>
      </p:sp>
    </p:spTree>
    <p:extLst>
      <p:ext uri="{BB962C8B-B14F-4D97-AF65-F5344CB8AC3E}">
        <p14:creationId xmlns:p14="http://schemas.microsoft.com/office/powerpoint/2010/main" val="2279494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6AE4F6-F01F-62C2-59D7-A3B8E9AE82D8}"/>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E8C9B9F-8072-E0E4-77B7-420C6D2F96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6" name="think-cell data - do not delete" hidden="1">
                        <a:extLst>
                          <a:ext uri="{FF2B5EF4-FFF2-40B4-BE49-F238E27FC236}">
                            <a16:creationId xmlns:a16="http://schemas.microsoft.com/office/drawing/2014/main" id="{1E8C9B9F-8072-E0E4-77B7-420C6D2F96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89627E6-1381-E3A4-FE8B-A4EB0C783D38}"/>
              </a:ext>
            </a:extLst>
          </p:cNvPr>
          <p:cNvSpPr>
            <a:spLocks noGrp="1"/>
          </p:cNvSpPr>
          <p:nvPr>
            <p:ph type="body" sz="quarter" idx="4294967295"/>
          </p:nvPr>
        </p:nvSpPr>
        <p:spPr>
          <a:xfrm>
            <a:off x="300779" y="909710"/>
            <a:ext cx="11376000" cy="661720"/>
          </a:xfrm>
        </p:spPr>
        <p:txBody>
          <a:bodyPr/>
          <a:lstStyle/>
          <a:p>
            <a:r>
              <a:rPr kumimoji="1" lang="ja-JP" altLang="en-US"/>
              <a:t>本業務の作業スケジュールや履行体制を含めた業務実施計画書を策定</a:t>
            </a:r>
            <a:r>
              <a:rPr lang="ja-JP" altLang="en-US"/>
              <a:t>する</a:t>
            </a:r>
            <a:endParaRPr kumimoji="1" lang="ja-JP" altLang="en-US"/>
          </a:p>
          <a:p>
            <a:endParaRPr kumimoji="1" lang="ja-JP" altLang="en-US"/>
          </a:p>
        </p:txBody>
      </p:sp>
      <p:sp>
        <p:nvSpPr>
          <p:cNvPr id="3" name="テキスト プレースホルダー 2">
            <a:extLst>
              <a:ext uri="{FF2B5EF4-FFF2-40B4-BE49-F238E27FC236}">
                <a16:creationId xmlns:a16="http://schemas.microsoft.com/office/drawing/2014/main" id="{8ED92B7C-1EEB-5342-CD72-059EC9543A4F}"/>
              </a:ext>
            </a:extLst>
          </p:cNvPr>
          <p:cNvSpPr>
            <a:spLocks noGrp="1"/>
          </p:cNvSpPr>
          <p:nvPr>
            <p:ph type="body" sz="quarter" idx="36"/>
          </p:nvPr>
        </p:nvSpPr>
        <p:spPr/>
        <p:txBody>
          <a:bodyPr/>
          <a:lstStyle/>
          <a:p>
            <a:endParaRPr kumimoji="1" lang="ja-JP" altLang="en-US"/>
          </a:p>
        </p:txBody>
      </p:sp>
      <p:sp>
        <p:nvSpPr>
          <p:cNvPr id="4" name="タイトル 3">
            <a:extLst>
              <a:ext uri="{FF2B5EF4-FFF2-40B4-BE49-F238E27FC236}">
                <a16:creationId xmlns:a16="http://schemas.microsoft.com/office/drawing/2014/main" id="{DD1CA6AB-0B11-22AF-99A0-D4CD074A0CDA}"/>
              </a:ext>
            </a:extLst>
          </p:cNvPr>
          <p:cNvSpPr>
            <a:spLocks noGrp="1"/>
          </p:cNvSpPr>
          <p:nvPr>
            <p:ph type="title"/>
          </p:nvPr>
        </p:nvSpPr>
        <p:spPr>
          <a:xfrm>
            <a:off x="300779" y="601848"/>
            <a:ext cx="11376000" cy="432000"/>
          </a:xfrm>
        </p:spPr>
        <p:txBody>
          <a:bodyPr vert="horz"/>
          <a:lstStyle/>
          <a:p>
            <a:r>
              <a:rPr kumimoji="1" lang="ja-JP" altLang="en-US"/>
              <a:t>本資料の位置付け②</a:t>
            </a:r>
          </a:p>
        </p:txBody>
      </p:sp>
      <p:graphicFrame>
        <p:nvGraphicFramePr>
          <p:cNvPr id="13" name="表 12">
            <a:extLst>
              <a:ext uri="{FF2B5EF4-FFF2-40B4-BE49-F238E27FC236}">
                <a16:creationId xmlns:a16="http://schemas.microsoft.com/office/drawing/2014/main" id="{6B84DF48-8B2E-7483-E19E-A4C36C91AA03}"/>
              </a:ext>
            </a:extLst>
          </p:cNvPr>
          <p:cNvGraphicFramePr>
            <a:graphicFrameLocks noGrp="1"/>
          </p:cNvGraphicFramePr>
          <p:nvPr>
            <p:extLst>
              <p:ext uri="{D42A27DB-BD31-4B8C-83A1-F6EECF244321}">
                <p14:modId xmlns:p14="http://schemas.microsoft.com/office/powerpoint/2010/main" val="241969841"/>
              </p:ext>
            </p:extLst>
          </p:nvPr>
        </p:nvGraphicFramePr>
        <p:xfrm>
          <a:off x="403225" y="1193915"/>
          <a:ext cx="11273553" cy="5433060"/>
        </p:xfrm>
        <a:graphic>
          <a:graphicData uri="http://schemas.openxmlformats.org/drawingml/2006/table">
            <a:tbl>
              <a:tblPr bandRow="1">
                <a:tableStyleId>{69012ECD-51FC-41F1-AA8D-1B2483CD663E}</a:tableStyleId>
              </a:tblPr>
              <a:tblGrid>
                <a:gridCol w="390612">
                  <a:extLst>
                    <a:ext uri="{9D8B030D-6E8A-4147-A177-3AD203B41FA5}">
                      <a16:colId xmlns:a16="http://schemas.microsoft.com/office/drawing/2014/main" val="2108554568"/>
                    </a:ext>
                  </a:extLst>
                </a:gridCol>
                <a:gridCol w="1404733">
                  <a:extLst>
                    <a:ext uri="{9D8B030D-6E8A-4147-A177-3AD203B41FA5}">
                      <a16:colId xmlns:a16="http://schemas.microsoft.com/office/drawing/2014/main" val="3815544931"/>
                    </a:ext>
                  </a:extLst>
                </a:gridCol>
                <a:gridCol w="2897081">
                  <a:extLst>
                    <a:ext uri="{9D8B030D-6E8A-4147-A177-3AD203B41FA5}">
                      <a16:colId xmlns:a16="http://schemas.microsoft.com/office/drawing/2014/main" val="603325944"/>
                    </a:ext>
                  </a:extLst>
                </a:gridCol>
                <a:gridCol w="6581127">
                  <a:extLst>
                    <a:ext uri="{9D8B030D-6E8A-4147-A177-3AD203B41FA5}">
                      <a16:colId xmlns:a16="http://schemas.microsoft.com/office/drawing/2014/main" val="410620975"/>
                    </a:ext>
                  </a:extLst>
                </a:gridCol>
              </a:tblGrid>
              <a:tr h="233238">
                <a:tc gridSpan="2">
                  <a:txBody>
                    <a:bodyPr/>
                    <a:lstStyle/>
                    <a:p>
                      <a:r>
                        <a:rPr kumimoji="1" lang="ja-JP" altLang="en-US" sz="950" b="1"/>
                        <a:t>章</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kumimoji="1" lang="ja-JP" altLang="en-US" sz="1000"/>
                    </a:p>
                  </a:txBody>
                  <a:tcPr>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950" b="1"/>
                        <a:t>アジェンダ</a:t>
                      </a:r>
                    </a:p>
                  </a:txBody>
                  <a:tcP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950" b="1"/>
                        <a:t>記載内容</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20628022"/>
                  </a:ext>
                </a:extLst>
              </a:tr>
              <a:tr h="233238">
                <a:tc rowSpan="10">
                  <a:txBody>
                    <a:bodyPr/>
                    <a:lstStyle/>
                    <a:p>
                      <a:r>
                        <a:rPr kumimoji="1" lang="en-US" altLang="ja-JP" sz="950"/>
                        <a:t>Ⅲ</a:t>
                      </a:r>
                    </a:p>
                    <a:p>
                      <a:endParaRPr kumimoji="1" lang="en-US" altLang="ja-JP" sz="950"/>
                    </a:p>
                    <a:p>
                      <a:endParaRPr kumimoji="1" lang="en-US" altLang="ja-JP" sz="950"/>
                    </a:p>
                    <a:p>
                      <a:endParaRPr kumimoji="1" lang="en-US" altLang="ja-JP" sz="95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rowSpan="10">
                  <a:txBody>
                    <a:bodyPr/>
                    <a:lstStyle/>
                    <a:p>
                      <a:r>
                        <a:rPr kumimoji="1" lang="ja-JP" altLang="en-US" sz="950">
                          <a:solidFill>
                            <a:schemeClr val="tx1"/>
                          </a:solidFill>
                        </a:rPr>
                        <a:t>モビリティデータの取得と活用</a:t>
                      </a:r>
                      <a:endParaRPr kumimoji="1" lang="en-US" altLang="ja-JP" sz="950">
                        <a:solidFill>
                          <a:schemeClr val="tx1"/>
                        </a:solidFill>
                      </a:endParaRPr>
                    </a:p>
                    <a:p>
                      <a:endParaRPr kumimoji="1" lang="en-US" altLang="ja-JP" sz="950">
                        <a:solidFill>
                          <a:schemeClr val="tx1"/>
                        </a:solidFill>
                      </a:endParaRP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950">
                          <a:solidFill>
                            <a:schemeClr val="tx1"/>
                          </a:solidFill>
                        </a:rPr>
                        <a:t>1.</a:t>
                      </a:r>
                      <a:r>
                        <a:rPr kumimoji="1" lang="ja-JP" altLang="en-US" sz="950">
                          <a:solidFill>
                            <a:schemeClr val="tx1"/>
                          </a:solidFill>
                        </a:rPr>
                        <a:t>データ活用の全体像</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r>
                        <a:rPr kumimoji="1" lang="ja-JP" altLang="en-US" sz="950"/>
                        <a:t>提供するサービスの全体像を明確にする</a:t>
                      </a:r>
                      <a:endParaRPr kumimoji="1" lang="en-US" altLang="ja-JP" sz="950"/>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3000664750"/>
                  </a:ext>
                </a:extLst>
              </a:tr>
              <a:tr h="233238">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solidFill>
                            <a:schemeClr val="tx1"/>
                          </a:solidFill>
                        </a:rPr>
                        <a:t>２</a:t>
                      </a:r>
                      <a:r>
                        <a:rPr kumimoji="1" lang="en-US" altLang="ja-JP" sz="950">
                          <a:solidFill>
                            <a:schemeClr val="tx1"/>
                          </a:solidFill>
                        </a:rPr>
                        <a:t>.</a:t>
                      </a:r>
                      <a:r>
                        <a:rPr kumimoji="1" lang="ja-JP" altLang="en-US" sz="950">
                          <a:solidFill>
                            <a:schemeClr val="tx1"/>
                          </a:solidFill>
                        </a:rPr>
                        <a:t>実証仮説</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実証の前提条件や期待される結果を定義する</a:t>
                      </a:r>
                      <a:endParaRPr kumimoji="1" lang="en-US" altLang="ja-JP" sz="950"/>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4187408296"/>
                  </a:ext>
                </a:extLst>
              </a:tr>
              <a:tr h="233238">
                <a:tc vMerge="1">
                  <a:txBody>
                    <a:bodyPr/>
                    <a:lstStyle/>
                    <a:p>
                      <a:endParaRPr/>
                    </a:p>
                  </a:txBody>
                  <a:tcPr>
                    <a:lnT w="1270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2700" cap="flat" cmpd="sng" algn="ctr">
                      <a:solidFill>
                        <a:schemeClr val="tx1"/>
                      </a:solidFill>
                      <a:prstDash val="solid"/>
                      <a:round/>
                      <a:headEnd type="none" w="med" len="med"/>
                      <a:tailEnd type="none" w="med" len="med"/>
                    </a:lnT>
                    <a:solidFill>
                      <a:schemeClr val="bg1"/>
                    </a:solidFill>
                  </a:tcPr>
                </a:tc>
                <a:tc>
                  <a:txBody>
                    <a:bodyPr/>
                    <a:lstStyle/>
                    <a:p>
                      <a:r>
                        <a:rPr kumimoji="1" lang="ja-JP" altLang="en-US" sz="950">
                          <a:solidFill>
                            <a:schemeClr val="tx1"/>
                          </a:solidFill>
                        </a:rPr>
                        <a:t>３</a:t>
                      </a:r>
                      <a:r>
                        <a:rPr kumimoji="1" lang="en-US" altLang="ja-JP" sz="950">
                          <a:solidFill>
                            <a:schemeClr val="tx1"/>
                          </a:solidFill>
                        </a:rPr>
                        <a:t>.</a:t>
                      </a:r>
                      <a:r>
                        <a:rPr kumimoji="1" lang="ja-JP" altLang="en-US" sz="950">
                          <a:solidFill>
                            <a:schemeClr val="tx1"/>
                          </a:solidFill>
                        </a:rPr>
                        <a:t>スコープ詳細</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950"/>
                        <a:t>スコープ単位で実施する内容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71575238"/>
                  </a:ext>
                </a:extLst>
              </a:tr>
              <a:tr h="233238">
                <a:tc vMerge="1">
                  <a:txBody>
                    <a:bodyPr/>
                    <a:lstStyle/>
                    <a:p>
                      <a:endParaRPr/>
                    </a:p>
                  </a:txBody>
                  <a:tcPr>
                    <a:lnT w="19050" cap="flat" cmpd="sng" algn="ctr">
                      <a:solidFill>
                        <a:schemeClr val="tx1"/>
                      </a:solidFill>
                      <a:prstDash val="solid"/>
                      <a:round/>
                      <a:headEnd type="none" w="med" len="med"/>
                      <a:tailEnd type="none" w="med" len="med"/>
                    </a:lnT>
                    <a:solidFill>
                      <a:schemeClr val="bg1"/>
                    </a:solidFill>
                  </a:tcPr>
                </a:tc>
                <a:tc vMerge="1">
                  <a:txBody>
                    <a:bodyPr/>
                    <a:lstStyle/>
                    <a:p>
                      <a:endParaRPr kumimoji="1" lang="ja-JP" altLang="en-US" sz="1000"/>
                    </a:p>
                  </a:txBody>
                  <a:tcPr>
                    <a:lnT w="19050" cap="flat" cmpd="sng" algn="ctr">
                      <a:solidFill>
                        <a:schemeClr val="tx1"/>
                      </a:solidFill>
                      <a:prstDash val="solid"/>
                      <a:round/>
                      <a:headEnd type="none" w="med" len="med"/>
                      <a:tailEnd type="none" w="med" len="med"/>
                    </a:lnT>
                    <a:solidFill>
                      <a:schemeClr val="bg1"/>
                    </a:solidFill>
                  </a:tcPr>
                </a:tc>
                <a:tc>
                  <a:txBody>
                    <a:bodyPr/>
                    <a:lstStyle/>
                    <a:p>
                      <a:r>
                        <a:rPr kumimoji="1" lang="ja-JP" altLang="en-US" sz="950"/>
                        <a:t>４</a:t>
                      </a:r>
                      <a:r>
                        <a:rPr kumimoji="1" lang="en-US" altLang="ja-JP" sz="950"/>
                        <a:t>.</a:t>
                      </a:r>
                      <a:r>
                        <a:rPr kumimoji="1" lang="ja-JP" altLang="en-US" sz="950"/>
                        <a:t>データ活用実施エリア</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950"/>
                        <a:t>データ活用を実施する具体的な地域や範囲を特定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73715988"/>
                  </a:ext>
                </a:extLst>
              </a:tr>
              <a:tr h="233238">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950"/>
                        <a:t>5.</a:t>
                      </a:r>
                      <a:r>
                        <a:rPr kumimoji="1" lang="ja-JP" altLang="en-US" sz="950"/>
                        <a:t>アーキテクチャ全体図</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システム全体の構造を視覚的に示し、各コンポーネントの相互関係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1657409"/>
                  </a:ext>
                </a:extLst>
              </a:tr>
              <a:tr h="233238">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950"/>
                        <a:t>6.</a:t>
                      </a:r>
                      <a:r>
                        <a:rPr kumimoji="1" lang="ja-JP" altLang="en-US" sz="950"/>
                        <a:t>ハードウェアアーキテクチャ</a:t>
                      </a:r>
                      <a:endParaRPr kumimoji="1" lang="ja-JP" altLang="en-US" sz="950">
                        <a:solidFill>
                          <a:srgbClr val="C00000"/>
                        </a:solidFill>
                      </a:endParaRPr>
                    </a:p>
                  </a:txBody>
                  <a:tcPr>
                    <a:lnL w="6350" cap="flat" cmpd="sng" algn="ctr">
                      <a:solidFill>
                        <a:srgbClr val="E4E4E4"/>
                      </a:solidFill>
                      <a:prstDash val="solid"/>
                      <a:round/>
                      <a:headEnd type="none" w="med" len="med"/>
                      <a:tailEnd type="none" w="med" len="med"/>
                    </a:lnL>
                    <a:noFill/>
                  </a:tcPr>
                </a:tc>
                <a:tc>
                  <a:txBody>
                    <a:bodyPr/>
                    <a:lstStyle/>
                    <a:p>
                      <a:r>
                        <a:rPr kumimoji="1" lang="ja-JP" altLang="en-US" sz="950"/>
                        <a:t>システム全体において稼働するデバイスやインフラを説明する</a:t>
                      </a:r>
                      <a:endParaRPr kumimoji="1" lang="en-US" altLang="ja-JP" sz="950"/>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424711632"/>
                  </a:ext>
                </a:extLst>
              </a:tr>
              <a:tr h="233238">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solidFill>
                            <a:schemeClr val="tx1"/>
                          </a:solidFill>
                        </a:rPr>
                        <a:t>７．利用する技術要素</a:t>
                      </a:r>
                      <a:endParaRPr kumimoji="1" lang="en-US" altLang="ja-JP" sz="950">
                        <a:solidFill>
                          <a:schemeClr val="tx1"/>
                        </a:solidFill>
                      </a:endParaRP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システム開発において使用する技術スタックやツールを明示、各機能を説明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27228097"/>
                  </a:ext>
                </a:extLst>
              </a:tr>
              <a:tr h="233238">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950">
                          <a:solidFill>
                            <a:schemeClr val="tx1"/>
                          </a:solidFill>
                        </a:rPr>
                        <a:t>８．利用するデータ一覧</a:t>
                      </a:r>
                      <a:endParaRPr kumimoji="1" lang="en-US" altLang="ja-JP" sz="950">
                        <a:solidFill>
                          <a:schemeClr val="tx1"/>
                        </a:solidFill>
                      </a:endParaRP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システムで使用する全てのデータソースをリストアップし、その利用方法を説明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3507058599"/>
                  </a:ext>
                </a:extLst>
              </a:tr>
              <a:tr h="233238">
                <a:tc vMerge="1">
                  <a:txBody>
                    <a:bodyPr/>
                    <a:lstStyle/>
                    <a:p>
                      <a:endParaRPr kumimoji="1" lang="ja-JP" altLang="en-US"/>
                    </a:p>
                  </a:txBody>
                  <a:tcPr/>
                </a:tc>
                <a:tc vMerge="1">
                  <a:txBody>
                    <a:bodyPr/>
                    <a:lstStyle/>
                    <a:p>
                      <a:endParaRPr kumimoji="1" lang="ja-JP" altLang="en-US"/>
                    </a:p>
                  </a:txBody>
                  <a:tcPr/>
                </a:tc>
                <a:tc>
                  <a:txBody>
                    <a:bodyPr/>
                    <a:lstStyle/>
                    <a:p>
                      <a:r>
                        <a:rPr kumimoji="1" lang="ja-JP" altLang="en-US" sz="950">
                          <a:solidFill>
                            <a:schemeClr val="tx1"/>
                          </a:solidFill>
                        </a:rPr>
                        <a:t>９．ユーザインタフェース</a:t>
                      </a:r>
                      <a:endParaRPr kumimoji="1" lang="en-US" altLang="ja-JP" sz="950">
                        <a:solidFill>
                          <a:schemeClr val="tx1"/>
                        </a:solidFill>
                      </a:endParaRP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ユーザーがシステムを操作するためのインターフェースの設計方針とその具体的な構成要素を示す</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970593812"/>
                  </a:ext>
                </a:extLst>
              </a:tr>
              <a:tr h="233238">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950">
                          <a:solidFill>
                            <a:schemeClr val="tx1"/>
                          </a:solidFill>
                        </a:rPr>
                        <a:t>１０．事業の推進体制</a:t>
                      </a:r>
                      <a:endParaRPr kumimoji="1" lang="en-US" altLang="ja-JP" sz="950">
                        <a:solidFill>
                          <a:schemeClr val="tx1"/>
                        </a:solidFill>
                      </a:endParaRPr>
                    </a:p>
                  </a:txBody>
                  <a:tcPr>
                    <a:lnL w="6350" cap="flat" cmpd="sng" algn="ctr">
                      <a:solidFill>
                        <a:srgbClr val="E4E4E4"/>
                      </a:solidFill>
                      <a:prstDash val="solid"/>
                      <a:round/>
                      <a:headEnd type="none" w="med" len="med"/>
                      <a:tailEnd type="none" w="med" len="med"/>
                    </a:lnL>
                    <a:lnB w="1905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事業に関与する主要な関係者を特定し、役割を明確にする</a:t>
                      </a:r>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7948930"/>
                  </a:ext>
                </a:extLst>
              </a:tr>
              <a:tr h="233238">
                <a:tc rowSpan="4">
                  <a:txBody>
                    <a:bodyPr/>
                    <a:lstStyle/>
                    <a:p>
                      <a:r>
                        <a:rPr kumimoji="1" lang="en-US" altLang="ja-JP" sz="950"/>
                        <a:t>Ⅳ</a:t>
                      </a:r>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rowSpan="4">
                  <a:txBody>
                    <a:bodyPr/>
                    <a:lstStyle/>
                    <a:p>
                      <a:r>
                        <a:rPr kumimoji="1" lang="ja-JP" altLang="en-US" sz="950"/>
                        <a:t>政策連携</a:t>
                      </a: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950"/>
                        <a:t>1.</a:t>
                      </a:r>
                      <a:r>
                        <a:rPr kumimoji="1" lang="ja-JP" altLang="en-US" sz="950"/>
                        <a:t>実施内容の詳細</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r>
                        <a:rPr kumimoji="1" lang="ja-JP" altLang="en-US" sz="950"/>
                        <a:t>政策連携について、各計画等の関係を明確にする</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4270378454"/>
                  </a:ext>
                </a:extLst>
              </a:tr>
              <a:tr h="233238">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en-US" altLang="ja-JP" sz="950"/>
                        <a:t>2.</a:t>
                      </a:r>
                      <a:r>
                        <a:rPr kumimoji="1" lang="ja-JP" altLang="en-US" sz="950"/>
                        <a:t>事業の推進体制</a:t>
                      </a:r>
                    </a:p>
                  </a:txBody>
                  <a:tcPr>
                    <a:lnL w="6350" cap="flat" cmpd="sng" algn="ctr">
                      <a:solidFill>
                        <a:srgbClr val="E4E4E4"/>
                      </a:solidFill>
                      <a:prstDash val="solid"/>
                      <a:round/>
                      <a:headEnd type="none" w="med" len="med"/>
                      <a:tailEnd type="none" w="med" len="med"/>
                    </a:lnL>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950"/>
                        <a:t>事業に関与する主要な関係者を特定し、役割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869051808"/>
                  </a:ext>
                </a:extLst>
              </a:tr>
              <a:tr h="233238">
                <a:tc vMerge="1">
                  <a:txBody>
                    <a:bodyPr/>
                    <a:lstStyle/>
                    <a:p>
                      <a:endParaRPr kumimoji="1" lang="ja-JP" altLang="en-US"/>
                    </a:p>
                  </a:txBody>
                  <a:tcPr/>
                </a:tc>
                <a:tc vMerge="1">
                  <a:txBody>
                    <a:bodyPr/>
                    <a:lstStyle/>
                    <a:p>
                      <a:endParaRPr kumimoji="1" lang="ja-JP" altLang="en-US"/>
                    </a:p>
                  </a:txBody>
                  <a:tcPr/>
                </a:tc>
                <a:tc>
                  <a:txBody>
                    <a:bodyPr/>
                    <a:lstStyle/>
                    <a:p>
                      <a:r>
                        <a:rPr kumimoji="1" lang="en-US" altLang="ja-JP" sz="950"/>
                        <a:t>3.</a:t>
                      </a:r>
                      <a:r>
                        <a:rPr kumimoji="1" lang="ja-JP" altLang="en-US" sz="950"/>
                        <a:t>アーキテクチャ全体図</a:t>
                      </a:r>
                    </a:p>
                  </a:txBody>
                  <a:tcPr>
                    <a:lnL w="6350" cap="flat" cmpd="sng" algn="ctr">
                      <a:solidFill>
                        <a:srgbClr val="E4E4E4"/>
                      </a:solidFill>
                      <a:prstDash val="solid"/>
                      <a:round/>
                      <a:headEnd type="none" w="med" len="med"/>
                      <a:tailEnd type="none" w="med" len="med"/>
                    </a:lnL>
                    <a:noFill/>
                  </a:tcPr>
                </a:tc>
                <a:tc>
                  <a:txBody>
                    <a:bodyPr/>
                    <a:lstStyle/>
                    <a:p>
                      <a:r>
                        <a:rPr kumimoji="1" lang="ja-JP" altLang="en-US" sz="950"/>
                        <a:t>システム全体の構造を視覚的に示し、各コンポーネントの相互関係を明確にする</a:t>
                      </a:r>
                    </a:p>
                  </a:txBody>
                  <a:tcPr>
                    <a:lnR w="19050"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2948914476"/>
                  </a:ext>
                </a:extLst>
              </a:tr>
              <a:tr h="233238">
                <a:tc vMerge="1">
                  <a:txBody>
                    <a:bodyPr/>
                    <a:lstStyle/>
                    <a:p>
                      <a:endParaRPr/>
                    </a:p>
                  </a:txBody>
                  <a:tcPr>
                    <a:solidFill>
                      <a:schemeClr val="bg1"/>
                    </a:solidFill>
                  </a:tcPr>
                </a:tc>
                <a:tc vMerge="1">
                  <a:txBody>
                    <a:bodyPr/>
                    <a:lstStyle/>
                    <a:p>
                      <a:endParaRPr kumimoji="1" lang="ja-JP" altLang="en-US" sz="1000"/>
                    </a:p>
                  </a:txBody>
                  <a:tcPr>
                    <a:solidFill>
                      <a:schemeClr val="bg1"/>
                    </a:solidFill>
                  </a:tcPr>
                </a:tc>
                <a:tc>
                  <a:txBody>
                    <a:bodyPr/>
                    <a:lstStyle/>
                    <a:p>
                      <a:r>
                        <a:rPr kumimoji="1" lang="ja-JP" altLang="en-US" sz="950"/>
                        <a:t>４</a:t>
                      </a:r>
                      <a:r>
                        <a:rPr kumimoji="1" lang="en-US" altLang="ja-JP" sz="950"/>
                        <a:t>.</a:t>
                      </a:r>
                      <a:r>
                        <a:rPr kumimoji="1" lang="ja-JP" altLang="en-US" sz="950"/>
                        <a:t>ハードウェアアーキテクチャ</a:t>
                      </a:r>
                      <a:endParaRPr kumimoji="1" lang="ja-JP" altLang="en-US" sz="950">
                        <a:solidFill>
                          <a:srgbClr val="C00000"/>
                        </a:solidFill>
                      </a:endParaRPr>
                    </a:p>
                  </a:txBody>
                  <a:tcPr>
                    <a:lnL w="6350" cap="flat" cmpd="sng" algn="ctr">
                      <a:solidFill>
                        <a:srgbClr val="E4E4E4"/>
                      </a:solidFill>
                      <a:prstDash val="solid"/>
                      <a:round/>
                      <a:headEnd type="none" w="med" len="med"/>
                      <a:tailEnd type="none" w="med" len="med"/>
                    </a:lnL>
                    <a:lnB w="19050" cap="flat" cmpd="sng" algn="ctr">
                      <a:solidFill>
                        <a:schemeClr val="tx1"/>
                      </a:solidFill>
                      <a:prstDash val="solid"/>
                      <a:round/>
                      <a:headEnd type="none" w="med" len="med"/>
                      <a:tailEnd type="none" w="med" len="med"/>
                    </a:lnB>
                    <a:noFill/>
                  </a:tcPr>
                </a:tc>
                <a:tc>
                  <a:txBody>
                    <a:bodyPr/>
                    <a:lstStyle/>
                    <a:p>
                      <a:r>
                        <a:rPr kumimoji="1" lang="ja-JP" altLang="en-US" sz="950"/>
                        <a:t>システム全体において稼働するデバイスやインフラを説明する</a:t>
                      </a:r>
                      <a:endParaRPr kumimoji="1" lang="en-US" altLang="ja-JP" sz="950"/>
                    </a:p>
                  </a:txBody>
                  <a:tcPr>
                    <a:lnR w="19050" cap="flat" cmpd="sng" algn="ctr">
                      <a:solidFill>
                        <a:schemeClr val="tx1"/>
                      </a:solidFill>
                      <a:prstDash val="solid"/>
                      <a:round/>
                      <a:headEnd type="none" w="med" len="med"/>
                      <a:tailEnd type="none" w="med" len="med"/>
                    </a:lnR>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5219452"/>
                  </a:ext>
                </a:extLst>
              </a:tr>
              <a:tr h="233238">
                <a:tc>
                  <a:txBody>
                    <a:bodyPr/>
                    <a:lstStyle/>
                    <a:p>
                      <a:r>
                        <a:rPr kumimoji="1" lang="en-US" altLang="ja-JP" sz="950"/>
                        <a:t>Ⅴ</a:t>
                      </a:r>
                      <a:endParaRPr kumimoji="1" lang="ja-JP" altLang="en-US" sz="95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ja-JP" altLang="en-US" sz="950"/>
                        <a:t>スケジュール</a:t>
                      </a: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ja-JP" altLang="en-US" sz="950">
                          <a:solidFill>
                            <a:schemeClr val="tx1"/>
                          </a:solidFill>
                        </a:rPr>
                        <a:t>１．スケジュール（</a:t>
                      </a:r>
                      <a:r>
                        <a:rPr kumimoji="1" lang="en-US" altLang="ja-JP" sz="950">
                          <a:solidFill>
                            <a:schemeClr val="tx1"/>
                          </a:solidFill>
                        </a:rPr>
                        <a:t>WBS</a:t>
                      </a:r>
                      <a:r>
                        <a:rPr kumimoji="1" lang="ja-JP" altLang="en-US" sz="950">
                          <a:solidFill>
                            <a:schemeClr val="tx1"/>
                          </a:solidFill>
                        </a:rPr>
                        <a:t>ガントチャート）</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lnB w="9525" cap="flat" cmpd="sng" algn="ctr">
                      <a:solidFill>
                        <a:srgbClr val="E4E4E4"/>
                      </a:solidFill>
                      <a:prstDash val="solid"/>
                      <a:round/>
                      <a:headEnd type="none" w="med" len="med"/>
                      <a:tailEnd type="none" w="med" len="med"/>
                    </a:lnB>
                    <a:noFill/>
                  </a:tcPr>
                </a:tc>
                <a:tc>
                  <a:txBody>
                    <a:bodyPr/>
                    <a:lstStyle/>
                    <a:p>
                      <a:r>
                        <a:rPr kumimoji="1" lang="ja-JP" altLang="en-US" sz="950">
                          <a:solidFill>
                            <a:schemeClr val="tx1"/>
                          </a:solidFill>
                        </a:rPr>
                        <a:t>プロジェクトのタイムラインを設定し、各フェーズの期間を明確にする</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2006140479"/>
                  </a:ext>
                </a:extLst>
              </a:tr>
              <a:tr h="233238">
                <a:tc>
                  <a:txBody>
                    <a:bodyPr/>
                    <a:lstStyle/>
                    <a:p>
                      <a:endParaRPr kumimoji="1" lang="ja-JP" altLang="en-US" sz="95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kumimoji="1" lang="ja-JP" altLang="en-US" sz="95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950">
                          <a:solidFill>
                            <a:schemeClr val="tx1"/>
                          </a:solidFill>
                        </a:rPr>
                        <a:t>2.</a:t>
                      </a:r>
                      <a:r>
                        <a:rPr kumimoji="1" lang="ja-JP" altLang="en-US" sz="950">
                          <a:solidFill>
                            <a:schemeClr val="tx1"/>
                          </a:solidFill>
                        </a:rPr>
                        <a:t>プロジェクトのフロー</a:t>
                      </a:r>
                    </a:p>
                  </a:txBody>
                  <a:tcPr>
                    <a:lnL w="6350" cap="flat" cmpd="sng" algn="ctr">
                      <a:solidFill>
                        <a:srgbClr val="E4E4E4"/>
                      </a:solidFill>
                      <a:prstDash val="solid"/>
                      <a:round/>
                      <a:headEnd type="none" w="med" len="med"/>
                      <a:tailEnd type="none" w="med" len="med"/>
                    </a:lnL>
                    <a:lnT w="9525"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950">
                          <a:solidFill>
                            <a:schemeClr val="tx1"/>
                          </a:solidFill>
                        </a:rPr>
                        <a:t>WBS/</a:t>
                      </a:r>
                      <a:r>
                        <a:rPr kumimoji="1" lang="ja-JP" altLang="en-US" sz="950">
                          <a:solidFill>
                            <a:schemeClr val="tx1"/>
                          </a:solidFill>
                        </a:rPr>
                        <a:t>ガントをベースとして、大きなマイルストン単位でプロジェクトの進め方をフロー化する</a:t>
                      </a:r>
                    </a:p>
                  </a:txBody>
                  <a:tcPr>
                    <a:lnR w="19050" cap="flat" cmpd="sng" algn="ctr">
                      <a:solidFill>
                        <a:schemeClr val="tx1"/>
                      </a:solidFill>
                      <a:prstDash val="solid"/>
                      <a:round/>
                      <a:headEnd type="none" w="med" len="med"/>
                      <a:tailEnd type="none" w="med" len="med"/>
                    </a:lnR>
                    <a:lnT w="9525"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08472981"/>
                  </a:ext>
                </a:extLst>
              </a:tr>
              <a:tr h="233238">
                <a:tc>
                  <a:txBody>
                    <a:bodyPr/>
                    <a:lstStyle/>
                    <a:p>
                      <a:r>
                        <a:rPr kumimoji="1" lang="en-US" altLang="ja-JP" sz="950"/>
                        <a:t>Ⅵ</a:t>
                      </a:r>
                      <a:endParaRPr kumimoji="1" lang="ja-JP" altLang="en-US" sz="950"/>
                    </a:p>
                  </a:txBody>
                  <a:tcPr>
                    <a:lnL w="19050" cap="flat" cmpd="sng" algn="ctr">
                      <a:solidFill>
                        <a:schemeClr val="tx1"/>
                      </a:solidFill>
                      <a:prstDash val="solid"/>
                      <a:round/>
                      <a:headEnd type="none" w="med" len="med"/>
                      <a:tailEnd type="none" w="med" len="med"/>
                    </a:lnL>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ja-JP" altLang="en-US" sz="950"/>
                        <a:t>マネジメント計画</a:t>
                      </a:r>
                    </a:p>
                  </a:txBody>
                  <a:tcPr>
                    <a:lnR w="6350" cap="flat" cmpd="sng" algn="ctr">
                      <a:solidFill>
                        <a:srgbClr val="E4E4E4"/>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950">
                          <a:solidFill>
                            <a:schemeClr val="tx1"/>
                          </a:solidFill>
                        </a:rPr>
                        <a:t>1.</a:t>
                      </a:r>
                      <a:r>
                        <a:rPr kumimoji="1" lang="ja-JP" altLang="en-US" sz="950">
                          <a:solidFill>
                            <a:schemeClr val="tx1"/>
                          </a:solidFill>
                        </a:rPr>
                        <a:t>リスク・課題</a:t>
                      </a:r>
                    </a:p>
                  </a:txBody>
                  <a:tcPr>
                    <a:lnL w="6350" cap="flat" cmpd="sng" algn="ctr">
                      <a:solidFill>
                        <a:srgbClr val="E4E4E4"/>
                      </a:solidFill>
                      <a:prstDash val="solid"/>
                      <a:round/>
                      <a:headEnd type="none" w="med" len="med"/>
                      <a:tailEnd type="none" w="med" len="med"/>
                    </a:lnL>
                    <a:lnT w="19050" cap="flat" cmpd="sng" algn="ctr">
                      <a:solidFill>
                        <a:schemeClr val="tx1"/>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950">
                          <a:solidFill>
                            <a:schemeClr val="tx1"/>
                          </a:solidFill>
                        </a:rPr>
                        <a:t>プロジェクトにおける潜在的なリスクと現在の課題を特定し、それに対する対策を明確にする</a:t>
                      </a:r>
                    </a:p>
                  </a:txBody>
                  <a:tcPr>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192471222"/>
                  </a:ext>
                </a:extLst>
              </a:tr>
              <a:tr h="233238">
                <a:tc>
                  <a:txBody>
                    <a:bodyPr/>
                    <a:lstStyle/>
                    <a:p>
                      <a:endParaRPr kumimoji="1" lang="ja-JP" altLang="en-US" sz="95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95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950">
                          <a:solidFill>
                            <a:schemeClr val="tx1"/>
                          </a:solidFill>
                        </a:rPr>
                        <a:t>2.</a:t>
                      </a:r>
                      <a:r>
                        <a:rPr kumimoji="1" lang="ja-JP" altLang="en-US" sz="950">
                          <a:solidFill>
                            <a:schemeClr val="tx1"/>
                          </a:solidFill>
                        </a:rPr>
                        <a:t>コスト</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950">
                          <a:solidFill>
                            <a:schemeClr val="tx1"/>
                          </a:solidFill>
                        </a:rPr>
                        <a:t>プロジェクトのコストについて、項目ごとに明確にする</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3140313467"/>
                  </a:ext>
                </a:extLst>
              </a:tr>
              <a:tr h="233238">
                <a:tc>
                  <a:txBody>
                    <a:bodyPr/>
                    <a:lstStyle/>
                    <a:p>
                      <a:endParaRPr kumimoji="1" lang="ja-JP" altLang="en-US" sz="95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95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950">
                          <a:solidFill>
                            <a:schemeClr val="tx1"/>
                          </a:solidFill>
                        </a:rPr>
                        <a:t>3.</a:t>
                      </a:r>
                      <a:r>
                        <a:rPr kumimoji="1" lang="ja-JP" altLang="en-US" sz="950">
                          <a:solidFill>
                            <a:schemeClr val="tx1"/>
                          </a:solidFill>
                        </a:rPr>
                        <a:t>リソース（プロジェクト実施体制）</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950">
                          <a:solidFill>
                            <a:schemeClr val="tx1"/>
                          </a:solidFill>
                        </a:rPr>
                        <a:t>プロジェクトの実施体制について、表及び図を用いて個人単位で明確にする</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862614807"/>
                  </a:ext>
                </a:extLst>
              </a:tr>
              <a:tr h="233238">
                <a:tc>
                  <a:txBody>
                    <a:bodyPr/>
                    <a:lstStyle/>
                    <a:p>
                      <a:endParaRPr kumimoji="1" lang="ja-JP" altLang="en-US" sz="95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95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950">
                          <a:solidFill>
                            <a:schemeClr val="tx1"/>
                          </a:solidFill>
                        </a:rPr>
                        <a:t>4.</a:t>
                      </a:r>
                      <a:r>
                        <a:rPr kumimoji="1" lang="ja-JP" altLang="en-US" sz="950">
                          <a:solidFill>
                            <a:schemeClr val="tx1"/>
                          </a:solidFill>
                        </a:rPr>
                        <a:t>コミュニケーション</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950">
                          <a:solidFill>
                            <a:schemeClr val="tx1"/>
                          </a:solidFill>
                        </a:rPr>
                        <a:t>プロジェクト内部、国交省、支援事務局を含めた、本プロジェクト進行に必要なコミュニケーションプランを示す</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830154720"/>
                  </a:ext>
                </a:extLst>
              </a:tr>
              <a:tr h="233238">
                <a:tc>
                  <a:txBody>
                    <a:bodyPr/>
                    <a:lstStyle/>
                    <a:p>
                      <a:endParaRPr kumimoji="1" lang="ja-JP" altLang="en-US" sz="95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endParaRPr kumimoji="1" lang="ja-JP" altLang="en-US" sz="95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noFill/>
                  </a:tcPr>
                </a:tc>
                <a:tc>
                  <a:txBody>
                    <a:bodyPr/>
                    <a:lstStyle/>
                    <a:p>
                      <a:r>
                        <a:rPr kumimoji="1" lang="en-US" altLang="ja-JP" sz="950">
                          <a:solidFill>
                            <a:schemeClr val="tx1"/>
                          </a:solidFill>
                        </a:rPr>
                        <a:t>5.</a:t>
                      </a:r>
                      <a:r>
                        <a:rPr kumimoji="1" lang="ja-JP" altLang="en-US" sz="950">
                          <a:solidFill>
                            <a:schemeClr val="tx1"/>
                          </a:solidFill>
                        </a:rPr>
                        <a:t>品質</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tc>
                  <a:txBody>
                    <a:bodyPr/>
                    <a:lstStyle/>
                    <a:p>
                      <a:r>
                        <a:rPr kumimoji="1" lang="ja-JP" altLang="en-US" sz="950">
                          <a:solidFill>
                            <a:schemeClr val="tx1"/>
                          </a:solidFill>
                        </a:rPr>
                        <a:t>プロジェクトの品質基準を設定し、それを維持・向上させるための計画を明確にする</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6350" cap="flat" cmpd="sng" algn="ctr">
                      <a:solidFill>
                        <a:srgbClr val="E4E4E4"/>
                      </a:solidFill>
                      <a:prstDash val="solid"/>
                      <a:round/>
                      <a:headEnd type="none" w="med" len="med"/>
                      <a:tailEnd type="none" w="med" len="med"/>
                    </a:lnB>
                    <a:noFill/>
                  </a:tcPr>
                </a:tc>
                <a:extLst>
                  <a:ext uri="{0D108BD9-81ED-4DB2-BD59-A6C34878D82A}">
                    <a16:rowId xmlns:a16="http://schemas.microsoft.com/office/drawing/2014/main" val="1119873908"/>
                  </a:ext>
                </a:extLst>
              </a:tr>
              <a:tr h="233238">
                <a:tc>
                  <a:txBody>
                    <a:bodyPr/>
                    <a:lstStyle/>
                    <a:p>
                      <a:endParaRPr kumimoji="1" lang="ja-JP" altLang="en-US" sz="950"/>
                    </a:p>
                  </a:txBody>
                  <a:tcPr>
                    <a:lnL w="19050" cap="flat" cmpd="sng" algn="ctr">
                      <a:solidFill>
                        <a:schemeClr val="tx1"/>
                      </a:solidFill>
                      <a:prstDash val="solid"/>
                      <a:round/>
                      <a:headEnd type="none" w="med" len="med"/>
                      <a:tailEnd type="none" w="med" len="med"/>
                    </a:lnL>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endParaRPr kumimoji="1" lang="ja-JP" altLang="en-US" sz="950"/>
                    </a:p>
                  </a:txBody>
                  <a:tcPr>
                    <a:lnR w="6350" cap="flat" cmpd="sng" algn="ctr">
                      <a:solidFill>
                        <a:srgbClr val="E4E4E4"/>
                      </a:solid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en-US" altLang="ja-JP" sz="950">
                          <a:solidFill>
                            <a:schemeClr val="tx1"/>
                          </a:solidFill>
                        </a:rPr>
                        <a:t>6.</a:t>
                      </a:r>
                      <a:r>
                        <a:rPr kumimoji="1" lang="ja-JP" altLang="en-US" sz="950">
                          <a:solidFill>
                            <a:schemeClr val="tx1"/>
                          </a:solidFill>
                        </a:rPr>
                        <a:t>成果物</a:t>
                      </a:r>
                    </a:p>
                  </a:txBody>
                  <a:tcPr>
                    <a:lnL w="6350" cap="flat" cmpd="sng" algn="ctr">
                      <a:solidFill>
                        <a:srgbClr val="E4E4E4"/>
                      </a:solidFill>
                      <a:prstDash val="solid"/>
                      <a:round/>
                      <a:headEnd type="none" w="med" len="med"/>
                      <a:tailEnd type="none" w="med" len="med"/>
                    </a:lnL>
                    <a:lnT w="6350"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r>
                        <a:rPr kumimoji="1" lang="ja-JP" altLang="en-US" sz="950">
                          <a:solidFill>
                            <a:schemeClr val="tx1"/>
                          </a:solidFill>
                        </a:rPr>
                        <a:t>プロジェクトを実施することにより得られる成果物を示す</a:t>
                      </a:r>
                    </a:p>
                  </a:txBody>
                  <a:tcPr>
                    <a:lnR w="19050" cap="flat" cmpd="sng" algn="ctr">
                      <a:solidFill>
                        <a:schemeClr val="tx1"/>
                      </a:solidFill>
                      <a:prstDash val="solid"/>
                      <a:round/>
                      <a:headEnd type="none" w="med" len="med"/>
                      <a:tailEnd type="none" w="med" len="med"/>
                    </a:lnR>
                    <a:lnT w="6350" cap="flat" cmpd="sng" algn="ctr">
                      <a:solidFill>
                        <a:srgbClr val="E4E4E4"/>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383440"/>
                  </a:ext>
                </a:extLst>
              </a:tr>
            </a:tbl>
          </a:graphicData>
        </a:graphic>
      </p:graphicFrame>
    </p:spTree>
    <p:extLst>
      <p:ext uri="{BB962C8B-B14F-4D97-AF65-F5344CB8AC3E}">
        <p14:creationId xmlns:p14="http://schemas.microsoft.com/office/powerpoint/2010/main" val="4261027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85E02E86-1857-0430-484E-BB6E2039FE47}"/>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７</a:t>
            </a:r>
            <a:r>
              <a:rPr lang="en-US" altLang="ja-JP"/>
              <a:t>.</a:t>
            </a:r>
            <a:r>
              <a:rPr lang="ja-JP" altLang="en-US"/>
              <a:t>利用する技術要素</a:t>
            </a:r>
          </a:p>
        </p:txBody>
      </p:sp>
      <p:graphicFrame>
        <p:nvGraphicFramePr>
          <p:cNvPr id="3" name="表 2">
            <a:extLst>
              <a:ext uri="{FF2B5EF4-FFF2-40B4-BE49-F238E27FC236}">
                <a16:creationId xmlns:a16="http://schemas.microsoft.com/office/drawing/2014/main" id="{1E352AD7-4D05-33EE-61E0-3F07FA0F915F}"/>
              </a:ext>
            </a:extLst>
          </p:cNvPr>
          <p:cNvGraphicFramePr>
            <a:graphicFrameLocks noGrp="1"/>
          </p:cNvGraphicFramePr>
          <p:nvPr>
            <p:extLst>
              <p:ext uri="{D42A27DB-BD31-4B8C-83A1-F6EECF244321}">
                <p14:modId xmlns:p14="http://schemas.microsoft.com/office/powerpoint/2010/main" val="2588544493"/>
              </p:ext>
            </p:extLst>
          </p:nvPr>
        </p:nvGraphicFramePr>
        <p:xfrm>
          <a:off x="300777" y="2050275"/>
          <a:ext cx="11595948" cy="2731151"/>
        </p:xfrm>
        <a:graphic>
          <a:graphicData uri="http://schemas.openxmlformats.org/drawingml/2006/table">
            <a:tbl>
              <a:tblPr firstRow="1">
                <a:tableStyleId>{5940675A-B579-460E-94D1-54222C63F5DA}</a:tableStyleId>
              </a:tblPr>
              <a:tblGrid>
                <a:gridCol w="2239223">
                  <a:extLst>
                    <a:ext uri="{9D8B030D-6E8A-4147-A177-3AD203B41FA5}">
                      <a16:colId xmlns:a16="http://schemas.microsoft.com/office/drawing/2014/main" val="3505984062"/>
                    </a:ext>
                  </a:extLst>
                </a:gridCol>
                <a:gridCol w="2917825">
                  <a:extLst>
                    <a:ext uri="{9D8B030D-6E8A-4147-A177-3AD203B41FA5}">
                      <a16:colId xmlns:a16="http://schemas.microsoft.com/office/drawing/2014/main" val="1183473455"/>
                    </a:ext>
                  </a:extLst>
                </a:gridCol>
                <a:gridCol w="6438900">
                  <a:extLst>
                    <a:ext uri="{9D8B030D-6E8A-4147-A177-3AD203B41FA5}">
                      <a16:colId xmlns:a16="http://schemas.microsoft.com/office/drawing/2014/main" val="1554345629"/>
                    </a:ext>
                  </a:extLst>
                </a:gridCol>
              </a:tblGrid>
              <a:tr h="252938">
                <a:tc>
                  <a:txBody>
                    <a:bodyPr/>
                    <a:lstStyle/>
                    <a:p>
                      <a:pPr algn="l"/>
                      <a:r>
                        <a:rPr lang="ja-JP" sz="1400" b="1" kern="100">
                          <a:effectLst/>
                          <a:latin typeface="+mn-ea"/>
                          <a:ea typeface="+mn-ea"/>
                        </a:rPr>
                        <a:t>項目</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r>
                        <a:rPr lang="ja-JP" altLang="en-US" sz="1400" b="1" kern="100">
                          <a:effectLst/>
                          <a:latin typeface="+mn-ea"/>
                          <a:ea typeface="+mn-ea"/>
                          <a:cs typeface="Meiryo UI" panose="020B0604030504040204" pitchFamily="50" charset="-128"/>
                        </a:rPr>
                        <a:t>名称</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extLst>
                  <a:ext uri="{0D108BD9-81ED-4DB2-BD59-A6C34878D82A}">
                    <a16:rowId xmlns:a16="http://schemas.microsoft.com/office/drawing/2014/main" val="2329924580"/>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プログラミング言語</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ja-JP" altLang="en-US" sz="1400">
                          <a:solidFill>
                            <a:srgbClr val="0070C0"/>
                          </a:solidFill>
                          <a:latin typeface="+mn-ea"/>
                          <a:ea typeface="+mn-ea"/>
                        </a:rPr>
                        <a:t>Python, JavaScript</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1449842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RDBMS</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Amazon RDS for PostgreSQ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27061915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NoSQL</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ongoDB Atla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1352402600"/>
                  </a:ext>
                </a:extLst>
              </a:tr>
              <a:tr h="395507">
                <a:tc>
                  <a:txBody>
                    <a:bodyPr/>
                    <a:lstStyle/>
                    <a:p>
                      <a:pPr algn="just"/>
                      <a:r>
                        <a:rPr lang="en-US" altLang="ja-JP" sz="1400" kern="100">
                          <a:solidFill>
                            <a:srgbClr val="0070C0"/>
                          </a:solidFill>
                          <a:effectLst/>
                          <a:latin typeface="+mn-ea"/>
                          <a:ea typeface="+mn-ea"/>
                          <a:cs typeface="Meiryo UI" panose="020B0604030504040204" pitchFamily="50" charset="-128"/>
                        </a:rPr>
                        <a:t>WebGI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apribre, Deck.g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173848345"/>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BI</a:t>
                      </a:r>
                      <a:r>
                        <a:rPr lang="ja-JP" altLang="en-US" sz="1400" kern="100">
                          <a:solidFill>
                            <a:srgbClr val="0070C0"/>
                          </a:solidFill>
                          <a:effectLst/>
                          <a:latin typeface="+mn-ea"/>
                          <a:ea typeface="+mn-ea"/>
                          <a:cs typeface="Meiryo UI" panose="020B0604030504040204" pitchFamily="50" charset="-128"/>
                        </a:rPr>
                        <a:t>ツール</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a:solidFill>
                            <a:srgbClr val="0070C0"/>
                          </a:solidFill>
                          <a:latin typeface="+mn-ea"/>
                          <a:ea typeface="+mn-ea"/>
                        </a:rPr>
                        <a:t>Tableau</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231779892"/>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経路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ixway API</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68803341"/>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NW</a:t>
                      </a:r>
                      <a:r>
                        <a:rPr lang="ja-JP" altLang="en-US" sz="1400" kern="100">
                          <a:solidFill>
                            <a:srgbClr val="0070C0"/>
                          </a:solidFill>
                          <a:effectLst/>
                          <a:latin typeface="+mn-ea"/>
                          <a:ea typeface="+mn-ea"/>
                          <a:cs typeface="Meiryo UI" panose="020B0604030504040204" pitchFamily="50" charset="-128"/>
                        </a:rPr>
                        <a:t>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NAVITIME API</a:t>
                      </a: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430931605"/>
                  </a:ext>
                </a:extLst>
              </a:tr>
            </a:tbl>
          </a:graphicData>
        </a:graphic>
      </p:graphicFrame>
      <p:sp>
        <p:nvSpPr>
          <p:cNvPr id="4" name="テキスト ボックス 3">
            <a:extLst>
              <a:ext uri="{FF2B5EF4-FFF2-40B4-BE49-F238E27FC236}">
                <a16:creationId xmlns:a16="http://schemas.microsoft.com/office/drawing/2014/main" id="{A1277F05-26FA-BC40-8E8E-34D0007C0DF7}"/>
              </a:ext>
            </a:extLst>
          </p:cNvPr>
          <p:cNvSpPr txBox="1"/>
          <p:nvPr/>
        </p:nvSpPr>
        <p:spPr>
          <a:xfrm>
            <a:off x="3028006" y="3816975"/>
            <a:ext cx="6135987" cy="123416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において、使用する技術スタックやツールを明示し、それらの機能を説明してください。</a:t>
            </a:r>
          </a:p>
        </p:txBody>
      </p:sp>
    </p:spTree>
    <p:extLst>
      <p:ext uri="{BB962C8B-B14F-4D97-AF65-F5344CB8AC3E}">
        <p14:creationId xmlns:p14="http://schemas.microsoft.com/office/powerpoint/2010/main" val="35564007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20D49B5-780A-0B0E-081E-8188B35BACC6}"/>
              </a:ext>
            </a:extLst>
          </p:cNvPr>
          <p:cNvPicPr>
            <a:picLocks noChangeAspect="1"/>
          </p:cNvPicPr>
          <p:nvPr/>
        </p:nvPicPr>
        <p:blipFill>
          <a:blip r:embed="rId3"/>
          <a:stretch>
            <a:fillRect/>
          </a:stretch>
        </p:blipFill>
        <p:spPr>
          <a:xfrm>
            <a:off x="883308" y="1338394"/>
            <a:ext cx="9797121" cy="5303980"/>
          </a:xfrm>
          <a:prstGeom prst="rect">
            <a:avLst/>
          </a:prstGeom>
        </p:spPr>
      </p:pic>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8" imgH="608" progId="TCLayout.ActiveDocument.1">
                  <p:embed/>
                </p:oleObj>
              </mc:Choice>
              <mc:Fallback>
                <p:oleObj name="think-cell スライド" r:id="rId4"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Ⅱ.</a:t>
            </a:r>
            <a:r>
              <a:rPr lang="ja-JP" altLang="en-US"/>
              <a:t>交通サービスの高度化</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a:t>８</a:t>
            </a:r>
            <a:r>
              <a:rPr kumimoji="1" lang="en-US" altLang="ja-JP"/>
              <a:t>.</a:t>
            </a:r>
            <a:r>
              <a:rPr kumimoji="1" lang="ja-JP" altLang="en-US"/>
              <a:t>ユーザインタフェース｜全体</a:t>
            </a:r>
            <a:r>
              <a:rPr lang="en-US" altLang="ja-JP"/>
              <a:t>UI/UX</a:t>
            </a:r>
            <a:r>
              <a:rPr lang="ja-JP" altLang="en-US"/>
              <a:t>、画面遷移図</a:t>
            </a:r>
            <a:endParaRPr kumimoji="1" lang="ja-JP" altLang="en-US"/>
          </a:p>
        </p:txBody>
      </p:sp>
      <p:sp>
        <p:nvSpPr>
          <p:cNvPr id="7" name="テキスト ボックス 6">
            <a:extLst>
              <a:ext uri="{FF2B5EF4-FFF2-40B4-BE49-F238E27FC236}">
                <a16:creationId xmlns:a16="http://schemas.microsoft.com/office/drawing/2014/main" id="{4AF50D1B-B984-2378-E84F-10D1B7500960}"/>
              </a:ext>
            </a:extLst>
          </p:cNvPr>
          <p:cNvSpPr txBox="1"/>
          <p:nvPr/>
        </p:nvSpPr>
        <p:spPr>
          <a:xfrm>
            <a:off x="2290774" y="2797550"/>
            <a:ext cx="6982188"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エンドユーザー（コンシューマ）とシステム管理者等（交通事業者や自治体）の両面からユーザーインターフェースを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予定を含む基本的な設計方針と構成要素でも構いません。​</a:t>
            </a: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設計には、画面遷移図、主要な</a:t>
            </a: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コンポーネント、ユーザーフローを含めてください。</a:t>
            </a:r>
            <a:endParaRPr kumimoji="0" lang="en-US" altLang="ja-JP" sz="1400" b="0" i="0" u="none" strike="noStrike" kern="0" cap="none" spc="0" normalizeH="0" baseline="0" noProof="0">
              <a:ln>
                <a:noFill/>
              </a:ln>
              <a:solidFill>
                <a:srgbClr val="FFFFFF"/>
              </a:solidFill>
              <a:effectLst/>
              <a:uLnTx/>
              <a:uFillTx/>
            </a:endParaRPr>
          </a:p>
          <a:p>
            <a:pPr>
              <a:spcBef>
                <a:spcPts val="300"/>
              </a:spcBef>
              <a:defRPr/>
            </a:pPr>
            <a:r>
              <a:rPr kumimoji="1" lang="ja-JP" altLang="en-US" sz="1400" b="0" i="0" u="none" strike="noStrike" kern="1200" cap="none" spc="0" normalizeH="0" baseline="0" noProof="0">
                <a:ln>
                  <a:noFill/>
                </a:ln>
                <a:solidFill>
                  <a:schemeClr val="bg1"/>
                </a:solidFill>
                <a:effectLst/>
                <a:uLnTx/>
                <a:uFillTx/>
                <a:latin typeface="BIZ UDPゴシック"/>
                <a:ea typeface="BIZ UDPゴシック"/>
                <a:cs typeface="+mn-cs"/>
              </a:rPr>
              <a:t>画像はサンプルです。提出時に削除してください。</a:t>
            </a:r>
            <a:r>
              <a:rPr kumimoji="0" lang="ja-JP" altLang="en-US" sz="1400" b="0" i="0" u="none" strike="noStrike" kern="0" cap="none" spc="0" normalizeH="0" baseline="0" noProof="0">
                <a:ln>
                  <a:noFill/>
                </a:ln>
                <a:solidFill>
                  <a:srgbClr val="FFFFFF"/>
                </a:solidFill>
                <a:effectLst/>
                <a:uLnTx/>
                <a:uFillTx/>
              </a:rPr>
              <a:t>​</a:t>
            </a:r>
          </a:p>
        </p:txBody>
      </p:sp>
    </p:spTree>
    <p:extLst>
      <p:ext uri="{BB962C8B-B14F-4D97-AF65-F5344CB8AC3E}">
        <p14:creationId xmlns:p14="http://schemas.microsoft.com/office/powerpoint/2010/main" val="13597784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08" imgH="608" progId="TCLayout.ActiveDocument.1">
                  <p:embed/>
                </p:oleObj>
              </mc:Choice>
              <mc:Fallback>
                <p:oleObj name="think-cell スライド" r:id="rId3"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Ⅱ.</a:t>
            </a:r>
            <a:r>
              <a:rPr lang="ja-JP" altLang="en-US"/>
              <a:t>交通サービスの高度化</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a:t>８</a:t>
            </a:r>
            <a:r>
              <a:rPr kumimoji="1" lang="en-US" altLang="ja-JP"/>
              <a:t>.</a:t>
            </a:r>
            <a:r>
              <a:rPr kumimoji="1" lang="ja-JP" altLang="en-US"/>
              <a:t>ユーザインタフェース｜画面ごとの機能一覧</a:t>
            </a:r>
          </a:p>
        </p:txBody>
      </p:sp>
      <p:graphicFrame>
        <p:nvGraphicFramePr>
          <p:cNvPr id="5" name="表 4">
            <a:extLst>
              <a:ext uri="{FF2B5EF4-FFF2-40B4-BE49-F238E27FC236}">
                <a16:creationId xmlns:a16="http://schemas.microsoft.com/office/drawing/2014/main" id="{61B29258-DA16-BE71-3B81-5C7F078688CC}"/>
              </a:ext>
            </a:extLst>
          </p:cNvPr>
          <p:cNvGraphicFramePr>
            <a:graphicFrameLocks noGrp="1"/>
          </p:cNvGraphicFramePr>
          <p:nvPr>
            <p:extLst>
              <p:ext uri="{D42A27DB-BD31-4B8C-83A1-F6EECF244321}">
                <p14:modId xmlns:p14="http://schemas.microsoft.com/office/powerpoint/2010/main" val="438084773"/>
              </p:ext>
            </p:extLst>
          </p:nvPr>
        </p:nvGraphicFramePr>
        <p:xfrm>
          <a:off x="300779" y="2071102"/>
          <a:ext cx="11591184" cy="2796749"/>
        </p:xfrm>
        <a:graphic>
          <a:graphicData uri="http://schemas.openxmlformats.org/drawingml/2006/table">
            <a:tbl>
              <a:tblPr firstRow="1" firstCol="1" bandRow="1">
                <a:tableStyleId>{5C22544A-7EE6-4342-B048-85BDC9FD1C3A}</a:tableStyleId>
              </a:tblPr>
              <a:tblGrid>
                <a:gridCol w="1713172">
                  <a:extLst>
                    <a:ext uri="{9D8B030D-6E8A-4147-A177-3AD203B41FA5}">
                      <a16:colId xmlns:a16="http://schemas.microsoft.com/office/drawing/2014/main" val="816785244"/>
                    </a:ext>
                  </a:extLst>
                </a:gridCol>
                <a:gridCol w="2792382">
                  <a:extLst>
                    <a:ext uri="{9D8B030D-6E8A-4147-A177-3AD203B41FA5}">
                      <a16:colId xmlns:a16="http://schemas.microsoft.com/office/drawing/2014/main" val="3259469306"/>
                    </a:ext>
                  </a:extLst>
                </a:gridCol>
                <a:gridCol w="7085630">
                  <a:extLst>
                    <a:ext uri="{9D8B030D-6E8A-4147-A177-3AD203B41FA5}">
                      <a16:colId xmlns:a16="http://schemas.microsoft.com/office/drawing/2014/main" val="1071912486"/>
                    </a:ext>
                  </a:extLst>
                </a:gridCol>
              </a:tblGrid>
              <a:tr h="356134">
                <a:tc>
                  <a:txBody>
                    <a:bodyPr/>
                    <a:lstStyle/>
                    <a:p>
                      <a:pPr algn="just"/>
                      <a:r>
                        <a:rPr lang="en-US" sz="1400" b="0" kern="100">
                          <a:solidFill>
                            <a:schemeClr val="tx1"/>
                          </a:solidFill>
                          <a:effectLst/>
                        </a:rPr>
                        <a:t>ID</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名</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説明</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877939"/>
                  </a:ext>
                </a:extLst>
              </a:tr>
              <a:tr h="356134">
                <a:tc>
                  <a:txBody>
                    <a:bodyPr/>
                    <a:lstStyle/>
                    <a:p>
                      <a:pPr algn="l"/>
                      <a:r>
                        <a:rPr lang="en-US" sz="1400" b="0" kern="100">
                          <a:solidFill>
                            <a:srgbClr val="0070C0"/>
                          </a:solidFill>
                          <a:effectLst/>
                          <a:latin typeface="+mn-ea"/>
                          <a:ea typeface="+mn-ea"/>
                        </a:rPr>
                        <a:t>SC001</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認証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メールアカウントとパスワードで認証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418220"/>
                  </a:ext>
                </a:extLst>
              </a:tr>
              <a:tr h="687707">
                <a:tc>
                  <a:txBody>
                    <a:bodyPr/>
                    <a:lstStyle/>
                    <a:p>
                      <a:pPr algn="l"/>
                      <a:r>
                        <a:rPr lang="en-US" sz="1400" b="0" kern="100">
                          <a:solidFill>
                            <a:srgbClr val="0070C0"/>
                          </a:solidFill>
                          <a:effectLst/>
                          <a:latin typeface="+mn-ea"/>
                          <a:ea typeface="+mn-ea"/>
                        </a:rPr>
                        <a:t>SC002</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メインビュー</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各種データを用いて、該当エリアの公共交通の状態を評価する指標を提示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8847348"/>
                  </a:ext>
                </a:extLst>
              </a:tr>
              <a:tr h="487716">
                <a:tc>
                  <a:txBody>
                    <a:bodyPr/>
                    <a:lstStyle/>
                    <a:p>
                      <a:pPr algn="l"/>
                      <a:r>
                        <a:rPr lang="en-US" sz="1400" b="0" kern="100">
                          <a:solidFill>
                            <a:srgbClr val="0070C0"/>
                          </a:solidFill>
                          <a:effectLst/>
                          <a:latin typeface="+mn-ea"/>
                          <a:ea typeface="+mn-ea"/>
                        </a:rPr>
                        <a:t>SC003</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自治体職員向け設定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ja-JP" altLang="en-US" sz="1400" b="0" kern="100">
                          <a:solidFill>
                            <a:srgbClr val="0070C0"/>
                          </a:solidFill>
                          <a:effectLst/>
                          <a:latin typeface="+mn-ea"/>
                          <a:ea typeface="+mn-ea"/>
                          <a:cs typeface="Meiryo UI" panose="020B0604030504040204" pitchFamily="50" charset="-128"/>
                        </a:rPr>
                        <a:t>職員がデータ分析における各指標の目標値を設定する画面。</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0099281"/>
                  </a:ext>
                </a:extLst>
              </a:tr>
              <a:tr h="356134">
                <a:tc>
                  <a:txBody>
                    <a:bodyPr/>
                    <a:lstStyle/>
                    <a:p>
                      <a:pPr algn="l"/>
                      <a:r>
                        <a:rPr lang="en-US" sz="1400" b="0" kern="100">
                          <a:solidFill>
                            <a:srgbClr val="0070C0"/>
                          </a:solidFill>
                          <a:effectLst/>
                          <a:latin typeface="+mn-ea"/>
                          <a:ea typeface="+mn-ea"/>
                        </a:rPr>
                        <a:t>SC004</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ユーザー管理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ユーザーに応じた権限付与を実施する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80707"/>
                  </a:ext>
                </a:extLst>
              </a:tr>
              <a:tr h="356134">
                <a:tc>
                  <a:txBody>
                    <a:bodyPr/>
                    <a:lstStyle/>
                    <a:p>
                      <a:pPr algn="l"/>
                      <a:r>
                        <a:rPr lang="en-US" sz="1400" b="0" kern="100">
                          <a:solidFill>
                            <a:srgbClr val="0070C0"/>
                          </a:solidFill>
                          <a:effectLst/>
                          <a:latin typeface="+mn-ea"/>
                          <a:ea typeface="+mn-ea"/>
                        </a:rPr>
                        <a:t>SC005</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en-US" altLang="ja-JP" sz="1400" b="0" kern="100">
                          <a:solidFill>
                            <a:srgbClr val="0070C0"/>
                          </a:solidFill>
                          <a:effectLst/>
                          <a:latin typeface="+mn-ea"/>
                          <a:ea typeface="+mn-ea"/>
                          <a:cs typeface="Meiryo UI" panose="020B0604030504040204" pitchFamily="50" charset="-128"/>
                        </a:rPr>
                        <a:t>XXXXXXXXX</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ja-JP" sz="1400" b="0" kern="100">
                          <a:solidFill>
                            <a:srgbClr val="0070C0"/>
                          </a:solidFill>
                          <a:effectLst/>
                          <a:latin typeface="+mn-ea"/>
                          <a:ea typeface="+mn-ea"/>
                          <a:cs typeface="Meiryo UI" panose="020B0604030504040204" pitchFamily="50" charset="-128"/>
                        </a:rPr>
                        <a:t>XXXXXXXXXX</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8800064"/>
                  </a:ext>
                </a:extLst>
              </a:tr>
            </a:tbl>
          </a:graphicData>
        </a:graphic>
      </p:graphicFrame>
      <p:sp>
        <p:nvSpPr>
          <p:cNvPr id="7" name="テキスト ボックス 6">
            <a:extLst>
              <a:ext uri="{FF2B5EF4-FFF2-40B4-BE49-F238E27FC236}">
                <a16:creationId xmlns:a16="http://schemas.microsoft.com/office/drawing/2014/main" id="{8ACCDA4C-8810-C7E1-7188-E18006A44257}"/>
              </a:ext>
            </a:extLst>
          </p:cNvPr>
          <p:cNvSpPr txBox="1"/>
          <p:nvPr/>
        </p:nvSpPr>
        <p:spPr>
          <a:xfrm>
            <a:off x="2920785" y="3675017"/>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で定義した画面設計に従い、各画面が提供する機能について記載してください。</a:t>
            </a:r>
          </a:p>
        </p:txBody>
      </p:sp>
    </p:spTree>
    <p:extLst>
      <p:ext uri="{BB962C8B-B14F-4D97-AF65-F5344CB8AC3E}">
        <p14:creationId xmlns:p14="http://schemas.microsoft.com/office/powerpoint/2010/main" val="14603075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7">
            <a:extLst>
              <a:ext uri="{FF2B5EF4-FFF2-40B4-BE49-F238E27FC236}">
                <a16:creationId xmlns:a16="http://schemas.microsoft.com/office/drawing/2014/main" id="{12ACD507-CDCD-7967-B093-33A8EA8B50AD}"/>
              </a:ext>
            </a:extLst>
          </p:cNvPr>
          <p:cNvGraphicFramePr>
            <a:graphicFrameLocks noGrp="1"/>
          </p:cNvGraphicFramePr>
          <p:nvPr>
            <p:extLst>
              <p:ext uri="{D42A27DB-BD31-4B8C-83A1-F6EECF244321}">
                <p14:modId xmlns:p14="http://schemas.microsoft.com/office/powerpoint/2010/main" val="591926420"/>
              </p:ext>
            </p:extLst>
          </p:nvPr>
        </p:nvGraphicFramePr>
        <p:xfrm>
          <a:off x="293687" y="1505156"/>
          <a:ext cx="11604626" cy="4960710"/>
        </p:xfrm>
        <a:graphic>
          <a:graphicData uri="http://schemas.openxmlformats.org/drawingml/2006/table">
            <a:tbl>
              <a:tblPr>
                <a:tableStyleId>{5C22544A-7EE6-4342-B048-85BDC9FD1C3A}</a:tableStyleId>
              </a:tblPr>
              <a:tblGrid>
                <a:gridCol w="5116513">
                  <a:extLst>
                    <a:ext uri="{9D8B030D-6E8A-4147-A177-3AD203B41FA5}">
                      <a16:colId xmlns:a16="http://schemas.microsoft.com/office/drawing/2014/main" val="564283603"/>
                    </a:ext>
                  </a:extLst>
                </a:gridCol>
                <a:gridCol w="6488113">
                  <a:extLst>
                    <a:ext uri="{9D8B030D-6E8A-4147-A177-3AD203B41FA5}">
                      <a16:colId xmlns:a16="http://schemas.microsoft.com/office/drawing/2014/main" val="1942113200"/>
                    </a:ext>
                  </a:extLst>
                </a:gridCol>
              </a:tblGrid>
              <a:tr h="406886">
                <a:tc>
                  <a:txBody>
                    <a:bodyPr/>
                    <a:lstStyle/>
                    <a:p>
                      <a:r>
                        <a:rPr kumimoji="1" lang="ja-JP" altLang="en-US" sz="1400" b="1">
                          <a:latin typeface="+mn-ea"/>
                          <a:ea typeface="+mn-ea"/>
                        </a:rPr>
                        <a:t>関係者（名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400" b="1">
                          <a:latin typeface="+mn-ea"/>
                          <a:ea typeface="+mn-ea"/>
                        </a:rPr>
                        <a:t>役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437416">
                <a:tc>
                  <a:txBody>
                    <a:bodyPr/>
                    <a:lstStyle/>
                    <a:p>
                      <a:r>
                        <a:rPr kumimoji="1" lang="en-US" altLang="ja-JP" sz="1400">
                          <a:solidFill>
                            <a:srgbClr val="0070C0"/>
                          </a:solidFill>
                          <a:latin typeface="+mn-ea"/>
                          <a:ea typeface="+mn-ea"/>
                        </a:rPr>
                        <a:t>AA</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全体統括、企画運営</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4374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BB</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MaaS</a:t>
                      </a:r>
                      <a:r>
                        <a:rPr kumimoji="1" lang="ja-JP" altLang="en-US" sz="1400">
                          <a:solidFill>
                            <a:srgbClr val="0070C0"/>
                          </a:solidFill>
                          <a:latin typeface="+mn-ea"/>
                          <a:ea typeface="+mn-ea"/>
                        </a:rPr>
                        <a:t>アプリ改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5026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CC</a:t>
                      </a:r>
                      <a:r>
                        <a:rPr kumimoji="1" lang="ja-JP" altLang="en-US" sz="1400">
                          <a:solidFill>
                            <a:srgbClr val="0070C0"/>
                          </a:solidFill>
                          <a:latin typeface="+mn-ea"/>
                          <a:ea typeface="+mn-ea"/>
                        </a:rPr>
                        <a:t>鉄道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鉄道運行自動車</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線（全線），●●線（●●空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502689">
                <a:tc>
                  <a:txBody>
                    <a:bodyPr/>
                    <a:lstStyle/>
                    <a:p>
                      <a:r>
                        <a:rPr kumimoji="1" lang="en-US" altLang="ja-JP" sz="1400">
                          <a:solidFill>
                            <a:srgbClr val="0070C0"/>
                          </a:solidFill>
                          <a:latin typeface="+mn-ea"/>
                          <a:ea typeface="+mn-ea"/>
                        </a:rPr>
                        <a:t>DD</a:t>
                      </a:r>
                      <a:r>
                        <a:rPr kumimoji="1" lang="ja-JP" altLang="en-US" sz="1400">
                          <a:solidFill>
                            <a:srgbClr val="0070C0"/>
                          </a:solidFill>
                          <a:latin typeface="+mn-ea"/>
                          <a:ea typeface="+mn-ea"/>
                        </a:rPr>
                        <a:t>バス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バス運行事業者</a:t>
                      </a:r>
                    </a:p>
                    <a:p>
                      <a:r>
                        <a:rPr kumimoji="1" lang="en-US" altLang="ja-JP" sz="1400">
                          <a:solidFill>
                            <a:srgbClr val="0070C0"/>
                          </a:solidFill>
                          <a:latin typeface="+mn-ea"/>
                          <a:ea typeface="+mn-ea"/>
                        </a:rPr>
                        <a:t>××</a:t>
                      </a:r>
                      <a:r>
                        <a:rPr kumimoji="1" lang="ja-JP" altLang="en-US" sz="1400">
                          <a:solidFill>
                            <a:srgbClr val="0070C0"/>
                          </a:solidFill>
                          <a:latin typeface="+mn-ea"/>
                          <a:ea typeface="+mn-ea"/>
                        </a:rPr>
                        <a:t>～</a:t>
                      </a:r>
                      <a:r>
                        <a:rPr kumimoji="1" lang="en-US" altLang="ja-JP" sz="1400">
                          <a:solidFill>
                            <a:srgbClr val="0070C0"/>
                          </a:solidFill>
                          <a:latin typeface="+mn-ea"/>
                          <a:ea typeface="+mn-ea"/>
                        </a:rPr>
                        <a:t>××</a:t>
                      </a:r>
                      <a:r>
                        <a:rPr kumimoji="1" lang="ja-JP" altLang="en-US" sz="1400">
                          <a:solidFill>
                            <a:srgbClr val="0070C0"/>
                          </a:solidFill>
                          <a:latin typeface="+mn-ea"/>
                          <a:ea typeface="+mn-ea"/>
                        </a:rPr>
                        <a:t>線、</a:t>
                      </a:r>
                      <a:r>
                        <a:rPr kumimoji="1" lang="en-US" altLang="ja-JP" sz="1400">
                          <a:solidFill>
                            <a:srgbClr val="0070C0"/>
                          </a:solidFill>
                          <a:latin typeface="+mn-ea"/>
                          <a:ea typeface="+mn-ea"/>
                        </a:rPr>
                        <a:t>××</a:t>
                      </a:r>
                      <a:r>
                        <a:rPr kumimoji="1" lang="ja-JP" altLang="en-US" sz="1400">
                          <a:solidFill>
                            <a:srgbClr val="0070C0"/>
                          </a:solidFill>
                          <a:latin typeface="+mn-ea"/>
                          <a:ea typeface="+mn-ea"/>
                        </a:rPr>
                        <a:t>～</a:t>
                      </a:r>
                      <a:r>
                        <a:rPr kumimoji="1" lang="en-US" altLang="ja-JP" sz="1400">
                          <a:solidFill>
                            <a:srgbClr val="0070C0"/>
                          </a:solidFill>
                          <a:latin typeface="+mn-ea"/>
                          <a:ea typeface="+mn-ea"/>
                        </a:rPr>
                        <a:t>××</a:t>
                      </a:r>
                      <a:r>
                        <a:rPr kumimoji="1" lang="ja-JP" altLang="en-US" sz="1400">
                          <a:solidFill>
                            <a:srgbClr val="0070C0"/>
                          </a:solidFill>
                          <a:latin typeface="+mn-ea"/>
                          <a:ea typeface="+mn-ea"/>
                        </a:rPr>
                        <a:t>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709679">
                <a:tc>
                  <a:txBody>
                    <a:bodyPr/>
                    <a:lstStyle/>
                    <a:p>
                      <a:r>
                        <a:rPr kumimoji="1" lang="ja-JP" altLang="en-US" sz="1400">
                          <a:solidFill>
                            <a:srgbClr val="0070C0"/>
                          </a:solidFill>
                          <a:latin typeface="+mn-ea"/>
                          <a:ea typeface="+mn-ea"/>
                        </a:rPr>
                        <a:t>株式会社</a:t>
                      </a:r>
                      <a:r>
                        <a:rPr kumimoji="1" lang="en-US" altLang="ja-JP" sz="1400">
                          <a:solidFill>
                            <a:srgbClr val="0070C0"/>
                          </a:solidFill>
                          <a:latin typeface="+mn-ea"/>
                          <a:ea typeface="+mn-ea"/>
                        </a:rPr>
                        <a:t>EE</a:t>
                      </a:r>
                      <a:r>
                        <a:rPr kumimoji="1" lang="ja-JP" altLang="en-US" sz="1400">
                          <a:solidFill>
                            <a:srgbClr val="0070C0"/>
                          </a:solidFill>
                          <a:latin typeface="+mn-ea"/>
                          <a:ea typeface="+mn-ea"/>
                        </a:rPr>
                        <a:t>交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バス、デマンド運行事業者</a:t>
                      </a:r>
                    </a:p>
                    <a:p>
                      <a:r>
                        <a:rPr kumimoji="1" lang="ja-JP" altLang="en-US" sz="1400">
                          <a:solidFill>
                            <a:srgbClr val="0070C0"/>
                          </a:solidFill>
                          <a:latin typeface="+mn-ea"/>
                          <a:ea typeface="+mn-ea"/>
                        </a:rPr>
                        <a:t>・バス：□□～□□線、･･･</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デマンドバス：△△～△△、･･･</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3108121"/>
                  </a:ext>
                </a:extLst>
              </a:tr>
              <a:tr h="502689">
                <a:tc>
                  <a:txBody>
                    <a:bodyPr/>
                    <a:lstStyle/>
                    <a:p>
                      <a:r>
                        <a:rPr kumimoji="1" lang="en-US" altLang="ja-JP" sz="1400">
                          <a:solidFill>
                            <a:srgbClr val="0070C0"/>
                          </a:solidFill>
                          <a:latin typeface="+mn-ea"/>
                          <a:ea typeface="+mn-ea"/>
                        </a:rPr>
                        <a:t>FF</a:t>
                      </a:r>
                      <a:r>
                        <a:rPr kumimoji="1" lang="ja-JP" altLang="en-US" sz="1400">
                          <a:solidFill>
                            <a:srgbClr val="0070C0"/>
                          </a:solidFill>
                          <a:latin typeface="+mn-ea"/>
                          <a:ea typeface="+mn-ea"/>
                        </a:rPr>
                        <a:t>交通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タクシー運行事業者</a:t>
                      </a:r>
                      <a:endParaRPr kumimoji="1" lang="en-US" altLang="ja-JP" sz="1400">
                        <a:solidFill>
                          <a:srgbClr val="0070C0"/>
                        </a:solidFill>
                        <a:latin typeface="+mn-ea"/>
                        <a:ea typeface="+mn-ea"/>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9637259"/>
                  </a:ext>
                </a:extLst>
              </a:tr>
              <a:tr h="502689">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株式会社</a:t>
                      </a:r>
                      <a:r>
                        <a:rPr kumimoji="1" lang="en-US" altLang="ja-JP" sz="1400">
                          <a:solidFill>
                            <a:srgbClr val="0070C0"/>
                          </a:solidFill>
                          <a:latin typeface="+mn-ea"/>
                          <a:ea typeface="+mn-ea"/>
                        </a:rPr>
                        <a:t>GG</a:t>
                      </a:r>
                      <a:r>
                        <a:rPr kumimoji="1" lang="ja-JP" altLang="en-US" sz="1400">
                          <a:solidFill>
                            <a:srgbClr val="0070C0"/>
                          </a:solidFill>
                          <a:latin typeface="+mn-ea"/>
                          <a:ea typeface="+mn-ea"/>
                        </a:rPr>
                        <a:t>タクシー（◯◯）</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タクシー運行事業者</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エリ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27684720"/>
                  </a:ext>
                </a:extLst>
              </a:tr>
              <a:tr h="43741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HH</a:t>
                      </a:r>
                      <a:r>
                        <a:rPr kumimoji="1" lang="ja-JP" altLang="en-US" sz="1400">
                          <a:solidFill>
                            <a:srgbClr val="0070C0"/>
                          </a:solidFill>
                          <a:latin typeface="+mn-ea"/>
                          <a:ea typeface="+mn-ea"/>
                        </a:rPr>
                        <a:t>レンタサイクル協議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レンタサイクル事業者、マルチモーダル経路検索機能連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7168933"/>
                  </a:ext>
                </a:extLst>
              </a:tr>
              <a:tr h="43741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II</a:t>
                      </a:r>
                      <a:r>
                        <a:rPr kumimoji="1" lang="ja-JP" altLang="en-US" sz="1400">
                          <a:solidFill>
                            <a:srgbClr val="0070C0"/>
                          </a:solidFill>
                          <a:latin typeface="+mn-ea"/>
                          <a:ea typeface="+mn-ea"/>
                        </a:rPr>
                        <a:t>福祉事務所（◯◯）</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介護タクシー運行事業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55677518"/>
                  </a:ext>
                </a:extLst>
              </a:tr>
            </a:tbl>
          </a:graphicData>
        </a:graphic>
      </p:graphicFrame>
      <p:graphicFrame>
        <p:nvGraphicFramePr>
          <p:cNvPr id="5" name="think-cell data - do not delete" hidden="1">
            <a:extLst>
              <a:ext uri="{FF2B5EF4-FFF2-40B4-BE49-F238E27FC236}">
                <a16:creationId xmlns:a16="http://schemas.microsoft.com/office/drawing/2014/main" id="{513D425D-4833-5C45-A720-ECEB95C59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513D425D-4833-5C45-A720-ECEB95C59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43C330CB-8A4D-F4A2-AFFC-48CA4FB9C719}"/>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プレースホルダー 2">
            <a:extLst>
              <a:ext uri="{FF2B5EF4-FFF2-40B4-BE49-F238E27FC236}">
                <a16:creationId xmlns:a16="http://schemas.microsoft.com/office/drawing/2014/main" id="{6247E137-868B-539C-2D6E-DC37708CAC30}"/>
              </a:ext>
            </a:extLst>
          </p:cNvPr>
          <p:cNvSpPr>
            <a:spLocks noGrp="1"/>
          </p:cNvSpPr>
          <p:nvPr>
            <p:ph type="body" sz="quarter" idx="36"/>
          </p:nvPr>
        </p:nvSpPr>
        <p:spPr/>
        <p:txBody>
          <a:bodyPr/>
          <a:lstStyle/>
          <a:p>
            <a:r>
              <a:rPr lang="en-US" altLang="ja-JP"/>
              <a:t>Ⅱ.</a:t>
            </a:r>
            <a:r>
              <a:rPr lang="ja-JP" altLang="en-US"/>
              <a:t>交通サービスの高度化</a:t>
            </a:r>
          </a:p>
        </p:txBody>
      </p:sp>
      <p:sp>
        <p:nvSpPr>
          <p:cNvPr id="4" name="タイトル 3">
            <a:extLst>
              <a:ext uri="{FF2B5EF4-FFF2-40B4-BE49-F238E27FC236}">
                <a16:creationId xmlns:a16="http://schemas.microsoft.com/office/drawing/2014/main" id="{2C3BBDD6-C18E-A8D5-D35C-ABB97297C5DD}"/>
              </a:ext>
            </a:extLst>
          </p:cNvPr>
          <p:cNvSpPr>
            <a:spLocks noGrp="1"/>
          </p:cNvSpPr>
          <p:nvPr>
            <p:ph type="title"/>
          </p:nvPr>
        </p:nvSpPr>
        <p:spPr/>
        <p:txBody>
          <a:bodyPr vert="horz"/>
          <a:lstStyle/>
          <a:p>
            <a:r>
              <a:rPr kumimoji="1" lang="ja-JP" altLang="en-US"/>
              <a:t>９</a:t>
            </a:r>
            <a:r>
              <a:rPr kumimoji="1" lang="en-US" altLang="ja-JP"/>
              <a:t>.</a:t>
            </a:r>
            <a:r>
              <a:rPr lang="ja-JP" altLang="en-US"/>
              <a:t>事業の推進体制</a:t>
            </a:r>
            <a:endParaRPr kumimoji="1" lang="ja-JP" altLang="en-US"/>
          </a:p>
        </p:txBody>
      </p:sp>
      <p:sp>
        <p:nvSpPr>
          <p:cNvPr id="6" name="テキスト ボックス 5">
            <a:extLst>
              <a:ext uri="{FF2B5EF4-FFF2-40B4-BE49-F238E27FC236}">
                <a16:creationId xmlns:a16="http://schemas.microsoft.com/office/drawing/2014/main" id="{DF1069CE-7F5A-0645-E891-CDDA1E49F184}"/>
              </a:ext>
            </a:extLst>
          </p:cNvPr>
          <p:cNvSpPr txBox="1"/>
          <p:nvPr/>
        </p:nvSpPr>
        <p:spPr>
          <a:xfrm>
            <a:off x="2405904" y="3312979"/>
            <a:ext cx="6135987" cy="107405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交通サービスの高度化領域に関与する関係者を網羅的に特定し、役割を明確にしてください。​</a:t>
            </a:r>
          </a:p>
        </p:txBody>
      </p:sp>
    </p:spTree>
    <p:extLst>
      <p:ext uri="{BB962C8B-B14F-4D97-AF65-F5344CB8AC3E}">
        <p14:creationId xmlns:p14="http://schemas.microsoft.com/office/powerpoint/2010/main" val="641767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3973868" y="1298659"/>
            <a:ext cx="3639912" cy="291877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4" name="正方形/長方形 3">
            <a:extLst>
              <a:ext uri="{FF2B5EF4-FFF2-40B4-BE49-F238E27FC236}">
                <a16:creationId xmlns:a16="http://schemas.microsoft.com/office/drawing/2014/main" id="{656548E7-DAB2-DF61-6E7C-CFBD0EE09A37}"/>
              </a:ext>
            </a:extLst>
          </p:cNvPr>
          <p:cNvSpPr/>
          <p:nvPr/>
        </p:nvSpPr>
        <p:spPr>
          <a:xfrm>
            <a:off x="150389" y="1286401"/>
            <a:ext cx="11876770" cy="5232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a:solidFill>
                  <a:srgbClr val="000000"/>
                </a:solidFill>
                <a:latin typeface="BIZ UDPゴシック"/>
                <a:ea typeface="BIZ UDPゴシック"/>
              </a:rPr>
              <a:t>KPI</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サービス全体像</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実証仮説</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スコープ詳細　</a:t>
            </a:r>
            <a:endParaRPr lang="en-US" altLang="ja-JP" sz="160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a:solidFill>
                  <a:srgbClr val="000000"/>
                </a:solidFill>
                <a:latin typeface="BIZ UDPゴシック"/>
                <a:ea typeface="BIZ UDPゴシック"/>
              </a:rPr>
              <a:t>データ活用の</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政策連携</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施内容の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スケジュール（</a:t>
            </a:r>
            <a:r>
              <a:rPr lang="en-US" altLang="ja-JP" sz="1600">
                <a:solidFill>
                  <a:srgbClr val="000000"/>
                </a:solidFill>
                <a:latin typeface="BIZ UDPゴシック"/>
                <a:ea typeface="BIZ UDPゴシック"/>
              </a:rPr>
              <a:t>WBS</a:t>
            </a:r>
            <a:r>
              <a:rPr lang="ja-JP" altLang="en-US" sz="1600">
                <a:solidFill>
                  <a:srgbClr val="000000"/>
                </a:solidFill>
                <a:latin typeface="BIZ UDPゴシック"/>
                <a:ea typeface="BIZ UDPゴシック"/>
              </a:rPr>
              <a:t>ガントチャー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プロジェクトのフロー</a:t>
            </a:r>
            <a:endParaRPr lang="en-US" altLang="ja-JP" sz="160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成果物</a:t>
            </a: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34143196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データ活用の全体像</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11925" y="1652213"/>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全体像</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交通事業者が保有する</a:t>
            </a:r>
            <a:r>
              <a:rPr lang="en-US" altLang="ja-JP" sz="1200">
                <a:solidFill>
                  <a:srgbClr val="0070C0"/>
                </a:solidFill>
                <a:latin typeface="BIZ UDPゴシック"/>
                <a:ea typeface="BIZ UDPゴシック"/>
              </a:rPr>
              <a:t>IC</a:t>
            </a:r>
            <a:r>
              <a:rPr lang="ja-JP" altLang="en-US" sz="1200">
                <a:solidFill>
                  <a:srgbClr val="0070C0"/>
                </a:solidFill>
                <a:latin typeface="BIZ UDPゴシック"/>
                <a:ea typeface="BIZ UDPゴシック"/>
              </a:rPr>
              <a:t>カードデータや運行データのほか、人流データ、既存の調査結果のデータ等を組み合わせることで、自治体と交通事業者が地域の移動需要と実態を正確に把握し、地域の公共交通のあり方、交通網の再編につながる施策検討を実施できるような環境を構築する</a:t>
            </a: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データ分析の実施</a:t>
            </a: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交通事業者から</a:t>
            </a:r>
            <a:r>
              <a:rPr lang="en-US" altLang="ja-JP" sz="1200">
                <a:solidFill>
                  <a:srgbClr val="0070C0"/>
                </a:solidFill>
                <a:latin typeface="BIZ UDPゴシック"/>
                <a:ea typeface="BIZ UDPゴシック"/>
              </a:rPr>
              <a:t>IC</a:t>
            </a:r>
            <a:r>
              <a:rPr lang="ja-JP" altLang="en-US" sz="1200">
                <a:solidFill>
                  <a:srgbClr val="0070C0"/>
                </a:solidFill>
                <a:latin typeface="BIZ UDPゴシック"/>
                <a:ea typeface="BIZ UDPゴシック"/>
              </a:rPr>
              <a:t>カード等の生データ提供を受け、自治体が分析したい目的に応じたデータに加工し分析を行う</a:t>
            </a: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データの可視化</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表やグラフだけでなく、 地図上に取得したデータを重畳し、より直感的に分かりやすく可視化</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③・・・・・</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00779" y="4311099"/>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23713860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データ活用の全体像│実現する</a:t>
            </a:r>
            <a:r>
              <a:rPr lang="en-US" altLang="ja-JP"/>
              <a:t>UX</a:t>
            </a:r>
            <a:endParaRPr lang="ja-JP" altLang="en-US"/>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8" y="174300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7" name="フローチャート: 他ページ結合子 16">
            <a:extLst>
              <a:ext uri="{FF2B5EF4-FFF2-40B4-BE49-F238E27FC236}">
                <a16:creationId xmlns:a16="http://schemas.microsoft.com/office/drawing/2014/main" id="{53F10FF5-7C3A-04E7-4D0E-3EC2A9EB89FC}"/>
              </a:ext>
            </a:extLst>
          </p:cNvPr>
          <p:cNvSpPr/>
          <p:nvPr/>
        </p:nvSpPr>
        <p:spPr bwMode="gray">
          <a:xfrm>
            <a:off x="209722" y="3438793"/>
            <a:ext cx="2164078" cy="872923"/>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課題抽出</a:t>
            </a:r>
          </a:p>
        </p:txBody>
      </p:sp>
      <p:sp>
        <p:nvSpPr>
          <p:cNvPr id="18" name="正方形/長方形 17">
            <a:extLst>
              <a:ext uri="{FF2B5EF4-FFF2-40B4-BE49-F238E27FC236}">
                <a16:creationId xmlns:a16="http://schemas.microsoft.com/office/drawing/2014/main" id="{E9664A3C-1A6D-1DEA-5030-08206BBAF59D}"/>
              </a:ext>
            </a:extLst>
          </p:cNvPr>
          <p:cNvSpPr/>
          <p:nvPr/>
        </p:nvSpPr>
        <p:spPr bwMode="gray">
          <a:xfrm>
            <a:off x="2374364"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従来の</a:t>
            </a:r>
            <a:r>
              <a:rPr kumimoji="1" lang="en-US" altLang="ja-JP" sz="1400">
                <a:latin typeface="+mn-ea"/>
              </a:rPr>
              <a:t>UX</a:t>
            </a:r>
            <a:endParaRPr kumimoji="1" lang="ja-JP" altLang="en-US" sz="1400">
              <a:latin typeface="+mn-ea"/>
            </a:endParaRPr>
          </a:p>
        </p:txBody>
      </p:sp>
      <p:cxnSp>
        <p:nvCxnSpPr>
          <p:cNvPr id="19" name="直線矢印コネクタ 18">
            <a:extLst>
              <a:ext uri="{FF2B5EF4-FFF2-40B4-BE49-F238E27FC236}">
                <a16:creationId xmlns:a16="http://schemas.microsoft.com/office/drawing/2014/main" id="{988F5D47-E5D3-5BF3-75A0-F784D65E7675}"/>
              </a:ext>
            </a:extLst>
          </p:cNvPr>
          <p:cNvCxnSpPr>
            <a:cxnSpLocks/>
          </p:cNvCxnSpPr>
          <p:nvPr/>
        </p:nvCxnSpPr>
        <p:spPr>
          <a:xfrm>
            <a:off x="2521691"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A1D40746-BF49-AC90-B951-2E85999D00C9}"/>
              </a:ext>
            </a:extLst>
          </p:cNvPr>
          <p:cNvSpPr/>
          <p:nvPr/>
        </p:nvSpPr>
        <p:spPr bwMode="gray">
          <a:xfrm>
            <a:off x="7021258" y="1904109"/>
            <a:ext cx="4783566" cy="338527"/>
          </a:xfrm>
          <a:prstGeom prst="rect">
            <a:avLst/>
          </a:prstGeom>
          <a:noFill/>
          <a:ln w="6350">
            <a:noFill/>
            <a:miter lim="800000"/>
            <a:headEnd/>
            <a:tailEnd/>
          </a:ln>
          <a:effectLst/>
          <a:extLst>
            <a:ext uri="{91240B29-F687-4F45-9708-019B960494DF}">
              <a14:hiddenLine xmlns:a14="http://schemas.microsoft.com/office/drawing/2010/main" w="6350">
                <a:solidFill>
                  <a:schemeClr val="tx1"/>
                </a:solidFill>
                <a:miter lim="800000"/>
                <a:headEnd/>
                <a:tailEnd/>
              </a14:hiddenLine>
            </a:ext>
          </a:extLst>
        </p:spPr>
        <p:txBody>
          <a:bodyPr vert="horz" wrap="none" lIns="72000" tIns="72000" rIns="72000" bIns="72000" numCol="1" rtlCol="0" anchor="ctr" anchorCtr="0" compatLnSpc="1">
            <a:prstTxWarp prst="textNoShape">
              <a:avLst/>
            </a:prstTxWarp>
            <a:noAutofit/>
          </a:bodyPr>
          <a:lstStyle/>
          <a:p>
            <a:pPr algn="ctr"/>
            <a:r>
              <a:rPr kumimoji="1" lang="ja-JP" altLang="en-US" sz="1400">
                <a:latin typeface="+mn-ea"/>
              </a:rPr>
              <a:t>本プロジェクトが目指す</a:t>
            </a:r>
            <a:r>
              <a:rPr kumimoji="1" lang="en-US" altLang="ja-JP" sz="1400">
                <a:latin typeface="+mn-ea"/>
              </a:rPr>
              <a:t>UX</a:t>
            </a:r>
            <a:endParaRPr kumimoji="1" lang="ja-JP" altLang="en-US" sz="1400">
              <a:latin typeface="+mn-ea"/>
            </a:endParaRPr>
          </a:p>
        </p:txBody>
      </p:sp>
      <p:cxnSp>
        <p:nvCxnSpPr>
          <p:cNvPr id="21" name="直線矢印コネクタ 20">
            <a:extLst>
              <a:ext uri="{FF2B5EF4-FFF2-40B4-BE49-F238E27FC236}">
                <a16:creationId xmlns:a16="http://schemas.microsoft.com/office/drawing/2014/main" id="{2C5A1D27-39E7-7A74-E0C6-11903FAA5D16}"/>
              </a:ext>
            </a:extLst>
          </p:cNvPr>
          <p:cNvCxnSpPr>
            <a:cxnSpLocks/>
          </p:cNvCxnSpPr>
          <p:nvPr/>
        </p:nvCxnSpPr>
        <p:spPr>
          <a:xfrm>
            <a:off x="7168585" y="2242636"/>
            <a:ext cx="4488909" cy="0"/>
          </a:xfrm>
          <a:prstGeom prst="straightConnector1">
            <a:avLst/>
          </a:prstGeom>
          <a:noFill/>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フローチャート: 他ページ結合子 21">
            <a:extLst>
              <a:ext uri="{FF2B5EF4-FFF2-40B4-BE49-F238E27FC236}">
                <a16:creationId xmlns:a16="http://schemas.microsoft.com/office/drawing/2014/main" id="{E3A53034-9097-A2B0-BA00-9805C113B3C4}"/>
              </a:ext>
            </a:extLst>
          </p:cNvPr>
          <p:cNvSpPr/>
          <p:nvPr/>
        </p:nvSpPr>
        <p:spPr bwMode="gray">
          <a:xfrm>
            <a:off x="209722" y="4488187"/>
            <a:ext cx="2164078" cy="876812"/>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課題に基づく</a:t>
            </a:r>
            <a:endParaRPr kumimoji="1" lang="en-US" altLang="ja-JP" sz="1600">
              <a:solidFill>
                <a:srgbClr val="0070C0"/>
              </a:solidFill>
              <a:latin typeface="+mn-ea"/>
            </a:endParaRPr>
          </a:p>
          <a:p>
            <a:pPr algn="ctr">
              <a:spcBef>
                <a:spcPts val="0"/>
              </a:spcBef>
              <a:spcAft>
                <a:spcPts val="300"/>
              </a:spcAft>
            </a:pPr>
            <a:r>
              <a:rPr kumimoji="1" lang="ja-JP" altLang="en-US" sz="1600">
                <a:solidFill>
                  <a:srgbClr val="0070C0"/>
                </a:solidFill>
                <a:latin typeface="+mn-ea"/>
              </a:rPr>
              <a:t>施策の検討</a:t>
            </a:r>
            <a:endParaRPr kumimoji="1" lang="en-US" altLang="ja-JP" sz="1600">
              <a:solidFill>
                <a:srgbClr val="0070C0"/>
              </a:solidFill>
              <a:latin typeface="+mn-ea"/>
            </a:endParaRPr>
          </a:p>
        </p:txBody>
      </p:sp>
      <p:cxnSp>
        <p:nvCxnSpPr>
          <p:cNvPr id="24" name="直線コネクタ 23">
            <a:extLst>
              <a:ext uri="{FF2B5EF4-FFF2-40B4-BE49-F238E27FC236}">
                <a16:creationId xmlns:a16="http://schemas.microsoft.com/office/drawing/2014/main" id="{67CF960F-BF89-4129-340B-68AB5FDE8755}"/>
              </a:ext>
            </a:extLst>
          </p:cNvPr>
          <p:cNvCxnSpPr>
            <a:cxnSpLocks/>
          </p:cNvCxnSpPr>
          <p:nvPr/>
        </p:nvCxnSpPr>
        <p:spPr>
          <a:xfrm>
            <a:off x="2469871" y="3225464"/>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5" name="フローチャート: 他ページ結合子 24">
            <a:extLst>
              <a:ext uri="{FF2B5EF4-FFF2-40B4-BE49-F238E27FC236}">
                <a16:creationId xmlns:a16="http://schemas.microsoft.com/office/drawing/2014/main" id="{B623064F-1224-9D0A-91B9-574A09BD6B31}"/>
              </a:ext>
            </a:extLst>
          </p:cNvPr>
          <p:cNvSpPr/>
          <p:nvPr/>
        </p:nvSpPr>
        <p:spPr bwMode="gray">
          <a:xfrm>
            <a:off x="209722" y="2304824"/>
            <a:ext cx="2164078" cy="920640"/>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600">
                <a:solidFill>
                  <a:srgbClr val="0070C0"/>
                </a:solidFill>
                <a:latin typeface="+mn-ea"/>
              </a:rPr>
              <a:t>現状の可視化</a:t>
            </a:r>
          </a:p>
        </p:txBody>
      </p:sp>
      <p:cxnSp>
        <p:nvCxnSpPr>
          <p:cNvPr id="26" name="直線コネクタ 25">
            <a:extLst>
              <a:ext uri="{FF2B5EF4-FFF2-40B4-BE49-F238E27FC236}">
                <a16:creationId xmlns:a16="http://schemas.microsoft.com/office/drawing/2014/main" id="{D275D890-34D1-720A-5568-058C5CE60E89}"/>
              </a:ext>
            </a:extLst>
          </p:cNvPr>
          <p:cNvCxnSpPr>
            <a:cxnSpLocks/>
          </p:cNvCxnSpPr>
          <p:nvPr/>
        </p:nvCxnSpPr>
        <p:spPr>
          <a:xfrm>
            <a:off x="2469871" y="4423646"/>
            <a:ext cx="9187622" cy="0"/>
          </a:xfrm>
          <a:prstGeom prst="line">
            <a:avLst/>
          </a:prstGeom>
          <a:noFill/>
          <a:ln w="9525" cmpd="sng">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0FD0E77-3888-581E-76F2-D03B3D6A162F}"/>
              </a:ext>
            </a:extLst>
          </p:cNvPr>
          <p:cNvSpPr txBox="1"/>
          <p:nvPr/>
        </p:nvSpPr>
        <p:spPr>
          <a:xfrm>
            <a:off x="2693619" y="2338595"/>
            <a:ext cx="4341889" cy="503590"/>
          </a:xfrm>
          <a:prstGeom prst="rect">
            <a:avLst/>
          </a:prstGeom>
          <a:noFill/>
        </p:spPr>
        <p:txBody>
          <a:bodyPr wrap="square" lIns="36000" tIns="36000" rIns="36000" bIns="36000" rtlCol="0">
            <a:spAutoFit/>
          </a:body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交通事業者ごとに提供されるデータのとりまとめに工数がかかる</a:t>
            </a:r>
            <a:endParaRPr kumimoji="1" lang="en-US" altLang="ja-JP" sz="1400">
              <a:solidFill>
                <a:srgbClr val="0070C0"/>
              </a:solidFill>
              <a:latin typeface="+mn-ea"/>
            </a:endParaRPr>
          </a:p>
        </p:txBody>
      </p:sp>
      <p:sp>
        <p:nvSpPr>
          <p:cNvPr id="29" name="テキスト ボックス 28">
            <a:extLst>
              <a:ext uri="{FF2B5EF4-FFF2-40B4-BE49-F238E27FC236}">
                <a16:creationId xmlns:a16="http://schemas.microsoft.com/office/drawing/2014/main" id="{51548927-EDC2-8320-9763-1100DEEB5C3D}"/>
              </a:ext>
            </a:extLst>
          </p:cNvPr>
          <p:cNvSpPr txBox="1"/>
          <p:nvPr/>
        </p:nvSpPr>
        <p:spPr>
          <a:xfrm>
            <a:off x="2693619" y="3341080"/>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複数のデータから手作業で適切な課題を抽出するのに工数がかかる</a:t>
            </a:r>
            <a:endParaRPr kumimoji="1" lang="en-US" altLang="ja-JP" sz="1400">
              <a:solidFill>
                <a:srgbClr val="0070C0"/>
              </a:solidFill>
              <a:latin typeface="+mn-ea"/>
            </a:endParaRPr>
          </a:p>
        </p:txBody>
      </p:sp>
      <p:sp>
        <p:nvSpPr>
          <p:cNvPr id="30" name="テキスト ボックス 29">
            <a:extLst>
              <a:ext uri="{FF2B5EF4-FFF2-40B4-BE49-F238E27FC236}">
                <a16:creationId xmlns:a16="http://schemas.microsoft.com/office/drawing/2014/main" id="{ABA7E6E7-22B8-6897-CAD1-5BB1F7243A11}"/>
              </a:ext>
            </a:extLst>
          </p:cNvPr>
          <p:cNvSpPr txBox="1"/>
          <p:nvPr/>
        </p:nvSpPr>
        <p:spPr>
          <a:xfrm>
            <a:off x="7157930" y="2335267"/>
            <a:ext cx="4885789"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提出フォーマットを統一化し、分析システムに取り込みやすい形とする。</a:t>
            </a:r>
            <a:endParaRPr kumimoji="1" lang="en-US" altLang="ja-JP" sz="1400">
              <a:solidFill>
                <a:srgbClr val="0070C0"/>
              </a:solidFill>
              <a:latin typeface="+mn-ea"/>
            </a:endParaRPr>
          </a:p>
        </p:txBody>
      </p:sp>
      <p:sp>
        <p:nvSpPr>
          <p:cNvPr id="31" name="テキスト ボックス 30">
            <a:extLst>
              <a:ext uri="{FF2B5EF4-FFF2-40B4-BE49-F238E27FC236}">
                <a16:creationId xmlns:a16="http://schemas.microsoft.com/office/drawing/2014/main" id="{97AC2652-6A11-4525-3831-C5116BDDAFD4}"/>
              </a:ext>
            </a:extLst>
          </p:cNvPr>
          <p:cNvSpPr txBox="1"/>
          <p:nvPr/>
        </p:nvSpPr>
        <p:spPr>
          <a:xfrm>
            <a:off x="7157930" y="3315783"/>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グラフ、地図上での視覚的な課題の可視化。</a:t>
            </a:r>
            <a:endParaRPr kumimoji="1" lang="en-US" altLang="ja-JP" sz="1400">
              <a:solidFill>
                <a:srgbClr val="0070C0"/>
              </a:solidFill>
              <a:latin typeface="+mn-ea"/>
            </a:endParaRPr>
          </a:p>
        </p:txBody>
      </p:sp>
      <p:sp>
        <p:nvSpPr>
          <p:cNvPr id="32" name="テキスト ボックス 31">
            <a:extLst>
              <a:ext uri="{FF2B5EF4-FFF2-40B4-BE49-F238E27FC236}">
                <a16:creationId xmlns:a16="http://schemas.microsoft.com/office/drawing/2014/main" id="{226A0974-299A-DA5C-F13B-FA16A7D473D9}"/>
              </a:ext>
            </a:extLst>
          </p:cNvPr>
          <p:cNvSpPr txBox="1"/>
          <p:nvPr/>
        </p:nvSpPr>
        <p:spPr>
          <a:xfrm>
            <a:off x="2693619" y="4482772"/>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endParaRPr kumimoji="1" lang="en-US" altLang="ja-JP" sz="1400">
              <a:solidFill>
                <a:srgbClr val="0070C0"/>
              </a:solidFill>
              <a:latin typeface="+mn-ea"/>
            </a:endParaRPr>
          </a:p>
        </p:txBody>
      </p:sp>
      <p:sp>
        <p:nvSpPr>
          <p:cNvPr id="33" name="テキスト ボックス 32">
            <a:extLst>
              <a:ext uri="{FF2B5EF4-FFF2-40B4-BE49-F238E27FC236}">
                <a16:creationId xmlns:a16="http://schemas.microsoft.com/office/drawing/2014/main" id="{C9FC6D16-CAD4-5B3E-F8B5-81D2A2D8CDCA}"/>
              </a:ext>
            </a:extLst>
          </p:cNvPr>
          <p:cNvSpPr txBox="1"/>
          <p:nvPr/>
        </p:nvSpPr>
        <p:spPr>
          <a:xfrm>
            <a:off x="7168585" y="4523652"/>
            <a:ext cx="485776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endParaRPr kumimoji="1" lang="en-US" altLang="ja-JP" sz="1400">
              <a:solidFill>
                <a:srgbClr val="0070C0"/>
              </a:solidFill>
              <a:latin typeface="+mn-ea"/>
            </a:endParaRPr>
          </a:p>
        </p:txBody>
      </p:sp>
      <p:sp>
        <p:nvSpPr>
          <p:cNvPr id="6" name="テキスト プレースホルダー 10">
            <a:extLst>
              <a:ext uri="{FF2B5EF4-FFF2-40B4-BE49-F238E27FC236}">
                <a16:creationId xmlns:a16="http://schemas.microsoft.com/office/drawing/2014/main" id="{06F06DD2-9B90-695B-AD25-50F75DE8988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3" name="テキスト ボックス 2">
            <a:extLst>
              <a:ext uri="{FF2B5EF4-FFF2-40B4-BE49-F238E27FC236}">
                <a16:creationId xmlns:a16="http://schemas.microsoft.com/office/drawing/2014/main" id="{8E5E4177-0D4C-66AC-D184-5C97EB519BCC}"/>
              </a:ext>
            </a:extLst>
          </p:cNvPr>
          <p:cNvSpPr txBox="1"/>
          <p:nvPr/>
        </p:nvSpPr>
        <p:spPr>
          <a:xfrm>
            <a:off x="2693619" y="4488405"/>
            <a:ext cx="4316980" cy="288147"/>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各担当者の経験に基づき検討。</a:t>
            </a:r>
            <a:endParaRPr kumimoji="1" lang="en-US" altLang="ja-JP" sz="1400">
              <a:solidFill>
                <a:srgbClr val="0070C0"/>
              </a:solidFill>
              <a:latin typeface="+mn-ea"/>
            </a:endParaRPr>
          </a:p>
        </p:txBody>
      </p:sp>
      <p:sp>
        <p:nvSpPr>
          <p:cNvPr id="4" name="テキスト ボックス 3">
            <a:extLst>
              <a:ext uri="{FF2B5EF4-FFF2-40B4-BE49-F238E27FC236}">
                <a16:creationId xmlns:a16="http://schemas.microsoft.com/office/drawing/2014/main" id="{4FFEC03F-A8BC-90E2-69BF-5162E610D075}"/>
              </a:ext>
            </a:extLst>
          </p:cNvPr>
          <p:cNvSpPr txBox="1"/>
          <p:nvPr/>
        </p:nvSpPr>
        <p:spPr>
          <a:xfrm>
            <a:off x="7157930" y="4474221"/>
            <a:ext cx="4316980" cy="503590"/>
          </a:xfrm>
          <a:prstGeom prst="rect">
            <a:avLst/>
          </a:prstGeom>
          <a:grpFill/>
        </p:spPr>
        <p:txBody>
          <a:bodyPr wrap="square" lIns="36000" tIns="36000" rIns="36000" bIns="36000" rtlCol="0">
            <a:spAutoFit/>
          </a:bodyPr>
          <a:lstStyle>
            <a:defPPr>
              <a:defRPr lang="ja-JP"/>
            </a:defPPr>
            <a:lvl1pPr marL="285750" indent="-285750">
              <a:spcBef>
                <a:spcPts val="300"/>
              </a:spcBef>
              <a:buFont typeface="Arial" panose="020B0604020202020204" pitchFamily="34" charset="0"/>
              <a:buChar char="•"/>
              <a:defRPr sz="1400">
                <a:latin typeface="+mn-ea"/>
              </a:defRPr>
            </a:lvl1pPr>
          </a:lstStyle>
          <a:p>
            <a:pPr marL="285750" indent="-285750">
              <a:spcBef>
                <a:spcPts val="300"/>
              </a:spcBef>
              <a:buFont typeface="Arial" panose="020B0604020202020204" pitchFamily="34" charset="0"/>
              <a:buChar char="•"/>
            </a:pPr>
            <a:r>
              <a:rPr kumimoji="1" lang="ja-JP" altLang="en-US" sz="1400">
                <a:solidFill>
                  <a:srgbClr val="0070C0"/>
                </a:solidFill>
                <a:latin typeface="+mn-ea"/>
              </a:rPr>
              <a:t>課題点に対して、適切な施策を提案する支援システムを用い、担当者によるばらつきのない施策を検討。</a:t>
            </a:r>
            <a:endParaRPr kumimoji="1" lang="en-US" altLang="ja-JP" sz="1400">
              <a:solidFill>
                <a:srgbClr val="0070C0"/>
              </a:solidFill>
              <a:latin typeface="+mn-ea"/>
            </a:endParaRPr>
          </a:p>
        </p:txBody>
      </p:sp>
      <p:sp>
        <p:nvSpPr>
          <p:cNvPr id="7" name="テキスト ボックス 6">
            <a:extLst>
              <a:ext uri="{FF2B5EF4-FFF2-40B4-BE49-F238E27FC236}">
                <a16:creationId xmlns:a16="http://schemas.microsoft.com/office/drawing/2014/main" id="{EECA8A31-435A-50C0-5983-C69458EFAFD7}"/>
              </a:ext>
            </a:extLst>
          </p:cNvPr>
          <p:cNvSpPr txBox="1"/>
          <p:nvPr/>
        </p:nvSpPr>
        <p:spPr>
          <a:xfrm>
            <a:off x="2521130" y="2986007"/>
            <a:ext cx="7455989" cy="236003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提供するＭａａＳ（アプリ、システム、商品、その他）によって、利用者体験が現在と比べてどのように変わるのか（どのような体験の変化を目指すのか）を具体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で提供するサービス単位で分けて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例　① 新規</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アプリの開発・サービス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     </a:t>
            </a:r>
            <a:r>
              <a:rPr kumimoji="0" lang="ja-JP" altLang="en-US" sz="1400" b="0" i="0" u="none" strike="noStrike" kern="0" cap="none" spc="0" normalizeH="0" baseline="0" noProof="0">
                <a:ln>
                  <a:noFill/>
                </a:ln>
                <a:solidFill>
                  <a:srgbClr val="FFFFFF"/>
                </a:solidFill>
                <a:effectLst/>
                <a:uLnTx/>
                <a:uFillTx/>
              </a:rPr>
              <a:t>② サブスクサービスの提供</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　　 ③ プロモーションの実施​</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9314558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データ活用の全体像│過年度の課題と解決</a:t>
            </a:r>
          </a:p>
        </p:txBody>
      </p:sp>
      <p:sp>
        <p:nvSpPr>
          <p:cNvPr id="11" name="テキスト プレースホルダー 10">
            <a:extLst>
              <a:ext uri="{FF2B5EF4-FFF2-40B4-BE49-F238E27FC236}">
                <a16:creationId xmlns:a16="http://schemas.microsoft.com/office/drawing/2014/main" id="{5B8ABDA1-3D2A-BE6F-2D47-4B44E4CE9142}"/>
              </a:ext>
            </a:extLst>
          </p:cNvPr>
          <p:cNvSpPr>
            <a:spLocks noGrp="1"/>
          </p:cNvSpPr>
          <p:nvPr>
            <p:ph type="body" sz="quarter" idx="4294967295"/>
          </p:nvPr>
        </p:nvSpPr>
        <p:spPr>
          <a:xfrm>
            <a:off x="300779" y="1736090"/>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33600"/>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昨年度の課題</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策</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データを可視化するダッシュボードが存在せず、自治体職員が手作業で集計・分析作業を行っていた。</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煩雑な</a:t>
            </a:r>
            <a:r>
              <a:rPr lang="en-US" altLang="ja-JP" sz="1600">
                <a:solidFill>
                  <a:srgbClr val="0070C0"/>
                </a:solidFill>
                <a:latin typeface="BIZ UDPゴシック"/>
                <a:ea typeface="BIZ UDPゴシック"/>
              </a:rPr>
              <a:t>UI</a:t>
            </a:r>
            <a:r>
              <a:rPr lang="ja-JP" altLang="en-US" sz="1600">
                <a:solidFill>
                  <a:srgbClr val="0070C0"/>
                </a:solidFill>
                <a:latin typeface="BIZ UDPゴシック"/>
                <a:ea typeface="BIZ UDPゴシック"/>
              </a:rPr>
              <a:t>のため、不慣れな自治体職員がシステム操作になれるのに時間がかかる。</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各交通事業者から提出されるデータフォーマットが統一されていない。</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4" name="正方形/長方形 13">
            <a:extLst>
              <a:ext uri="{FF2B5EF4-FFF2-40B4-BE49-F238E27FC236}">
                <a16:creationId xmlns:a16="http://schemas.microsoft.com/office/drawing/2014/main" id="{EB154E72-D468-E337-5176-249A512E7AD4}"/>
              </a:ext>
            </a:extLst>
          </p:cNvPr>
          <p:cNvSpPr/>
          <p:nvPr/>
        </p:nvSpPr>
        <p:spPr>
          <a:xfrm>
            <a:off x="6128401" y="2591890"/>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600">
                <a:solidFill>
                  <a:srgbClr val="000000"/>
                </a:solidFill>
                <a:latin typeface="BIZ UDPゴシック"/>
                <a:ea typeface="BIZ UDPゴシック"/>
              </a:rPr>
              <a:t>システム（機能）</a:t>
            </a:r>
            <a:endParaRPr lang="en-US" altLang="ja-JP" sz="1600">
              <a:solidFill>
                <a:srgbClr val="000000"/>
              </a:solidFill>
              <a:latin typeface="BIZ UDPゴシック"/>
              <a:ea typeface="BIZ UDPゴシック"/>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データ可視化ダッシュボードを開発。</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担当が変更になってもスムーズに業務を引き継げるようにシンプルな</a:t>
            </a:r>
            <a:r>
              <a:rPr lang="en-US" altLang="ja-JP" sz="1600">
                <a:solidFill>
                  <a:srgbClr val="0070C0"/>
                </a:solidFill>
                <a:latin typeface="BIZ UDPゴシック"/>
                <a:ea typeface="BIZ UDPゴシック"/>
              </a:rPr>
              <a:t>UI</a:t>
            </a:r>
            <a:r>
              <a:rPr lang="ja-JP" altLang="en-US" sz="1600">
                <a:solidFill>
                  <a:srgbClr val="0070C0"/>
                </a:solidFill>
                <a:latin typeface="BIZ UDPゴシック"/>
                <a:ea typeface="BIZ UDPゴシック"/>
              </a:rPr>
              <a:t>に改修。</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統一のデータフォーマットを作成。</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7" name="テキスト プレースホルダー 10">
            <a:extLst>
              <a:ext uri="{FF2B5EF4-FFF2-40B4-BE49-F238E27FC236}">
                <a16:creationId xmlns:a16="http://schemas.microsoft.com/office/drawing/2014/main" id="{CF45C799-184A-B9A1-3984-069F4A38D270}"/>
              </a:ext>
            </a:extLst>
          </p:cNvPr>
          <p:cNvSpPr txBox="1">
            <a:spLocks/>
          </p:cNvSpPr>
          <p:nvPr/>
        </p:nvSpPr>
        <p:spPr>
          <a:xfrm>
            <a:off x="300779" y="1196746"/>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5" name="テキスト ボックス 14">
            <a:extLst>
              <a:ext uri="{FF2B5EF4-FFF2-40B4-BE49-F238E27FC236}">
                <a16:creationId xmlns:a16="http://schemas.microsoft.com/office/drawing/2014/main" id="{3C5209FD-4C36-2B74-83F8-CBA1D960F307}"/>
              </a:ext>
            </a:extLst>
          </p:cNvPr>
          <p:cNvSpPr txBox="1"/>
          <p:nvPr/>
        </p:nvSpPr>
        <p:spPr>
          <a:xfrm>
            <a:off x="2928358" y="4798746"/>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これまでの取組と比べ、本プロジェクトでどのような開発や拡充を行い、課題解決に貢献しようとしているのか、具体的に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項目はテンプレートを基本とし、任意に増やしていただいて構いません。</a:t>
            </a:r>
          </a:p>
        </p:txBody>
      </p:sp>
    </p:spTree>
    <p:extLst>
      <p:ext uri="{BB962C8B-B14F-4D97-AF65-F5344CB8AC3E}">
        <p14:creationId xmlns:p14="http://schemas.microsoft.com/office/powerpoint/2010/main" val="23404295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１</a:t>
            </a:r>
            <a:r>
              <a:rPr lang="en-US" altLang="ja-JP"/>
              <a:t>.</a:t>
            </a:r>
            <a:r>
              <a:rPr lang="ja-JP" altLang="en-US"/>
              <a:t>データ活用の全体像│実装済みの機能</a:t>
            </a:r>
          </a:p>
        </p:txBody>
      </p:sp>
      <p:grpSp>
        <p:nvGrpSpPr>
          <p:cNvPr id="3" name="グループ化 2">
            <a:extLst>
              <a:ext uri="{FF2B5EF4-FFF2-40B4-BE49-F238E27FC236}">
                <a16:creationId xmlns:a16="http://schemas.microsoft.com/office/drawing/2014/main" id="{F85333DF-4E5C-DAEA-926C-1A154E2103A9}"/>
              </a:ext>
            </a:extLst>
          </p:cNvPr>
          <p:cNvGrpSpPr/>
          <p:nvPr/>
        </p:nvGrpSpPr>
        <p:grpSpPr>
          <a:xfrm>
            <a:off x="302400" y="2108076"/>
            <a:ext cx="11587200" cy="309600"/>
            <a:chOff x="302400" y="1990800"/>
            <a:chExt cx="11587200" cy="309600"/>
          </a:xfrm>
        </p:grpSpPr>
        <p:grpSp>
          <p:nvGrpSpPr>
            <p:cNvPr id="4" name="PanelGroup1">
              <a:extLst>
                <a:ext uri="{FF2B5EF4-FFF2-40B4-BE49-F238E27FC236}">
                  <a16:creationId xmlns:a16="http://schemas.microsoft.com/office/drawing/2014/main" id="{EAB62C42-9CF0-6E2B-28F8-CFEDB26FC1DD}"/>
                </a:ext>
              </a:extLst>
            </p:cNvPr>
            <p:cNvGrpSpPr/>
            <p:nvPr/>
          </p:nvGrpSpPr>
          <p:grpSpPr>
            <a:xfrm>
              <a:off x="302400" y="1990800"/>
              <a:ext cx="5761200" cy="309600"/>
              <a:chOff x="302400" y="1990800"/>
              <a:chExt cx="5761200" cy="309600"/>
            </a:xfrm>
          </p:grpSpPr>
          <p:sp>
            <p:nvSpPr>
              <p:cNvPr id="10" name="正方形/長方形 9">
                <a:extLst>
                  <a:ext uri="{FF2B5EF4-FFF2-40B4-BE49-F238E27FC236}">
                    <a16:creationId xmlns:a16="http://schemas.microsoft.com/office/drawing/2014/main" id="{1A383005-B1A5-AD52-BAD8-1851206F59CA}"/>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施済みの機能</a:t>
                </a:r>
              </a:p>
            </p:txBody>
          </p:sp>
          <p:cxnSp>
            <p:nvCxnSpPr>
              <p:cNvPr id="12" name="直線矢印コネクタ 11">
                <a:extLst>
                  <a:ext uri="{FF2B5EF4-FFF2-40B4-BE49-F238E27FC236}">
                    <a16:creationId xmlns:a16="http://schemas.microsoft.com/office/drawing/2014/main" id="{3653E4DF-7A5D-EE67-D31F-6D64D03C04E6}"/>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A2007A34-9A61-3C01-D672-C413701B3445}"/>
                </a:ext>
              </a:extLst>
            </p:cNvPr>
            <p:cNvGrpSpPr/>
            <p:nvPr/>
          </p:nvGrpSpPr>
          <p:grpSpPr>
            <a:xfrm>
              <a:off x="6128400" y="1990800"/>
              <a:ext cx="5761200" cy="309600"/>
              <a:chOff x="6128400" y="1990800"/>
              <a:chExt cx="5761200" cy="309600"/>
            </a:xfrm>
          </p:grpSpPr>
          <p:sp>
            <p:nvSpPr>
              <p:cNvPr id="7" name="正方形/長方形 6">
                <a:extLst>
                  <a:ext uri="{FF2B5EF4-FFF2-40B4-BE49-F238E27FC236}">
                    <a16:creationId xmlns:a16="http://schemas.microsoft.com/office/drawing/2014/main" id="{081FA0EF-B0D7-A6B9-D177-CBA18643176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8" name="直線矢印コネクタ 7">
                <a:extLst>
                  <a:ext uri="{FF2B5EF4-FFF2-40B4-BE49-F238E27FC236}">
                    <a16:creationId xmlns:a16="http://schemas.microsoft.com/office/drawing/2014/main" id="{99FBEF6F-94C3-52B0-FA40-DD378C8E4F64}"/>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3" name="正方形/長方形 12">
            <a:extLst>
              <a:ext uri="{FF2B5EF4-FFF2-40B4-BE49-F238E27FC236}">
                <a16:creationId xmlns:a16="http://schemas.microsoft.com/office/drawing/2014/main" id="{EDAD2185-EC0D-868E-795C-E7F2FB4ACC64}"/>
              </a:ext>
            </a:extLst>
          </p:cNvPr>
          <p:cNvSpPr/>
          <p:nvPr/>
        </p:nvSpPr>
        <p:spPr>
          <a:xfrm>
            <a:off x="300778" y="2566366"/>
            <a:ext cx="5761199" cy="31314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lang="ja-JP" altLang="en-US" sz="1600">
                <a:solidFill>
                  <a:srgbClr val="000000"/>
                </a:solidFill>
                <a:latin typeface="BIZ UDPゴシック"/>
                <a:ea typeface="BIZ UDPゴシック"/>
              </a:rPr>
              <a:t> </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機能）</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地域情報可視化マップ機能</a:t>
            </a:r>
            <a:endParaRPr lang="en-US" altLang="ja-JP" sz="1600">
              <a:solidFill>
                <a:srgbClr val="0070C0"/>
              </a:solidFill>
              <a:latin typeface="BIZ UDPゴシック"/>
              <a:ea typeface="BIZ UDPゴシック"/>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lang="ja-JP" altLang="en-US" sz="1600">
                <a:solidFill>
                  <a:srgbClr val="000000"/>
                </a:solidFill>
                <a:latin typeface="BIZ UDPゴシック"/>
                <a:ea typeface="BIZ UDPゴシック"/>
              </a:rPr>
              <a:t> </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システム（</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I</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r>
              <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rPr>
              <a:t>UX</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a:t>
            </a: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地域交通計画支援システム</a:t>
            </a:r>
            <a:endParaRPr lang="en-US" altLang="ja-JP" sz="1600">
              <a:solidFill>
                <a:srgbClr val="0070C0"/>
              </a:solidFill>
              <a:latin typeface="BIZ UDPゴシック"/>
              <a:ea typeface="BIZ UDPゴシック"/>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座組</a:t>
            </a:r>
          </a:p>
          <a:p>
            <a:pPr marL="742950" lvl="1" indent="-285750">
              <a:buFont typeface="Wingdings" panose="05000000000000000000" pitchFamily="2" charset="2"/>
              <a:buChar char="Ø"/>
              <a:defRPr/>
            </a:pPr>
            <a:r>
              <a:rPr kumimoji="1" lang="ja-JP" altLang="en-US" sz="1600" b="0" i="0" u="none" strike="noStrike" kern="1200" cap="none" spc="0" normalizeH="0" baseline="0" noProof="0">
                <a:ln>
                  <a:noFill/>
                </a:ln>
                <a:solidFill>
                  <a:srgbClr val="0070C0"/>
                </a:solidFill>
                <a:effectLst/>
                <a:uLnTx/>
                <a:uFillTx/>
                <a:latin typeface="BIZ UDPゴシック"/>
                <a:ea typeface="BIZ UDPゴシック"/>
                <a:cs typeface="+mn-cs"/>
              </a:rPr>
              <a:t>●●市データ分析検討会立ち上げ済み</a:t>
            </a:r>
            <a:endPar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indent="-285750">
              <a:buFont typeface="Arial" panose="020B0604020202020204" pitchFamily="34" charset="0"/>
              <a:buChar char="•"/>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サービス運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742950" lvl="1" indent="-285750">
              <a:buFont typeface="Wingdings" panose="05000000000000000000" pitchFamily="2" charset="2"/>
              <a:buChar char="Ø"/>
              <a:defRPr/>
            </a:pPr>
            <a:r>
              <a:rPr lang="ja-JP" altLang="en-US" sz="1600">
                <a:solidFill>
                  <a:srgbClr val="0070C0"/>
                </a:solidFill>
                <a:latin typeface="BIZ UDPゴシック"/>
                <a:ea typeface="BIZ UDPゴシック"/>
              </a:rPr>
              <a:t>・・・・・</a:t>
            </a: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5" name="テキスト プレースホルダー 10">
            <a:extLst>
              <a:ext uri="{FF2B5EF4-FFF2-40B4-BE49-F238E27FC236}">
                <a16:creationId xmlns:a16="http://schemas.microsoft.com/office/drawing/2014/main" id="{A297BE6E-52F9-8183-AA90-19F0C17C5E07}"/>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sp>
        <p:nvSpPr>
          <p:cNvPr id="20" name="テキスト プレースホルダー 10">
            <a:extLst>
              <a:ext uri="{FF2B5EF4-FFF2-40B4-BE49-F238E27FC236}">
                <a16:creationId xmlns:a16="http://schemas.microsoft.com/office/drawing/2014/main" id="{94800FDA-81F1-3586-866D-A519778D8DB8}"/>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1" name="テキスト ボックス 10">
            <a:extLst>
              <a:ext uri="{FF2B5EF4-FFF2-40B4-BE49-F238E27FC236}">
                <a16:creationId xmlns:a16="http://schemas.microsoft.com/office/drawing/2014/main" id="{88803321-5BCD-ED24-0112-088C72CF46F4}"/>
              </a:ext>
            </a:extLst>
          </p:cNvPr>
          <p:cNvSpPr txBox="1"/>
          <p:nvPr/>
        </p:nvSpPr>
        <p:spPr>
          <a:xfrm>
            <a:off x="300778" y="4891745"/>
            <a:ext cx="6335283" cy="153764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継続開発を行っている場合のみ​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アプリやデジタルチケット等のサービスについて、システム、座組、運用体制、造成商品等について記載してください。​</a:t>
            </a:r>
          </a:p>
        </p:txBody>
      </p:sp>
      <p:sp>
        <p:nvSpPr>
          <p:cNvPr id="16" name="テキスト ボックス 15">
            <a:extLst>
              <a:ext uri="{FF2B5EF4-FFF2-40B4-BE49-F238E27FC236}">
                <a16:creationId xmlns:a16="http://schemas.microsoft.com/office/drawing/2014/main" id="{97C76F22-2E31-EE16-171A-90EDA8848E04}"/>
              </a:ext>
            </a:extLst>
          </p:cNvPr>
          <p:cNvSpPr txBox="1"/>
          <p:nvPr/>
        </p:nvSpPr>
        <p:spPr>
          <a:xfrm>
            <a:off x="6965596" y="3005155"/>
            <a:ext cx="4086808" cy="3457633"/>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Tree>
    <p:extLst>
      <p:ext uri="{BB962C8B-B14F-4D97-AF65-F5344CB8AC3E}">
        <p14:creationId xmlns:p14="http://schemas.microsoft.com/office/powerpoint/2010/main" val="227181407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7" name="テキスト プレースホルダー 6">
            <a:extLst>
              <a:ext uri="{FF2B5EF4-FFF2-40B4-BE49-F238E27FC236}">
                <a16:creationId xmlns:a16="http://schemas.microsoft.com/office/drawing/2014/main" id="{7F81DA45-2EDB-3376-10B4-C61FAB506B4F}"/>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実証仮説</a:t>
            </a:r>
          </a:p>
        </p:txBody>
      </p:sp>
      <p:graphicFrame>
        <p:nvGraphicFramePr>
          <p:cNvPr id="8" name="表 14">
            <a:extLst>
              <a:ext uri="{FF2B5EF4-FFF2-40B4-BE49-F238E27FC236}">
                <a16:creationId xmlns:a16="http://schemas.microsoft.com/office/drawing/2014/main" id="{628A4627-CAA7-6C39-A2F3-3AFB41DE8AAE}"/>
              </a:ext>
            </a:extLst>
          </p:cNvPr>
          <p:cNvGraphicFramePr>
            <a:graphicFrameLocks noGrp="1"/>
          </p:cNvGraphicFramePr>
          <p:nvPr>
            <p:extLst>
              <p:ext uri="{D42A27DB-BD31-4B8C-83A1-F6EECF244321}">
                <p14:modId xmlns:p14="http://schemas.microsoft.com/office/powerpoint/2010/main" val="1822751871"/>
              </p:ext>
            </p:extLst>
          </p:nvPr>
        </p:nvGraphicFramePr>
        <p:xfrm>
          <a:off x="302400" y="1992923"/>
          <a:ext cx="11587199" cy="4509477"/>
        </p:xfrm>
        <a:graphic>
          <a:graphicData uri="http://schemas.openxmlformats.org/drawingml/2006/table">
            <a:tbl>
              <a:tblPr firstRow="1" bandRow="1">
                <a:tableStyleId>{5940675A-B579-460E-94D1-54222C63F5DA}</a:tableStyleId>
              </a:tblPr>
              <a:tblGrid>
                <a:gridCol w="2137758">
                  <a:extLst>
                    <a:ext uri="{9D8B030D-6E8A-4147-A177-3AD203B41FA5}">
                      <a16:colId xmlns:a16="http://schemas.microsoft.com/office/drawing/2014/main" val="2207648862"/>
                    </a:ext>
                  </a:extLst>
                </a:gridCol>
                <a:gridCol w="9449441">
                  <a:extLst>
                    <a:ext uri="{9D8B030D-6E8A-4147-A177-3AD203B41FA5}">
                      <a16:colId xmlns:a16="http://schemas.microsoft.com/office/drawing/2014/main" val="3194800138"/>
                    </a:ext>
                  </a:extLst>
                </a:gridCol>
              </a:tblGrid>
              <a:tr h="382954">
                <a:tc>
                  <a:txBody>
                    <a:bodyPr/>
                    <a:lstStyle/>
                    <a:p>
                      <a:pPr marL="0" indent="0">
                        <a:buFont typeface="+mj-lt"/>
                        <a:buNone/>
                      </a:pPr>
                      <a:r>
                        <a:rPr kumimoji="1" lang="ja-JP" altLang="en-US" sz="1600" b="1">
                          <a:latin typeface="+mj-ea"/>
                          <a:ea typeface="+mj-ea"/>
                        </a:rPr>
                        <a:t>項目</a:t>
                      </a:r>
                    </a:p>
                  </a:txBody>
                  <a:tcPr marL="112542" marR="112542" marT="56271" marB="56271">
                    <a:solidFill>
                      <a:schemeClr val="bg1">
                        <a:lumMod val="85000"/>
                      </a:schemeClr>
                    </a:solidFill>
                  </a:tcPr>
                </a:tc>
                <a:tc>
                  <a:txBody>
                    <a:bodyPr/>
                    <a:lstStyle/>
                    <a:p>
                      <a:pPr marL="0" indent="0" defTabSz="990546" fontAlgn="auto">
                        <a:spcBef>
                          <a:spcPts val="300"/>
                        </a:spcBef>
                        <a:spcAft>
                          <a:spcPts val="0"/>
                        </a:spcAft>
                        <a:buSzPct val="100000"/>
                        <a:buFont typeface="Meiryo UI" panose="020B0604030504040204" pitchFamily="50" charset="-128"/>
                        <a:buNone/>
                        <a:defRPr/>
                      </a:pPr>
                      <a:r>
                        <a:rPr kumimoji="1" lang="ja-JP" altLang="en-US" sz="1600" b="1">
                          <a:solidFill>
                            <a:schemeClr val="tx1"/>
                          </a:solidFill>
                          <a:latin typeface="+mj-ea"/>
                          <a:ea typeface="+mj-ea"/>
                        </a:rPr>
                        <a:t>内容</a:t>
                      </a:r>
                      <a:endParaRPr kumimoji="1" lang="en-US" altLang="ja-JP" sz="1600" b="1">
                        <a:solidFill>
                          <a:schemeClr val="tx1"/>
                        </a:solidFill>
                        <a:latin typeface="+mj-ea"/>
                        <a:ea typeface="+mj-ea"/>
                      </a:endParaRPr>
                    </a:p>
                  </a:txBody>
                  <a:tcPr marL="112542" marR="112542" marT="56271" marB="56271">
                    <a:solidFill>
                      <a:schemeClr val="bg1">
                        <a:lumMod val="85000"/>
                      </a:schemeClr>
                    </a:solidFill>
                  </a:tcPr>
                </a:tc>
                <a:extLst>
                  <a:ext uri="{0D108BD9-81ED-4DB2-BD59-A6C34878D82A}">
                    <a16:rowId xmlns:a16="http://schemas.microsoft.com/office/drawing/2014/main" val="4015009209"/>
                  </a:ext>
                </a:extLst>
              </a:tr>
              <a:tr h="4126523">
                <a:tc>
                  <a:txBody>
                    <a:bodyPr/>
                    <a:lstStyle/>
                    <a:p>
                      <a:pPr marL="0" indent="0">
                        <a:buFont typeface="+mj-lt"/>
                        <a:buNone/>
                      </a:pPr>
                      <a:r>
                        <a:rPr kumimoji="1" lang="ja-JP" altLang="en-US" sz="1600" b="0">
                          <a:latin typeface="+mn-ea"/>
                          <a:ea typeface="+mn-ea"/>
                        </a:rPr>
                        <a:t>実証仮説</a:t>
                      </a:r>
                    </a:p>
                  </a:txBody>
                  <a:tcPr marL="112542" marR="112542" marT="56271" marB="56271">
                    <a:noFill/>
                  </a:tcPr>
                </a:tc>
                <a:tc>
                  <a:txBody>
                    <a:bodyPr/>
                    <a:lstStyle/>
                    <a:p>
                      <a:pPr marL="0" indent="0">
                        <a:buFont typeface="Wingdings" panose="05000000000000000000" pitchFamily="2" charset="2"/>
                        <a:buNone/>
                      </a:pPr>
                      <a:r>
                        <a:rPr lang="ja-JP" altLang="en-US" sz="1600"/>
                        <a:t>①データ分析の実施</a:t>
                      </a:r>
                      <a:endParaRPr lang="en-US" altLang="ja-JP" sz="1600"/>
                    </a:p>
                    <a:p>
                      <a:pPr marL="285750" indent="-285750">
                        <a:buFont typeface="Wingdings" panose="05000000000000000000" pitchFamily="2" charset="2"/>
                        <a:buChar char="l"/>
                      </a:pPr>
                      <a:r>
                        <a:rPr lang="ja-JP" altLang="en-US" sz="1600">
                          <a:solidFill>
                            <a:srgbClr val="0070C0"/>
                          </a:solidFill>
                        </a:rPr>
                        <a:t>仮説</a:t>
                      </a:r>
                      <a:r>
                        <a:rPr lang="en-US" altLang="ja-JP" sz="1600">
                          <a:solidFill>
                            <a:srgbClr val="0070C0"/>
                          </a:solidFill>
                        </a:rPr>
                        <a:t>: </a:t>
                      </a:r>
                      <a:r>
                        <a:rPr lang="ja-JP" altLang="en-US" sz="1600">
                          <a:solidFill>
                            <a:srgbClr val="0070C0"/>
                          </a:solidFill>
                        </a:rPr>
                        <a:t>取得した</a:t>
                      </a:r>
                      <a:r>
                        <a:rPr lang="en-US" altLang="ja-JP" sz="1600">
                          <a:solidFill>
                            <a:srgbClr val="0070C0"/>
                          </a:solidFill>
                        </a:rPr>
                        <a:t>OD</a:t>
                      </a:r>
                      <a:r>
                        <a:rPr lang="ja-JP" altLang="en-US" sz="1600">
                          <a:solidFill>
                            <a:srgbClr val="0070C0"/>
                          </a:solidFill>
                        </a:rPr>
                        <a:t>データの分析により、公共交通利用率が</a:t>
                      </a:r>
                      <a:r>
                        <a:rPr lang="en-US" altLang="ja-JP" sz="1600">
                          <a:solidFill>
                            <a:srgbClr val="0070C0"/>
                          </a:solidFill>
                        </a:rPr>
                        <a:t>20%</a:t>
                      </a:r>
                      <a:r>
                        <a:rPr lang="ja-JP" altLang="en-US" sz="1600">
                          <a:solidFill>
                            <a:srgbClr val="0070C0"/>
                          </a:solidFill>
                        </a:rPr>
                        <a:t>向上し、交通渋滞が</a:t>
                      </a:r>
                      <a:r>
                        <a:rPr lang="en-US" altLang="ja-JP" sz="1600">
                          <a:solidFill>
                            <a:srgbClr val="0070C0"/>
                          </a:solidFill>
                        </a:rPr>
                        <a:t>15%</a:t>
                      </a:r>
                      <a:r>
                        <a:rPr lang="ja-JP" altLang="en-US" sz="1600">
                          <a:solidFill>
                            <a:srgbClr val="0070C0"/>
                          </a:solidFill>
                        </a:rPr>
                        <a:t>減少する。</a:t>
                      </a:r>
                    </a:p>
                    <a:p>
                      <a:pPr marL="0" indent="0">
                        <a:buFont typeface="Wingdings" panose="05000000000000000000" pitchFamily="2" charset="2"/>
                        <a:buNone/>
                      </a:pPr>
                      <a:endParaRPr lang="en-US" altLang="ja-JP" sz="1600">
                        <a:solidFill>
                          <a:srgbClr val="0070C0"/>
                        </a:solidFill>
                      </a:endParaRPr>
                    </a:p>
                    <a:p>
                      <a:pPr marL="0" indent="0">
                        <a:buFont typeface="Wingdings" panose="05000000000000000000" pitchFamily="2" charset="2"/>
                        <a:buNone/>
                      </a:pPr>
                      <a:r>
                        <a:rPr lang="ja-JP" altLang="en-US" sz="1600">
                          <a:solidFill>
                            <a:srgbClr val="0070C0"/>
                          </a:solidFill>
                        </a:rPr>
                        <a:t>仮説が実現する理由</a:t>
                      </a:r>
                      <a:r>
                        <a:rPr lang="en-US" altLang="ja-JP" sz="1600">
                          <a:solidFill>
                            <a:srgbClr val="0070C0"/>
                          </a:solidFill>
                        </a:rPr>
                        <a:t>: OD</a:t>
                      </a:r>
                      <a:r>
                        <a:rPr lang="ja-JP" altLang="en-US" sz="1600">
                          <a:solidFill>
                            <a:srgbClr val="0070C0"/>
                          </a:solidFill>
                        </a:rPr>
                        <a:t>データを分析することで、路線バスユーザーの移動を可視化し、ユーザーのニーズに合った路線・系統の再編を行うことができ、公共交通の魅力が増す。</a:t>
                      </a:r>
                      <a:endParaRPr lang="en-US" altLang="ja-JP" sz="1600">
                        <a:solidFill>
                          <a:srgbClr val="0070C0"/>
                        </a:solidFill>
                      </a:endParaRPr>
                    </a:p>
                    <a:p>
                      <a:pPr marL="285750" indent="-285750">
                        <a:buFont typeface="Wingdings" panose="05000000000000000000" pitchFamily="2" charset="2"/>
                        <a:buChar char="l"/>
                      </a:pPr>
                      <a:endParaRPr lang="en-US" altLang="ja-JP" sz="1600"/>
                    </a:p>
                    <a:p>
                      <a:pPr marL="285750" indent="-285750">
                        <a:buFont typeface="Wingdings" panose="05000000000000000000" pitchFamily="2" charset="2"/>
                        <a:buChar char="l"/>
                      </a:pPr>
                      <a:r>
                        <a:rPr lang="ja-JP" altLang="en-US" sz="1600"/>
                        <a:t>仮説</a:t>
                      </a:r>
                      <a:r>
                        <a:rPr lang="en-US" altLang="ja-JP" sz="1600"/>
                        <a:t>: </a:t>
                      </a:r>
                      <a:r>
                        <a:rPr lang="ja-JP" altLang="en-US" sz="1600"/>
                        <a:t>＿</a:t>
                      </a:r>
                      <a:endParaRPr lang="en-US" altLang="ja-JP" sz="1600"/>
                    </a:p>
                    <a:p>
                      <a:pPr marL="285750" indent="-285750">
                        <a:buFont typeface="Wingdings" panose="05000000000000000000" pitchFamily="2" charset="2"/>
                        <a:buChar char="l"/>
                      </a:pPr>
                      <a:endParaRPr lang="en-US" altLang="ja-JP" sz="1600"/>
                    </a:p>
                    <a:p>
                      <a:pPr marL="0" indent="0">
                        <a:buFont typeface="Wingdings" panose="05000000000000000000" pitchFamily="2" charset="2"/>
                        <a:buNone/>
                      </a:pPr>
                      <a:r>
                        <a:rPr lang="ja-JP" altLang="en-US" sz="1600"/>
                        <a:t>仮説が実現する理由</a:t>
                      </a:r>
                      <a:r>
                        <a:rPr lang="en-US" altLang="ja-JP" sz="1600"/>
                        <a:t>: </a:t>
                      </a:r>
                      <a:r>
                        <a:rPr lang="ja-JP" altLang="en-US" sz="1600"/>
                        <a:t>＿</a:t>
                      </a:r>
                      <a:endParaRPr lang="en-US" altLang="ja-JP" sz="1600"/>
                    </a:p>
                    <a:p>
                      <a:pPr marL="285750" indent="-285750">
                        <a:buFont typeface="Wingdings" panose="05000000000000000000" pitchFamily="2" charset="2"/>
                        <a:buChar char="l"/>
                      </a:pPr>
                      <a:endParaRPr lang="en-US" altLang="ja-JP" sz="1600"/>
                    </a:p>
                    <a:p>
                      <a:pPr marL="285750" indent="-285750">
                        <a:buFont typeface="Wingdings" panose="05000000000000000000" pitchFamily="2" charset="2"/>
                        <a:buChar char="l"/>
                      </a:pPr>
                      <a:r>
                        <a:rPr lang="ja-JP" altLang="en-US" sz="1600"/>
                        <a:t>仮説</a:t>
                      </a:r>
                      <a:r>
                        <a:rPr lang="en-US" altLang="ja-JP" sz="1600"/>
                        <a:t>: </a:t>
                      </a:r>
                      <a:r>
                        <a:rPr lang="ja-JP" altLang="en-US" sz="1600"/>
                        <a:t>＿</a:t>
                      </a:r>
                      <a:endParaRPr lang="en-US" altLang="ja-JP" sz="1600"/>
                    </a:p>
                    <a:p>
                      <a:pPr marL="285750" indent="-285750">
                        <a:buFont typeface="Wingdings" panose="05000000000000000000" pitchFamily="2" charset="2"/>
                        <a:buChar char="l"/>
                      </a:pPr>
                      <a:endParaRPr lang="en-US" altLang="ja-JP" sz="1600"/>
                    </a:p>
                    <a:p>
                      <a:pPr marL="0" indent="0">
                        <a:buFont typeface="Wingdings" panose="05000000000000000000" pitchFamily="2" charset="2"/>
                        <a:buNone/>
                      </a:pPr>
                      <a:r>
                        <a:rPr lang="ja-JP" altLang="en-US" sz="1600"/>
                        <a:t>仮説が実現する理由</a:t>
                      </a:r>
                      <a:r>
                        <a:rPr lang="en-US" altLang="ja-JP" sz="1600"/>
                        <a:t>: </a:t>
                      </a:r>
                      <a:r>
                        <a:rPr lang="ja-JP" altLang="en-US" sz="1600"/>
                        <a:t>＿</a:t>
                      </a:r>
                    </a:p>
                    <a:p>
                      <a:pPr marL="0" lvl="0" indent="0" algn="just">
                        <a:buFont typeface="Wingdings" panose="05000000000000000000" pitchFamily="2" charset="2"/>
                        <a:buNone/>
                      </a:pPr>
                      <a:endParaRPr lang="en-US" altLang="ja-JP" sz="1600" u="none" kern="100">
                        <a:solidFill>
                          <a:srgbClr val="000000"/>
                        </a:solidFill>
                        <a:effectLst/>
                        <a:latin typeface="+mn-ea"/>
                        <a:ea typeface="+mn-ea"/>
                        <a:cs typeface="Arial" panose="020B0604020202020204" pitchFamily="34" charset="0"/>
                      </a:endParaRPr>
                    </a:p>
                    <a:p>
                      <a:pPr marL="342900" lvl="0" indent="-342900" algn="just">
                        <a:buFont typeface="Wingdings" panose="05000000000000000000" pitchFamily="2" charset="2"/>
                        <a:buChar char=""/>
                      </a:pPr>
                      <a:endParaRPr lang="en-US" altLang="ja-JP" sz="1600" u="none" kern="100">
                        <a:solidFill>
                          <a:srgbClr val="000000"/>
                        </a:solidFill>
                        <a:effectLst/>
                        <a:latin typeface="+mn-ea"/>
                        <a:ea typeface="+mn-ea"/>
                        <a:cs typeface="Arial" panose="020B0604020202020204" pitchFamily="34" charset="0"/>
                      </a:endParaRPr>
                    </a:p>
                  </a:txBody>
                  <a:tcPr marL="112542" marR="112542" marT="56271" marB="56271">
                    <a:solidFill>
                      <a:schemeClr val="bg1"/>
                    </a:solidFill>
                  </a:tcPr>
                </a:tc>
                <a:extLst>
                  <a:ext uri="{0D108BD9-81ED-4DB2-BD59-A6C34878D82A}">
                    <a16:rowId xmlns:a16="http://schemas.microsoft.com/office/drawing/2014/main" val="4257226144"/>
                  </a:ext>
                </a:extLst>
              </a:tr>
            </a:tbl>
          </a:graphicData>
        </a:graphic>
      </p:graphicFrame>
      <p:sp>
        <p:nvSpPr>
          <p:cNvPr id="4" name="テキスト ボックス 3">
            <a:extLst>
              <a:ext uri="{FF2B5EF4-FFF2-40B4-BE49-F238E27FC236}">
                <a16:creationId xmlns:a16="http://schemas.microsoft.com/office/drawing/2014/main" id="{50019115-7B4A-AC62-27DD-796BB40B5F35}"/>
              </a:ext>
            </a:extLst>
          </p:cNvPr>
          <p:cNvSpPr txBox="1"/>
          <p:nvPr/>
        </p:nvSpPr>
        <p:spPr>
          <a:xfrm>
            <a:off x="1754907" y="3506673"/>
            <a:ext cx="8467744" cy="16306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スコープ単位で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をすることにより▲▲になる、等スコープに対してどのような仮説が立つか具体的に記載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の部分のどうなるかについては、できるだけ定量的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7794066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id="{7A908D4C-AB64-4D6C-A9D7-43C0FEFAFC61}"/>
              </a:ext>
            </a:extLst>
          </p:cNvPr>
          <p:cNvSpPr/>
          <p:nvPr/>
        </p:nvSpPr>
        <p:spPr>
          <a:xfrm>
            <a:off x="118188" y="1286401"/>
            <a:ext cx="3639912" cy="184868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0" name="正方形/長方形 9">
            <a:extLst>
              <a:ext uri="{FF2B5EF4-FFF2-40B4-BE49-F238E27FC236}">
                <a16:creationId xmlns:a16="http://schemas.microsoft.com/office/drawing/2014/main" id="{80E6EF29-A9F8-46B2-8DDE-5092A65E485F}"/>
              </a:ext>
            </a:extLst>
          </p:cNvPr>
          <p:cNvSpPr/>
          <p:nvPr/>
        </p:nvSpPr>
        <p:spPr>
          <a:xfrm>
            <a:off x="150389" y="1286401"/>
            <a:ext cx="11876770" cy="5232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a:solidFill>
                  <a:srgbClr val="000000"/>
                </a:solidFill>
                <a:latin typeface="BIZ UDPゴシック"/>
                <a:ea typeface="BIZ UDPゴシック"/>
              </a:rPr>
              <a:t>KPI</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サービス全体像</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実証仮説</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スコープ詳細　</a:t>
            </a:r>
            <a:endParaRPr lang="en-US" altLang="ja-JP" sz="160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a:solidFill>
                  <a:srgbClr val="000000"/>
                </a:solidFill>
                <a:latin typeface="BIZ UDPゴシック"/>
                <a:ea typeface="BIZ UDPゴシック"/>
              </a:rPr>
              <a:t>データ活用の</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政策連携</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施内容の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スケジュール（</a:t>
            </a:r>
            <a:r>
              <a:rPr lang="en-US" altLang="ja-JP" sz="1600">
                <a:solidFill>
                  <a:srgbClr val="000000"/>
                </a:solidFill>
                <a:latin typeface="BIZ UDPゴシック"/>
                <a:ea typeface="BIZ UDPゴシック"/>
              </a:rPr>
              <a:t>WBS</a:t>
            </a:r>
            <a:r>
              <a:rPr lang="ja-JP" altLang="en-US" sz="1600">
                <a:solidFill>
                  <a:srgbClr val="000000"/>
                </a:solidFill>
                <a:latin typeface="BIZ UDPゴシック"/>
                <a:ea typeface="BIZ UDPゴシック"/>
              </a:rPr>
              <a:t>ガントチャー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プロジェクトのフロー</a:t>
            </a:r>
            <a:endParaRPr lang="en-US" altLang="ja-JP" sz="160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成果物</a:t>
            </a: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Tree>
    <p:extLst>
      <p:ext uri="{BB962C8B-B14F-4D97-AF65-F5344CB8AC3E}">
        <p14:creationId xmlns:p14="http://schemas.microsoft.com/office/powerpoint/2010/main" val="17773833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３</a:t>
            </a:r>
            <a:r>
              <a:rPr lang="en-US" altLang="ja-JP"/>
              <a:t>.</a:t>
            </a:r>
            <a:r>
              <a:rPr lang="ja-JP" altLang="en-US"/>
              <a:t>スコープ詳細</a:t>
            </a:r>
          </a:p>
        </p:txBody>
      </p:sp>
      <p:sp>
        <p:nvSpPr>
          <p:cNvPr id="25" name="テキスト プレースホルダー 10">
            <a:extLst>
              <a:ext uri="{FF2B5EF4-FFF2-40B4-BE49-F238E27FC236}">
                <a16:creationId xmlns:a16="http://schemas.microsoft.com/office/drawing/2014/main" id="{068C9888-0E95-AAA4-69A4-84A9C781E59B}"/>
              </a:ext>
            </a:extLst>
          </p:cNvPr>
          <p:cNvSpPr txBox="1">
            <a:spLocks/>
          </p:cNvSpPr>
          <p:nvPr/>
        </p:nvSpPr>
        <p:spPr>
          <a:xfrm>
            <a:off x="300778" y="1197432"/>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kumimoji="1" lang="ja-JP" altLang="en-US" sz="1800" b="0" i="0" u="none" strike="noStrike" kern="1200" cap="none" spc="0" normalizeH="0" baseline="0" noProof="0">
                <a:ln>
                  <a:noFill/>
                </a:ln>
                <a:solidFill>
                  <a:srgbClr val="0070C0"/>
                </a:solidFill>
                <a:effectLst/>
                <a:uLnTx/>
                <a:uFillTx/>
                <a:latin typeface="BIZ UDPゴシック"/>
                <a:ea typeface="BIZ UDPゴシック"/>
                <a:cs typeface="+mn-cs"/>
              </a:rPr>
              <a:t>①</a:t>
            </a:r>
            <a:r>
              <a:rPr lang="ja-JP" altLang="en-US" sz="1800">
                <a:solidFill>
                  <a:srgbClr val="0070C0"/>
                </a:solidFill>
                <a:latin typeface="BIZ UDPゴシック"/>
                <a:ea typeface="BIZ UDPゴシック"/>
              </a:rPr>
              <a:t>データ分析の実施</a:t>
            </a:r>
            <a:endParaRPr kumimoji="1" lang="en-US" altLang="ja-JP" sz="1800" b="0" i="0" u="none" strike="noStrike" kern="1200" cap="none" spc="0" normalizeH="0" baseline="0" noProof="0">
              <a:ln>
                <a:noFill/>
              </a:ln>
              <a:solidFill>
                <a:srgbClr val="0070C0"/>
              </a:solidFill>
              <a:effectLst/>
              <a:uLnTx/>
              <a:uFillTx/>
              <a:latin typeface="BIZ UDPゴシック"/>
              <a:ea typeface="BIZ UDPゴシック"/>
              <a:cs typeface="+mn-cs"/>
            </a:endParaRPr>
          </a:p>
        </p:txBody>
      </p:sp>
      <p:graphicFrame>
        <p:nvGraphicFramePr>
          <p:cNvPr id="4" name="表 3">
            <a:extLst>
              <a:ext uri="{FF2B5EF4-FFF2-40B4-BE49-F238E27FC236}">
                <a16:creationId xmlns:a16="http://schemas.microsoft.com/office/drawing/2014/main" id="{53290717-291E-FE0B-F239-8CC31B49B7AE}"/>
              </a:ext>
            </a:extLst>
          </p:cNvPr>
          <p:cNvGraphicFramePr>
            <a:graphicFrameLocks noGrp="1"/>
          </p:cNvGraphicFramePr>
          <p:nvPr/>
        </p:nvGraphicFramePr>
        <p:xfrm>
          <a:off x="6120379" y="1941804"/>
          <a:ext cx="5390886" cy="4131675"/>
        </p:xfrm>
        <a:graphic>
          <a:graphicData uri="http://schemas.openxmlformats.org/drawingml/2006/table">
            <a:tbl>
              <a:tblPr firstRow="1" firstCol="1" bandRow="1">
                <a:tableStyleId>{5940675A-B579-460E-94D1-54222C63F5DA}</a:tableStyleId>
              </a:tblPr>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43021">
                <a:tc>
                  <a:txBody>
                    <a:bodyPr/>
                    <a:lstStyle/>
                    <a:p>
                      <a:pPr algn="just"/>
                      <a:r>
                        <a:rPr lang="ja-JP" altLang="en-US" sz="1050" b="0" kern="100">
                          <a:solidFill>
                            <a:schemeClr val="tx1"/>
                          </a:solidFill>
                          <a:effectLst/>
                          <a:latin typeface="+mn-ea"/>
                          <a:ea typeface="+mn-ea"/>
                          <a:cs typeface="Meiryo UI" panose="020B0604030504040204" pitchFamily="50" charset="-128"/>
                        </a:rPr>
                        <a:t>開発機能</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tc>
                  <a:txBody>
                    <a:body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solidFill>
                      <a:schemeClr val="bg1">
                        <a:lumMod val="75000"/>
                      </a:schemeClr>
                    </a:solidFill>
                  </a:tcPr>
                </a:tc>
                <a:extLst>
                  <a:ext uri="{0D108BD9-81ED-4DB2-BD59-A6C34878D82A}">
                    <a16:rowId xmlns:a16="http://schemas.microsoft.com/office/drawing/2014/main" val="1526276123"/>
                  </a:ext>
                </a:extLst>
              </a:tr>
              <a:tr h="445920">
                <a:tc>
                  <a:txBody>
                    <a:bodyPr/>
                    <a:lstStyle/>
                    <a:p>
                      <a:r>
                        <a:rPr kumimoji="1" lang="ja-JP" altLang="en-US" sz="1050">
                          <a:solidFill>
                            <a:srgbClr val="0070C0"/>
                          </a:solidFill>
                        </a:rPr>
                        <a:t>地域情報可視化機能</a:t>
                      </a:r>
                    </a:p>
                  </a:txBody>
                  <a:tcPr marL="90000" marR="90000" marT="46800" marB="46800" anchor="ctr"/>
                </a:tc>
                <a:tc>
                  <a:txBody>
                    <a:bodyPr/>
                    <a:lstStyle/>
                    <a:p>
                      <a:r>
                        <a:rPr kumimoji="1" lang="ja-JP" altLang="en-US" sz="1050">
                          <a:solidFill>
                            <a:srgbClr val="0070C0"/>
                          </a:solidFill>
                        </a:rPr>
                        <a:t>地域の交通データを地図上で可視化する機能。</a:t>
                      </a:r>
                    </a:p>
                  </a:txBody>
                  <a:tcPr marL="90000" marR="90000" marT="46800" marB="46800" anchor="ctr"/>
                </a:tc>
                <a:extLst>
                  <a:ext uri="{0D108BD9-81ED-4DB2-BD59-A6C34878D82A}">
                    <a16:rowId xmlns:a16="http://schemas.microsoft.com/office/drawing/2014/main" val="1596975374"/>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50">
                          <a:solidFill>
                            <a:srgbClr val="0070C0"/>
                          </a:solidFill>
                        </a:rPr>
                        <a:t>路線別情報可視化機能</a:t>
                      </a:r>
                      <a:endParaRPr kumimoji="1" lang="en-US" altLang="ja-JP" sz="1050">
                        <a:solidFill>
                          <a:srgbClr val="0070C0"/>
                        </a:solidFill>
                      </a:endParaRPr>
                    </a:p>
                  </a:txBody>
                  <a:tcPr marL="90000" marR="90000" marT="46800" marB="46800" anchor="ct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a:solidFill>
                            <a:srgbClr val="0070C0"/>
                          </a:solidFill>
                        </a:rPr>
                        <a:t>地域の路線別（手宇道・バス・</a:t>
                      </a:r>
                      <a:r>
                        <a:rPr kumimoji="1" lang="en-US" altLang="ja-JP" sz="1050">
                          <a:solidFill>
                            <a:srgbClr val="0070C0"/>
                          </a:solidFill>
                        </a:rPr>
                        <a:t>AI</a:t>
                      </a:r>
                      <a:r>
                        <a:rPr kumimoji="1" lang="ja-JP" altLang="en-US" sz="1050">
                          <a:solidFill>
                            <a:srgbClr val="0070C0"/>
                          </a:solidFill>
                        </a:rPr>
                        <a:t>オンデマンド）の輸送実績データを表示する機能。</a:t>
                      </a:r>
                    </a:p>
                  </a:txBody>
                  <a:tcPr marL="90000" marR="90000" marT="46800" marB="46800" anchor="ctr"/>
                </a:tc>
                <a:extLst>
                  <a:ext uri="{0D108BD9-81ED-4DB2-BD59-A6C34878D82A}">
                    <a16:rowId xmlns:a16="http://schemas.microsoft.com/office/drawing/2014/main" val="3479908594"/>
                  </a:ext>
                </a:extLst>
              </a:tr>
              <a:tr h="619248">
                <a:tc>
                  <a:txBody>
                    <a:bodyPr/>
                    <a:lstStyle/>
                    <a:p>
                      <a:r>
                        <a:rPr kumimoji="1" lang="ja-JP" altLang="en-US" sz="1050">
                          <a:solidFill>
                            <a:srgbClr val="0070C0"/>
                          </a:solidFill>
                        </a:rPr>
                        <a:t>課題表示機能</a:t>
                      </a:r>
                    </a:p>
                  </a:txBody>
                  <a:tcPr marL="90000" marR="90000" marT="46800" marB="46800" anchor="ctr"/>
                </a:tc>
                <a:tc>
                  <a:txBody>
                    <a:bodyPr/>
                    <a:lstStyle/>
                    <a:p>
                      <a:r>
                        <a:rPr kumimoji="1" lang="ja-JP" altLang="en-US" sz="1050">
                          <a:solidFill>
                            <a:srgbClr val="0070C0"/>
                          </a:solidFill>
                        </a:rPr>
                        <a:t>取得したデータより、地域の交通課題を可視化する機能。</a:t>
                      </a:r>
                      <a:endParaRPr kumimoji="1" lang="en-US" altLang="ja-JP" sz="1050">
                        <a:solidFill>
                          <a:srgbClr val="0070C0"/>
                        </a:solidFill>
                      </a:endParaRPr>
                    </a:p>
                  </a:txBody>
                  <a:tcPr marL="90000" marR="90000" marT="46800" marB="46800" anchor="ctr"/>
                </a:tc>
                <a:extLst>
                  <a:ext uri="{0D108BD9-81ED-4DB2-BD59-A6C34878D82A}">
                    <a16:rowId xmlns:a16="http://schemas.microsoft.com/office/drawing/2014/main" val="213378181"/>
                  </a:ext>
                </a:extLst>
              </a:tr>
              <a:tr h="618902">
                <a:tc>
                  <a:txBody>
                    <a:bodyPr/>
                    <a:lstStyle/>
                    <a:p>
                      <a:r>
                        <a:rPr kumimoji="1" lang="ja-JP" altLang="en-US" sz="1050">
                          <a:solidFill>
                            <a:srgbClr val="0070C0"/>
                          </a:solidFill>
                        </a:rPr>
                        <a:t>ユーザー管理機能</a:t>
                      </a:r>
                    </a:p>
                  </a:txBody>
                  <a:tcPr marL="90000" marR="90000" marT="46800" marB="46800" anchor="ctr"/>
                </a:tc>
                <a:tc>
                  <a:txBody>
                    <a:bodyPr/>
                    <a:lstStyle/>
                    <a:p>
                      <a:r>
                        <a:rPr kumimoji="1" lang="ja-JP" altLang="en-US" sz="1050">
                          <a:solidFill>
                            <a:srgbClr val="0070C0"/>
                          </a:solidFill>
                        </a:rPr>
                        <a:t>ツールを操作する自治体職員用のユーザー管理機能。ユーザーの管理権限を付与できる。</a:t>
                      </a:r>
                    </a:p>
                  </a:txBody>
                  <a:tcPr marL="90000" marR="90000" marT="46800" marB="46800" anchor="ctr"/>
                </a:tc>
                <a:extLst>
                  <a:ext uri="{0D108BD9-81ED-4DB2-BD59-A6C34878D82A}">
                    <a16:rowId xmlns:a16="http://schemas.microsoft.com/office/drawing/2014/main" val="3204529771"/>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146275505"/>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50">
                        <a:solidFill>
                          <a:srgbClr val="0070C0"/>
                        </a:solidFill>
                      </a:endParaRPr>
                    </a:p>
                  </a:txBody>
                  <a:tcPr marL="90000" marR="90000" marT="46800" marB="46800" anchor="ctr"/>
                </a:tc>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extLst>
                  <a:ext uri="{0D108BD9-81ED-4DB2-BD59-A6C34878D82A}">
                    <a16:rowId xmlns:a16="http://schemas.microsoft.com/office/drawing/2014/main" val="3569301698"/>
                  </a:ext>
                </a:extLst>
              </a:tr>
              <a:tr h="526146">
                <a:tc>
                  <a:txBody>
                    <a:body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tc>
                <a:tc>
                  <a:txBody>
                    <a:bodyPr/>
                    <a:lstStyle/>
                    <a:p>
                      <a:pPr marL="0" lvl="0" indent="0" algn="just">
                        <a:buFont typeface="Arial" panose="020B0604020202020204" pitchFamily="34" charset="0"/>
                        <a:buNone/>
                      </a:pPr>
                      <a:endParaRPr lang="ja-JP" sz="1050" b="0" kern="100">
                        <a:solidFill>
                          <a:srgbClr val="0070C0"/>
                        </a:solidFill>
                        <a:effectLst/>
                        <a:latin typeface="+mn-ea"/>
                        <a:ea typeface="+mn-ea"/>
                        <a:cs typeface="Meiryo UI" panose="020B0604030504040204" pitchFamily="50" charset="-128"/>
                      </a:endParaRPr>
                    </a:p>
                  </a:txBody>
                  <a:tcPr marL="90000" marR="90000" marT="46800" marB="46800" anchor="ctr"/>
                </a:tc>
                <a:extLst>
                  <a:ext uri="{0D108BD9-81ED-4DB2-BD59-A6C34878D82A}">
                    <a16:rowId xmlns:a16="http://schemas.microsoft.com/office/drawing/2014/main" val="4113606418"/>
                  </a:ext>
                </a:extLst>
              </a:tr>
            </a:tbl>
          </a:graphicData>
        </a:graphic>
      </p:graphicFrame>
      <p:graphicFrame>
        <p:nvGraphicFramePr>
          <p:cNvPr id="6" name="表 5">
            <a:extLst>
              <a:ext uri="{FF2B5EF4-FFF2-40B4-BE49-F238E27FC236}">
                <a16:creationId xmlns:a16="http://schemas.microsoft.com/office/drawing/2014/main" id="{5A7AFDF6-E377-1764-3320-E79733479593}"/>
              </a:ext>
            </a:extLst>
          </p:cNvPr>
          <p:cNvGraphicFramePr>
            <a:graphicFrameLocks noGrp="1"/>
          </p:cNvGraphicFramePr>
          <p:nvPr/>
        </p:nvGraphicFramePr>
        <p:xfrm>
          <a:off x="453017" y="1934384"/>
          <a:ext cx="5390886" cy="3417898"/>
        </p:xfrm>
        <a:graphic>
          <a:graphicData uri="http://schemas.openxmlformats.org/drawingml/2006/table">
            <a:tbl>
              <a:tblPr firstRow="1" firstCol="1" bandRow="1"/>
              <a:tblGrid>
                <a:gridCol w="1621993">
                  <a:extLst>
                    <a:ext uri="{9D8B030D-6E8A-4147-A177-3AD203B41FA5}">
                      <a16:colId xmlns:a16="http://schemas.microsoft.com/office/drawing/2014/main" val="3938936156"/>
                    </a:ext>
                  </a:extLst>
                </a:gridCol>
                <a:gridCol w="3768893">
                  <a:extLst>
                    <a:ext uri="{9D8B030D-6E8A-4147-A177-3AD203B41FA5}">
                      <a16:colId xmlns:a16="http://schemas.microsoft.com/office/drawing/2014/main" val="547714969"/>
                    </a:ext>
                  </a:extLst>
                </a:gridCol>
              </a:tblGrid>
              <a:tr h="327396">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スコープ</a:t>
                      </a:r>
                      <a:endParaRPr lang="ja-JP" alt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algn="just"/>
                      <a:r>
                        <a:rPr lang="ja-JP" altLang="en-US" sz="1050" b="0" kern="100">
                          <a:solidFill>
                            <a:schemeClr val="tx1"/>
                          </a:solidFill>
                          <a:effectLst/>
                          <a:latin typeface="+mn-ea"/>
                          <a:ea typeface="+mn-ea"/>
                          <a:cs typeface="Meiryo UI" panose="020B0604030504040204" pitchFamily="50" charset="-128"/>
                        </a:rPr>
                        <a:t>概要</a:t>
                      </a:r>
                      <a:endParaRPr lang="ja-JP" sz="1050" b="0" kern="100">
                        <a:solidFill>
                          <a:schemeClr val="tx1"/>
                        </a:solidFill>
                        <a:effectLst/>
                        <a:latin typeface="+mn-ea"/>
                        <a:ea typeface="+mn-ea"/>
                        <a:cs typeface="Meiryo UI" panose="020B0604030504040204" pitchFamily="50" charset="-128"/>
                      </a:endParaRPr>
                    </a:p>
                  </a:txBody>
                  <a:tcPr marL="90000" marR="90000" marT="46800" marB="46800">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75000"/>
                      </a:srgbClr>
                    </a:solidFill>
                  </a:tcPr>
                </a:tc>
                <a:extLst>
                  <a:ext uri="{0D108BD9-81ED-4DB2-BD59-A6C34878D82A}">
                    <a16:rowId xmlns:a16="http://schemas.microsoft.com/office/drawing/2014/main" val="1526276123"/>
                  </a:ext>
                </a:extLst>
              </a:tr>
              <a:tr h="425608">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r>
                        <a:rPr kumimoji="1" lang="ja-JP" altLang="en-US" sz="1050">
                          <a:solidFill>
                            <a:srgbClr val="0070C0"/>
                          </a:solidFill>
                        </a:rPr>
                        <a:t>路線バスの再編計画の作成</a:t>
                      </a: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R="0" lvl="0" algn="l" defTabSz="914400" rtl="0" eaLnBrk="1" fontAlgn="auto" latinLnBrk="0" hangingPunct="1">
                        <a:lnSpc>
                          <a:spcPct val="100000"/>
                        </a:lnSpc>
                        <a:spcBef>
                          <a:spcPts val="300"/>
                        </a:spcBef>
                        <a:spcAft>
                          <a:spcPts val="0"/>
                        </a:spcAft>
                        <a:buClrTx/>
                        <a:buSzTx/>
                        <a:tabLst/>
                        <a:defRPr/>
                      </a:pPr>
                      <a:r>
                        <a:rPr lang="ja-JP" altLang="en-US" sz="1050">
                          <a:solidFill>
                            <a:srgbClr val="0070C0"/>
                          </a:solidFill>
                          <a:latin typeface="BIZ UDPゴシック"/>
                          <a:ea typeface="BIZ UDPゴシック"/>
                        </a:rPr>
                        <a:t>現状の路線バスユーザーが市内をどのように移動しているか、及び観光客がどのようなスポットを周遊しているかを可視化。時刻表及びバス停、路線・系統の再編に向けた課題を明確化する。</a:t>
                      </a:r>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596975374"/>
                  </a:ext>
                </a:extLst>
              </a:tr>
              <a:tr h="502180">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R="0" lvl="0" algn="l" defTabSz="914400" rtl="0" eaLnBrk="1" fontAlgn="auto" latinLnBrk="0" hangingPunct="1">
                        <a:lnSpc>
                          <a:spcPct val="100000"/>
                        </a:lnSpc>
                        <a:spcBef>
                          <a:spcPts val="300"/>
                        </a:spcBef>
                        <a:spcAft>
                          <a:spcPts val="0"/>
                        </a:spcAft>
                        <a:buClrTx/>
                        <a:buSzTx/>
                        <a:tabLst/>
                        <a:defRPr/>
                      </a:pPr>
                      <a:r>
                        <a:rPr kumimoji="1" lang="ja-JP" altLang="en-US" sz="1050" b="0" i="0" u="none" strike="noStrike" kern="1200" cap="none" spc="0" normalizeH="0" baseline="0" noProof="0">
                          <a:ln>
                            <a:noFill/>
                          </a:ln>
                          <a:solidFill>
                            <a:srgbClr val="0070C0"/>
                          </a:solidFill>
                          <a:effectLst/>
                          <a:uLnTx/>
                          <a:uFillTx/>
                          <a:latin typeface="BIZ UDPゴシック"/>
                          <a:ea typeface="BIZ UDPゴシック"/>
                          <a:cs typeface="+mn-cs"/>
                        </a:rPr>
                        <a:t>赤字路線の</a:t>
                      </a:r>
                      <a:r>
                        <a:rPr kumimoji="1" lang="en-US" altLang="ja-JP" sz="1050" b="0" i="0" u="none" strike="noStrike" kern="1200" cap="none" spc="0" normalizeH="0" baseline="0" noProof="0">
                          <a:ln>
                            <a:noFill/>
                          </a:ln>
                          <a:solidFill>
                            <a:srgbClr val="0070C0"/>
                          </a:solidFill>
                          <a:effectLst/>
                          <a:uLnTx/>
                          <a:uFillTx/>
                          <a:latin typeface="BIZ UDPゴシック"/>
                          <a:ea typeface="BIZ UDPゴシック"/>
                          <a:cs typeface="+mn-cs"/>
                        </a:rPr>
                        <a:t>AI</a:t>
                      </a:r>
                      <a:r>
                        <a:rPr kumimoji="1" lang="ja-JP" altLang="en-US" sz="1050" b="0" i="0" u="none" strike="noStrike" kern="1200" cap="none" spc="0" normalizeH="0" baseline="0" noProof="0">
                          <a:ln>
                            <a:noFill/>
                          </a:ln>
                          <a:solidFill>
                            <a:srgbClr val="0070C0"/>
                          </a:solidFill>
                          <a:effectLst/>
                          <a:uLnTx/>
                          <a:uFillTx/>
                          <a:latin typeface="BIZ UDPゴシック"/>
                          <a:ea typeface="BIZ UDPゴシック"/>
                          <a:cs typeface="+mn-cs"/>
                        </a:rPr>
                        <a:t>オンデマント交通への転換検討</a:t>
                      </a:r>
                      <a:endParaRPr kumimoji="1" lang="en-US" altLang="ja-JP" sz="1050" b="0" i="0" u="none" strike="noStrike" kern="1200" cap="none" spc="0" normalizeH="0" baseline="0" noProof="0">
                        <a:ln>
                          <a:noFill/>
                        </a:ln>
                        <a:solidFill>
                          <a:srgbClr val="0070C0"/>
                        </a:solidFill>
                        <a:effectLst/>
                        <a:uLnTx/>
                        <a:uFillTx/>
                        <a:latin typeface="BIZ UDPゴシック"/>
                        <a:ea typeface="BIZ UDPゴシック"/>
                        <a:cs typeface="+mn-cs"/>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R="0" lvl="0" algn="l" defTabSz="914400" rtl="0" eaLnBrk="1" fontAlgn="auto" latinLnBrk="0" hangingPunct="1">
                        <a:lnSpc>
                          <a:spcPct val="100000"/>
                        </a:lnSpc>
                        <a:spcBef>
                          <a:spcPts val="300"/>
                        </a:spcBef>
                        <a:spcAft>
                          <a:spcPts val="0"/>
                        </a:spcAft>
                        <a:buClrTx/>
                        <a:buSzTx/>
                        <a:tabLst/>
                        <a:defRPr/>
                      </a:pPr>
                      <a:r>
                        <a:rPr kumimoji="1" lang="ja-JP" altLang="en-US" sz="1050" b="0" i="0" u="none" strike="noStrike" kern="1200" cap="none" spc="0" normalizeH="0" baseline="0" noProof="0">
                          <a:ln>
                            <a:noFill/>
                          </a:ln>
                          <a:solidFill>
                            <a:srgbClr val="0070C0"/>
                          </a:solidFill>
                          <a:effectLst/>
                          <a:uLnTx/>
                          <a:uFillTx/>
                          <a:latin typeface="BIZ UDPゴシック"/>
                          <a:ea typeface="BIZ UDPゴシック"/>
                          <a:cs typeface="+mn-cs"/>
                        </a:rPr>
                        <a:t>市の職員が月に</a:t>
                      </a:r>
                      <a:r>
                        <a:rPr lang="ja-JP" altLang="en-US" sz="1050">
                          <a:solidFill>
                            <a:srgbClr val="0070C0"/>
                          </a:solidFill>
                          <a:latin typeface="BIZ UDPゴシック"/>
                          <a:ea typeface="BIZ UDPゴシック"/>
                        </a:rPr>
                        <a:t>一度、</a:t>
                      </a:r>
                      <a:r>
                        <a:rPr kumimoji="1" lang="ja-JP" altLang="en-US" sz="1050" b="0" i="0" u="none" strike="noStrike" kern="1200" cap="none" spc="0" normalizeH="0" baseline="0" noProof="0">
                          <a:ln>
                            <a:noFill/>
                          </a:ln>
                          <a:solidFill>
                            <a:srgbClr val="0070C0"/>
                          </a:solidFill>
                          <a:effectLst/>
                          <a:uLnTx/>
                          <a:uFillTx/>
                          <a:latin typeface="BIZ UDPゴシック"/>
                          <a:ea typeface="BIZ UDPゴシック"/>
                          <a:cs typeface="+mn-cs"/>
                        </a:rPr>
                        <a:t>地域公共交通会議で</a:t>
                      </a:r>
                      <a:r>
                        <a:rPr lang="ja-JP" altLang="en-US" sz="1050">
                          <a:solidFill>
                            <a:srgbClr val="0070C0"/>
                          </a:solidFill>
                          <a:latin typeface="BIZ UDPゴシック"/>
                          <a:ea typeface="BIZ UDPゴシック"/>
                        </a:rPr>
                        <a:t>使用する資料を作成する際に、システムから出力されたグラフ及び地図を活用し、赤字路線の廃止の検討や代替交通の検討材料として</a:t>
                      </a:r>
                      <a:r>
                        <a:rPr lang="en-US" altLang="ja-JP" sz="1050">
                          <a:solidFill>
                            <a:srgbClr val="0070C0"/>
                          </a:solidFill>
                          <a:latin typeface="BIZ UDPゴシック"/>
                          <a:ea typeface="BIZ UDPゴシック"/>
                        </a:rPr>
                        <a:t>OD</a:t>
                      </a:r>
                      <a:r>
                        <a:rPr lang="ja-JP" altLang="en-US" sz="1050">
                          <a:solidFill>
                            <a:srgbClr val="0070C0"/>
                          </a:solidFill>
                          <a:latin typeface="BIZ UDPゴシック"/>
                          <a:ea typeface="BIZ UDPゴシック"/>
                        </a:rPr>
                        <a:t>データを可視化した資料を作成する。</a:t>
                      </a:r>
                      <a:endParaRPr kumimoji="1" lang="en-US" altLang="ja-JP" sz="1050" b="0" i="0" u="none" strike="noStrike" kern="1200" cap="none" spc="0" normalizeH="0" baseline="0" noProof="0">
                        <a:ln>
                          <a:noFill/>
                        </a:ln>
                        <a:solidFill>
                          <a:srgbClr val="0070C0"/>
                        </a:solidFill>
                        <a:effectLst/>
                        <a:uLnTx/>
                        <a:uFillTx/>
                        <a:latin typeface="BIZ UDPゴシック"/>
                        <a:ea typeface="BIZ UDPゴシック"/>
                        <a:cs typeface="+mn-cs"/>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479908594"/>
                  </a:ext>
                </a:extLst>
              </a:tr>
              <a:tr h="53226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ja-JP" altLang="en-US"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213378181"/>
                  </a:ext>
                </a:extLst>
              </a:tr>
              <a:tr h="366981">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endParaRPr kumimoji="1" lang="en-US" altLang="ja-JP" sz="1050">
                        <a:solidFill>
                          <a:srgbClr val="0070C0"/>
                        </a:solidFill>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04529771"/>
                  </a:ext>
                </a:extLst>
              </a:tr>
              <a:tr h="32143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146275505"/>
                  </a:ext>
                </a:extLst>
              </a:tr>
              <a:tr h="402465">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0" indent="0" algn="just">
                        <a:buFont typeface="Arial" panose="020B0604020202020204" pitchFamily="34" charset="0"/>
                        <a:buNone/>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742950" rtl="0" eaLnBrk="1" latinLnBrk="0" hangingPunct="1">
                        <a:defRPr kumimoji="1" sz="1463" kern="1200">
                          <a:solidFill>
                            <a:schemeClr val="tx1"/>
                          </a:solidFill>
                          <a:latin typeface="Noto Sans CJK JP"/>
                          <a:ea typeface="BIZ UDPゴシック"/>
                        </a:defRPr>
                      </a:lvl1pPr>
                      <a:lvl2pPr marL="371475" algn="l" defTabSz="742950" rtl="0" eaLnBrk="1" latinLnBrk="0" hangingPunct="1">
                        <a:defRPr kumimoji="1" sz="1463" kern="1200">
                          <a:solidFill>
                            <a:schemeClr val="tx1"/>
                          </a:solidFill>
                          <a:latin typeface="Noto Sans CJK JP"/>
                          <a:ea typeface="BIZ UDPゴシック"/>
                        </a:defRPr>
                      </a:lvl2pPr>
                      <a:lvl3pPr marL="742950" algn="l" defTabSz="742950" rtl="0" eaLnBrk="1" latinLnBrk="0" hangingPunct="1">
                        <a:defRPr kumimoji="1" sz="1463" kern="1200">
                          <a:solidFill>
                            <a:schemeClr val="tx1"/>
                          </a:solidFill>
                          <a:latin typeface="Noto Sans CJK JP"/>
                          <a:ea typeface="BIZ UDPゴシック"/>
                        </a:defRPr>
                      </a:lvl3pPr>
                      <a:lvl4pPr marL="1114425" algn="l" defTabSz="742950" rtl="0" eaLnBrk="1" latinLnBrk="0" hangingPunct="1">
                        <a:defRPr kumimoji="1" sz="1463" kern="1200">
                          <a:solidFill>
                            <a:schemeClr val="tx1"/>
                          </a:solidFill>
                          <a:latin typeface="Noto Sans CJK JP"/>
                          <a:ea typeface="BIZ UDPゴシック"/>
                        </a:defRPr>
                      </a:lvl4pPr>
                      <a:lvl5pPr marL="1485900" algn="l" defTabSz="742950" rtl="0" eaLnBrk="1" latinLnBrk="0" hangingPunct="1">
                        <a:defRPr kumimoji="1" sz="1463" kern="1200">
                          <a:solidFill>
                            <a:schemeClr val="tx1"/>
                          </a:solidFill>
                          <a:latin typeface="Noto Sans CJK JP"/>
                          <a:ea typeface="BIZ UDPゴシック"/>
                        </a:defRPr>
                      </a:lvl5pPr>
                      <a:lvl6pPr marL="1857375" algn="l" defTabSz="742950" rtl="0" eaLnBrk="1" latinLnBrk="0" hangingPunct="1">
                        <a:defRPr kumimoji="1" sz="1463" kern="1200">
                          <a:solidFill>
                            <a:schemeClr val="tx1"/>
                          </a:solidFill>
                          <a:latin typeface="Noto Sans CJK JP"/>
                          <a:ea typeface="BIZ UDPゴシック"/>
                        </a:defRPr>
                      </a:lvl6pPr>
                      <a:lvl7pPr marL="2228850" algn="l" defTabSz="742950" rtl="0" eaLnBrk="1" latinLnBrk="0" hangingPunct="1">
                        <a:defRPr kumimoji="1" sz="1463" kern="1200">
                          <a:solidFill>
                            <a:schemeClr val="tx1"/>
                          </a:solidFill>
                          <a:latin typeface="Noto Sans CJK JP"/>
                          <a:ea typeface="BIZ UDPゴシック"/>
                        </a:defRPr>
                      </a:lvl7pPr>
                      <a:lvl8pPr marL="2600325" algn="l" defTabSz="742950" rtl="0" eaLnBrk="1" latinLnBrk="0" hangingPunct="1">
                        <a:defRPr kumimoji="1" sz="1463" kern="1200">
                          <a:solidFill>
                            <a:schemeClr val="tx1"/>
                          </a:solidFill>
                          <a:latin typeface="Noto Sans CJK JP"/>
                          <a:ea typeface="BIZ UDPゴシック"/>
                        </a:defRPr>
                      </a:lvl8pPr>
                      <a:lvl9pPr marL="2971800" algn="l" defTabSz="742950" rtl="0" eaLnBrk="1" latinLnBrk="0" hangingPunct="1">
                        <a:defRPr kumimoji="1" sz="1463" kern="1200">
                          <a:solidFill>
                            <a:schemeClr val="tx1"/>
                          </a:solidFill>
                          <a:latin typeface="Noto Sans CJK JP"/>
                          <a:ea typeface="BIZ UDPゴシック"/>
                        </a:defRPr>
                      </a:lvl9pPr>
                    </a:lstStyle>
                    <a:p>
                      <a:pPr marL="171450" lvl="0" indent="-171450" algn="just">
                        <a:buFont typeface="Arial" panose="020B0604020202020204" pitchFamily="34" charset="0"/>
                        <a:buChar char="•"/>
                      </a:pPr>
                      <a:endParaRPr lang="ja-JP" sz="1050" b="0" kern="100">
                        <a:solidFill>
                          <a:schemeClr val="tx1"/>
                        </a:solidFill>
                        <a:effectLst/>
                        <a:latin typeface="+mn-ea"/>
                        <a:ea typeface="+mn-ea"/>
                        <a:cs typeface="Meiryo UI" panose="020B0604030504040204" pitchFamily="50" charset="-128"/>
                      </a:endParaRPr>
                    </a:p>
                  </a:txBody>
                  <a:tcPr marL="90000" marR="90000" marT="46800" marB="46800"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69301698"/>
                  </a:ext>
                </a:extLst>
              </a:tr>
            </a:tbl>
          </a:graphicData>
        </a:graphic>
      </p:graphicFrame>
      <p:sp>
        <p:nvSpPr>
          <p:cNvPr id="7" name="テキスト ボックス 6">
            <a:extLst>
              <a:ext uri="{FF2B5EF4-FFF2-40B4-BE49-F238E27FC236}">
                <a16:creationId xmlns:a16="http://schemas.microsoft.com/office/drawing/2014/main" id="{B7D895DB-DA98-CF8A-877C-396398F920BF}"/>
              </a:ext>
            </a:extLst>
          </p:cNvPr>
          <p:cNvSpPr txBox="1"/>
          <p:nvPr/>
        </p:nvSpPr>
        <p:spPr>
          <a:xfrm>
            <a:off x="537268" y="4734968"/>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事業内容についてスコープ毎に分けて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企画乗車券の販売や</a:t>
            </a:r>
            <a:r>
              <a:rPr kumimoji="0" lang="en-US" altLang="ja-JP" sz="1400" b="0" i="0" u="none" strike="noStrike" kern="0" cap="none" spc="0" normalizeH="0" baseline="0" noProof="0">
                <a:ln>
                  <a:noFill/>
                </a:ln>
                <a:solidFill>
                  <a:srgbClr val="FFFFFF"/>
                </a:solidFill>
                <a:effectLst/>
                <a:uLnTx/>
                <a:uFillTx/>
              </a:rPr>
              <a:t>QR</a:t>
            </a:r>
            <a:r>
              <a:rPr kumimoji="0" lang="ja-JP" altLang="en-US" sz="1400" b="0" i="0" u="none" strike="noStrike" kern="0" cap="none" spc="0" normalizeH="0" baseline="0" noProof="0">
                <a:ln>
                  <a:noFill/>
                </a:ln>
                <a:solidFill>
                  <a:srgbClr val="FFFFFF"/>
                </a:solidFill>
                <a:effectLst/>
                <a:uLnTx/>
                <a:uFillTx/>
              </a:rPr>
              <a:t>端末の設置等、本プロジェクトで導入する数量が明記できるものに関しては、具体的な目標数量の記載をお願いいたし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8" name="テキスト ボックス 7">
            <a:extLst>
              <a:ext uri="{FF2B5EF4-FFF2-40B4-BE49-F238E27FC236}">
                <a16:creationId xmlns:a16="http://schemas.microsoft.com/office/drawing/2014/main" id="{A762EA6F-8909-D98A-525B-0FD81372790C}"/>
              </a:ext>
            </a:extLst>
          </p:cNvPr>
          <p:cNvSpPr txBox="1"/>
          <p:nvPr/>
        </p:nvSpPr>
        <p:spPr>
          <a:xfrm>
            <a:off x="6342702" y="4734969"/>
            <a:ext cx="5275836" cy="171897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左記スコープに対し、本プロジェクトで開発する機能を記載ください。なお、既存システムやサービスを利用する場合も記載し、既存機能であることを明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又はシステム利用を伴わないスコープの場合、記載は不要で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ページは適宜追加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参考資料は適宜追加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10" name="テキスト ボックス 9">
            <a:extLst>
              <a:ext uri="{FF2B5EF4-FFF2-40B4-BE49-F238E27FC236}">
                <a16:creationId xmlns:a16="http://schemas.microsoft.com/office/drawing/2014/main" id="{267E8FB9-7E2E-A7CA-2635-871FD893E8A6}"/>
              </a:ext>
            </a:extLst>
          </p:cNvPr>
          <p:cNvSpPr txBox="1"/>
          <p:nvPr/>
        </p:nvSpPr>
        <p:spPr>
          <a:xfrm>
            <a:off x="453017" y="1490744"/>
            <a:ext cx="11313782" cy="710832"/>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400" err="1">
                <a:solidFill>
                  <a:srgbClr val="0070C0"/>
                </a:solidFill>
                <a:latin typeface="BIZ UDPゴシック"/>
                <a:ea typeface="BIZ UDPゴシック"/>
              </a:rPr>
              <a:t>MaaS</a:t>
            </a:r>
            <a:r>
              <a:rPr lang="ja-JP" altLang="en-US" sz="1400">
                <a:solidFill>
                  <a:srgbClr val="0070C0"/>
                </a:solidFill>
                <a:latin typeface="BIZ UDPゴシック"/>
                <a:ea typeface="BIZ UDPゴシック"/>
              </a:rPr>
              <a:t>アプリ利用者の</a:t>
            </a:r>
            <a:r>
              <a:rPr lang="en-US" altLang="ja-JP" sz="1400">
                <a:solidFill>
                  <a:srgbClr val="0070C0"/>
                </a:solidFill>
                <a:latin typeface="BIZ UDPゴシック"/>
                <a:ea typeface="BIZ UDPゴシック"/>
              </a:rPr>
              <a:t>OD</a:t>
            </a:r>
            <a:r>
              <a:rPr lang="ja-JP" altLang="en-US" sz="1400">
                <a:solidFill>
                  <a:srgbClr val="0070C0"/>
                </a:solidFill>
                <a:latin typeface="BIZ UDPゴシック"/>
                <a:ea typeface="BIZ UDPゴシック"/>
              </a:rPr>
              <a:t>データを取得し、路線バスの再編計画や赤字路線を</a:t>
            </a:r>
            <a:r>
              <a:rPr lang="en-US" altLang="ja-JP" sz="1400">
                <a:solidFill>
                  <a:srgbClr val="0070C0"/>
                </a:solidFill>
                <a:latin typeface="BIZ UDPゴシック"/>
                <a:ea typeface="BIZ UDPゴシック"/>
              </a:rPr>
              <a:t>AI</a:t>
            </a:r>
            <a:r>
              <a:rPr lang="ja-JP" altLang="en-US" sz="1400">
                <a:solidFill>
                  <a:srgbClr val="0070C0"/>
                </a:solidFill>
                <a:latin typeface="BIZ UDPゴシック"/>
                <a:ea typeface="BIZ UDPゴシック"/>
              </a:rPr>
              <a:t>オンデマンド交通へ転換するなどの政策を検討。</a:t>
            </a:r>
            <a:endParaRPr lang="en-US" altLang="ja-JP" sz="1400">
              <a:solidFill>
                <a:srgbClr val="0070C0"/>
              </a:solidFill>
              <a:latin typeface="BIZ UDPゴシック"/>
              <a:ea typeface="BIZ UDPゴシック"/>
            </a:endParaRPr>
          </a:p>
        </p:txBody>
      </p:sp>
    </p:spTree>
    <p:extLst>
      <p:ext uri="{BB962C8B-B14F-4D97-AF65-F5344CB8AC3E}">
        <p14:creationId xmlns:p14="http://schemas.microsoft.com/office/powerpoint/2010/main" val="37724057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10;&#10;自動的に生成された説明">
            <a:extLst>
              <a:ext uri="{FF2B5EF4-FFF2-40B4-BE49-F238E27FC236}">
                <a16:creationId xmlns:a16="http://schemas.microsoft.com/office/drawing/2014/main" id="{45F9E099-4110-7BC2-05FA-9F23A7A3343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2159" y="1505154"/>
            <a:ext cx="7505723" cy="4946065"/>
          </a:xfrm>
          <a:prstGeom prst="rect">
            <a:avLst/>
          </a:prstGeom>
        </p:spPr>
      </p:pic>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408" imgH="408" progId="TCLayout.ActiveDocument.1">
                  <p:embed/>
                </p:oleObj>
              </mc:Choice>
              <mc:Fallback>
                <p:oleObj name="think-cell スライド" r:id="rId5"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6"/>
                      <a:stretch>
                        <a:fillRect/>
                      </a:stretch>
                    </p:blipFill>
                    <p:spPr>
                      <a:xfrm>
                        <a:off x="1144588" y="1588"/>
                        <a:ext cx="1588" cy="1588"/>
                      </a:xfrm>
                      <a:prstGeom prst="rect">
                        <a:avLst/>
                      </a:prstGeom>
                    </p:spPr>
                  </p:pic>
                </p:oleObj>
              </mc:Fallback>
            </mc:AlternateContent>
          </a:graphicData>
        </a:graphic>
      </p:graphicFrame>
      <p:sp>
        <p:nvSpPr>
          <p:cNvPr id="10" name="テキスト プレースホルダー 9">
            <a:extLst>
              <a:ext uri="{FF2B5EF4-FFF2-40B4-BE49-F238E27FC236}">
                <a16:creationId xmlns:a16="http://schemas.microsoft.com/office/drawing/2014/main" id="{09B8CBA2-03F1-FCA3-5EF4-E163C51AD89A}"/>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a:t>
            </a:r>
            <a:r>
              <a:rPr lang="ja-JP" altLang="en-US"/>
              <a:t>データ活用実施エリア</a:t>
            </a:r>
          </a:p>
        </p:txBody>
      </p:sp>
      <p:cxnSp>
        <p:nvCxnSpPr>
          <p:cNvPr id="12" name="直線コネクタ 11">
            <a:extLst>
              <a:ext uri="{FF2B5EF4-FFF2-40B4-BE49-F238E27FC236}">
                <a16:creationId xmlns:a16="http://schemas.microsoft.com/office/drawing/2014/main" id="{36894EAB-405F-0998-1890-37C962DD7CF6}"/>
              </a:ext>
            </a:extLst>
          </p:cNvPr>
          <p:cNvCxnSpPr>
            <a:cxnSpLocks/>
          </p:cNvCxnSpPr>
          <p:nvPr/>
        </p:nvCxnSpPr>
        <p:spPr>
          <a:xfrm flipV="1">
            <a:off x="9523132" y="2427670"/>
            <a:ext cx="244797" cy="13080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15" name="表 14">
            <a:extLst>
              <a:ext uri="{FF2B5EF4-FFF2-40B4-BE49-F238E27FC236}">
                <a16:creationId xmlns:a16="http://schemas.microsoft.com/office/drawing/2014/main" id="{6BA7322B-8E83-4959-AED5-CDCB2DC09E66}"/>
              </a:ext>
            </a:extLst>
          </p:cNvPr>
          <p:cNvGraphicFramePr>
            <a:graphicFrameLocks noGrp="1"/>
          </p:cNvGraphicFramePr>
          <p:nvPr>
            <p:extLst>
              <p:ext uri="{D42A27DB-BD31-4B8C-83A1-F6EECF244321}">
                <p14:modId xmlns:p14="http://schemas.microsoft.com/office/powerpoint/2010/main" val="1616961979"/>
              </p:ext>
            </p:extLst>
          </p:nvPr>
        </p:nvGraphicFramePr>
        <p:xfrm>
          <a:off x="309264" y="1905752"/>
          <a:ext cx="3763597" cy="2192802"/>
        </p:xfrm>
        <a:graphic>
          <a:graphicData uri="http://schemas.openxmlformats.org/drawingml/2006/table">
            <a:tbl>
              <a:tblPr firstRow="1" bandRow="1">
                <a:tableStyleId>{5940675A-B579-460E-94D1-54222C63F5DA}</a:tableStyleId>
              </a:tblPr>
              <a:tblGrid>
                <a:gridCol w="3763597">
                  <a:extLst>
                    <a:ext uri="{9D8B030D-6E8A-4147-A177-3AD203B41FA5}">
                      <a16:colId xmlns:a16="http://schemas.microsoft.com/office/drawing/2014/main" val="518456691"/>
                    </a:ext>
                  </a:extLst>
                </a:gridCol>
              </a:tblGrid>
              <a:tr h="1061101">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j-ea"/>
                          <a:ea typeface="+mn-ea"/>
                          <a:cs typeface="+mn-cs"/>
                        </a:rPr>
                        <a:t>［鉄道］　</a:t>
                      </a:r>
                      <a:endParaRPr kumimoji="1" lang="en-US" altLang="ja-JP" sz="1050" kern="1200">
                        <a:solidFill>
                          <a:srgbClr val="0070C0"/>
                        </a:solidFill>
                        <a:latin typeface="+mj-ea"/>
                        <a:ea typeface="+mn-ea"/>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j-ea"/>
                          <a:ea typeface="+mn-ea"/>
                          <a:cs typeface="+mn-cs"/>
                        </a:rPr>
                        <a:t>IC</a:t>
                      </a:r>
                      <a:r>
                        <a:rPr kumimoji="1" lang="ja-JP" altLang="en-US" sz="1050" kern="1200">
                          <a:solidFill>
                            <a:srgbClr val="0070C0"/>
                          </a:solidFill>
                          <a:latin typeface="+mj-ea"/>
                          <a:ea typeface="+mn-ea"/>
                          <a:cs typeface="+mn-cs"/>
                        </a:rPr>
                        <a:t>カード利用実績データ</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富山軌道線（富山地鉄）</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ja-JP" altLang="en-US" sz="1050" kern="1200">
                          <a:solidFill>
                            <a:srgbClr val="0070C0"/>
                          </a:solidFill>
                          <a:latin typeface="+mj-ea"/>
                          <a:ea typeface="+mn-ea"/>
                          <a:cs typeface="+mn-cs"/>
                        </a:rPr>
                        <a:t>あいの風とやま鉄道（富山駅～東富山駅区間）</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r>
                        <a:rPr kumimoji="1" lang="en-US" altLang="ja-JP" sz="1050" kern="1200">
                          <a:solidFill>
                            <a:srgbClr val="0070C0"/>
                          </a:solidFill>
                          <a:latin typeface="+mj-ea"/>
                          <a:ea typeface="+mn-ea"/>
                          <a:cs typeface="+mn-cs"/>
                        </a:rPr>
                        <a:t>JR</a:t>
                      </a:r>
                      <a:r>
                        <a:rPr kumimoji="1" lang="ja-JP" altLang="en-US" sz="1050" kern="1200">
                          <a:solidFill>
                            <a:srgbClr val="0070C0"/>
                          </a:solidFill>
                          <a:latin typeface="+mj-ea"/>
                          <a:ea typeface="+mn-ea"/>
                          <a:cs typeface="+mn-cs"/>
                        </a:rPr>
                        <a:t>東日本高山本線</a:t>
                      </a:r>
                      <a:endParaRPr kumimoji="1" lang="en-US" altLang="ja-JP" sz="1050" kern="1200">
                        <a:solidFill>
                          <a:srgbClr val="0070C0"/>
                        </a:solidFill>
                        <a:latin typeface="+mj-ea"/>
                        <a:ea typeface="+mn-ea"/>
                        <a:cs typeface="+mn-cs"/>
                      </a:endParaRPr>
                    </a:p>
                    <a:p>
                      <a:pPr marL="171450" indent="-171450">
                        <a:buFont typeface="Wingdings" panose="05000000000000000000" pitchFamily="2" charset="2"/>
                        <a:buChar char="l"/>
                      </a:pPr>
                      <a:endParaRPr kumimoji="1" lang="en-US" altLang="ja-JP" sz="1050" kern="1200">
                        <a:solidFill>
                          <a:srgbClr val="0070C0"/>
                        </a:solidFill>
                        <a:latin typeface="+mj-ea"/>
                        <a:ea typeface="+mn-ea"/>
                        <a:cs typeface="+mn-cs"/>
                      </a:endParaRPr>
                    </a:p>
                    <a:p>
                      <a:pPr marL="0" indent="0">
                        <a:buFont typeface="Wingdings" panose="05000000000000000000" pitchFamily="2" charset="2"/>
                        <a:buNone/>
                      </a:pPr>
                      <a:r>
                        <a:rPr kumimoji="1" lang="ja-JP" altLang="en-US" sz="1050" kern="1200">
                          <a:solidFill>
                            <a:srgbClr val="0070C0"/>
                          </a:solidFill>
                          <a:latin typeface="+mj-ea"/>
                          <a:ea typeface="+mn-ea"/>
                          <a:cs typeface="+mn-cs"/>
                        </a:rPr>
                        <a:t>［</a:t>
                      </a:r>
                      <a:r>
                        <a:rPr kumimoji="1" lang="ja-JP" altLang="en-US" sz="1050">
                          <a:solidFill>
                            <a:srgbClr val="0070C0"/>
                          </a:solidFill>
                          <a:latin typeface="+mj-ea"/>
                          <a:ea typeface="+mj-ea"/>
                        </a:rPr>
                        <a:t>バス］</a:t>
                      </a: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rgbClr val="0070C0"/>
                          </a:solidFill>
                          <a:latin typeface="+mj-ea"/>
                          <a:ea typeface="+mj-ea"/>
                        </a:rPr>
                        <a:t>一件明細データ</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富山地鉄バス（市内全路線）</a:t>
                      </a:r>
                      <a:endParaRPr kumimoji="1" lang="en-US" altLang="ja-JP" sz="1050">
                        <a:solidFill>
                          <a:srgbClr val="0070C0"/>
                        </a:solidFill>
                        <a:latin typeface="+mj-ea"/>
                        <a:ea typeface="+mj-ea"/>
                      </a:endParaRPr>
                    </a:p>
                    <a:p>
                      <a:pPr marL="0" indent="0">
                        <a:buFont typeface="Wingdings" panose="05000000000000000000" pitchFamily="2" charset="2"/>
                        <a:buNone/>
                      </a:pP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rgbClr val="0070C0"/>
                          </a:solidFill>
                          <a:latin typeface="+mj-ea"/>
                          <a:ea typeface="+mj-ea"/>
                        </a:rPr>
                        <a:t>［デマンド交通］</a:t>
                      </a:r>
                      <a:endParaRPr kumimoji="1" lang="en-US" altLang="ja-JP" sz="1050">
                        <a:solidFill>
                          <a:srgbClr val="0070C0"/>
                        </a:solidFill>
                        <a:latin typeface="+mj-ea"/>
                        <a:ea typeface="+mj-ea"/>
                      </a:endParaRPr>
                    </a:p>
                    <a:p>
                      <a:pPr marL="0" indent="0">
                        <a:buFont typeface="Wingdings" panose="05000000000000000000" pitchFamily="2" charset="2"/>
                        <a:buNone/>
                      </a:pPr>
                      <a:r>
                        <a:rPr kumimoji="1" lang="ja-JP" altLang="en-US" sz="1050">
                          <a:solidFill>
                            <a:srgbClr val="0070C0"/>
                          </a:solidFill>
                          <a:latin typeface="+mj-ea"/>
                          <a:ea typeface="+mj-ea"/>
                        </a:rPr>
                        <a:t>運行日報</a:t>
                      </a:r>
                      <a:endParaRPr kumimoji="1" lang="en-US" altLang="ja-JP" sz="1050">
                        <a:solidFill>
                          <a:srgbClr val="0070C0"/>
                        </a:solidFill>
                        <a:latin typeface="+mj-ea"/>
                        <a:ea typeface="+mj-ea"/>
                      </a:endParaRPr>
                    </a:p>
                    <a:p>
                      <a:pPr marL="171450" indent="-171450">
                        <a:buFont typeface="Wingdings" panose="05000000000000000000" pitchFamily="2" charset="2"/>
                        <a:buChar char="l"/>
                      </a:pPr>
                      <a:r>
                        <a:rPr kumimoji="1" lang="ja-JP" altLang="en-US" sz="1050">
                          <a:solidFill>
                            <a:srgbClr val="0070C0"/>
                          </a:solidFill>
                          <a:latin typeface="+mj-ea"/>
                          <a:ea typeface="+mj-ea"/>
                        </a:rPr>
                        <a:t>あいのり大山（市営デマンドバス）</a:t>
                      </a:r>
                      <a:endParaRPr kumimoji="1" lang="en-US" altLang="ja-JP" sz="1050">
                        <a:solidFill>
                          <a:srgbClr val="0070C0"/>
                        </a:solidFill>
                        <a:latin typeface="+mj-ea"/>
                        <a:ea typeface="+mj-ea"/>
                      </a:endParaRPr>
                    </a:p>
                  </a:txBody>
                  <a:tcPr marL="112542" marR="112542" marT="56271" marB="56271">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64430111"/>
                  </a:ext>
                </a:extLst>
              </a:tr>
            </a:tbl>
          </a:graphicData>
        </a:graphic>
      </p:graphicFrame>
      <p:sp>
        <p:nvSpPr>
          <p:cNvPr id="17" name="テキスト ボックス 16">
            <a:extLst>
              <a:ext uri="{FF2B5EF4-FFF2-40B4-BE49-F238E27FC236}">
                <a16:creationId xmlns:a16="http://schemas.microsoft.com/office/drawing/2014/main" id="{159BE264-9942-E766-987F-6CA378A61798}"/>
              </a:ext>
            </a:extLst>
          </p:cNvPr>
          <p:cNvSpPr txBox="1"/>
          <p:nvPr/>
        </p:nvSpPr>
        <p:spPr>
          <a:xfrm>
            <a:off x="1588445" y="4938690"/>
            <a:ext cx="8920716" cy="107632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において取得するデータの対象範囲を具体的なサービス提供事業者名・路線・区間を文言及び図示によって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データ取得範囲が広域の場合は、地図を複数枚用意のうえ、実施エリアや路線が分かるよう明示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19" name="テキスト ボックス 18">
            <a:extLst>
              <a:ext uri="{FF2B5EF4-FFF2-40B4-BE49-F238E27FC236}">
                <a16:creationId xmlns:a16="http://schemas.microsoft.com/office/drawing/2014/main" id="{F4F6AADC-220D-BFC7-4F32-89892ED6B785}"/>
              </a:ext>
            </a:extLst>
          </p:cNvPr>
          <p:cNvSpPr txBox="1"/>
          <p:nvPr/>
        </p:nvSpPr>
        <p:spPr>
          <a:xfrm>
            <a:off x="377162" y="1505154"/>
            <a:ext cx="3695699" cy="261962"/>
          </a:xfrm>
          <a:prstGeom prst="rect">
            <a:avLst/>
          </a:prstGeom>
          <a:solidFill>
            <a:srgbClr val="636163">
              <a:lumMod val="20000"/>
              <a:lumOff val="8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0000"/>
                </a:solidFill>
                <a:effectLst/>
                <a:uLnTx/>
                <a:uFillTx/>
              </a:rPr>
              <a:t>OD</a:t>
            </a:r>
            <a:r>
              <a:rPr kumimoji="0" lang="ja-JP" altLang="en-US" sz="1000" b="0" i="0" u="none" strike="noStrike" kern="0" cap="none" spc="0" normalizeH="0" baseline="0" noProof="0">
                <a:ln>
                  <a:noFill/>
                </a:ln>
                <a:solidFill>
                  <a:srgbClr val="000000"/>
                </a:solidFill>
                <a:effectLst/>
                <a:uLnTx/>
                <a:uFillTx/>
              </a:rPr>
              <a:t>データを取得する範囲</a:t>
            </a:r>
          </a:p>
        </p:txBody>
      </p:sp>
      <p:grpSp>
        <p:nvGrpSpPr>
          <p:cNvPr id="23" name="グループ化 22">
            <a:extLst>
              <a:ext uri="{FF2B5EF4-FFF2-40B4-BE49-F238E27FC236}">
                <a16:creationId xmlns:a16="http://schemas.microsoft.com/office/drawing/2014/main" id="{A07996F8-B910-E0AB-D4FD-7620B6D4FD6E}"/>
              </a:ext>
            </a:extLst>
          </p:cNvPr>
          <p:cNvGrpSpPr/>
          <p:nvPr/>
        </p:nvGrpSpPr>
        <p:grpSpPr>
          <a:xfrm>
            <a:off x="377162" y="1144962"/>
            <a:ext cx="11327639" cy="310897"/>
            <a:chOff x="609601" y="1337306"/>
            <a:chExt cx="5206999" cy="310897"/>
          </a:xfrm>
        </p:grpSpPr>
        <p:sp>
          <p:nvSpPr>
            <p:cNvPr id="24" name="正方形/長方形 23">
              <a:extLst>
                <a:ext uri="{FF2B5EF4-FFF2-40B4-BE49-F238E27FC236}">
                  <a16:creationId xmlns:a16="http://schemas.microsoft.com/office/drawing/2014/main" id="{C05D70C8-A0E4-1745-E63B-587FB5CC9386}"/>
                </a:ext>
              </a:extLst>
            </p:cNvPr>
            <p:cNvSpPr/>
            <p:nvPr/>
          </p:nvSpPr>
          <p:spPr>
            <a:xfrm>
              <a:off x="609601" y="1337306"/>
              <a:ext cx="5198587" cy="299140"/>
            </a:xfrm>
            <a:prstGeom prst="rect">
              <a:avLst/>
            </a:prstGeom>
            <a:no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srgbClr val="636163"/>
                </a:solidFill>
                <a:effectLst/>
                <a:uLnTx/>
                <a:uFillTx/>
                <a:latin typeface="Noto Sans CJK JP"/>
                <a:ea typeface="BIZ UDPゴシック"/>
                <a:cs typeface="+mn-cs"/>
              </a:endParaRPr>
            </a:p>
          </p:txBody>
        </p:sp>
        <p:cxnSp>
          <p:nvCxnSpPr>
            <p:cNvPr id="25" name="直線コネクタ 24">
              <a:extLst>
                <a:ext uri="{FF2B5EF4-FFF2-40B4-BE49-F238E27FC236}">
                  <a16:creationId xmlns:a16="http://schemas.microsoft.com/office/drawing/2014/main" id="{9B8C3470-E35E-E2A6-58B9-6E0188FCF49E}"/>
                </a:ext>
              </a:extLst>
            </p:cNvPr>
            <p:cNvCxnSpPr/>
            <p:nvPr/>
          </p:nvCxnSpPr>
          <p:spPr>
            <a:xfrm>
              <a:off x="609601" y="1648203"/>
              <a:ext cx="5206999" cy="0"/>
            </a:xfrm>
            <a:prstGeom prst="line">
              <a:avLst/>
            </a:prstGeom>
            <a:noFill/>
            <a:ln w="9525" cap="flat" cmpd="sng" algn="ctr">
              <a:solidFill>
                <a:srgbClr val="636163"/>
              </a:solidFill>
              <a:prstDash val="solid"/>
            </a:ln>
            <a:effectLst/>
          </p:spPr>
        </p:cxnSp>
      </p:grpSp>
      <p:sp>
        <p:nvSpPr>
          <p:cNvPr id="3" name="正方形/長方形 2">
            <a:extLst>
              <a:ext uri="{FF2B5EF4-FFF2-40B4-BE49-F238E27FC236}">
                <a16:creationId xmlns:a16="http://schemas.microsoft.com/office/drawing/2014/main" id="{8332A525-DDC1-11F2-8759-01E1CF15EB29}"/>
              </a:ext>
            </a:extLst>
          </p:cNvPr>
          <p:cNvSpPr/>
          <p:nvPr/>
        </p:nvSpPr>
        <p:spPr>
          <a:xfrm rot="18900000">
            <a:off x="6631527" y="3090961"/>
            <a:ext cx="3778202" cy="2190750"/>
          </a:xfrm>
          <a:prstGeom prst="rect">
            <a:avLst/>
          </a:prstGeom>
          <a:solidFill>
            <a:srgbClr val="0070C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10A284F2-0BCD-E1EC-2D8B-102406DF0E2C}"/>
              </a:ext>
            </a:extLst>
          </p:cNvPr>
          <p:cNvSpPr txBox="1"/>
          <p:nvPr/>
        </p:nvSpPr>
        <p:spPr>
          <a:xfrm>
            <a:off x="9920329" y="2449265"/>
            <a:ext cx="2216924" cy="261610"/>
          </a:xfrm>
          <a:prstGeom prst="rect">
            <a:avLst/>
          </a:prstGeom>
          <a:solidFill>
            <a:srgbClr val="0070C0">
              <a:alpha val="80000"/>
            </a:srgbClr>
          </a:solidFill>
        </p:spPr>
        <p:txBody>
          <a:bodyPr wrap="square">
            <a:spAutoFit/>
          </a:bodyPr>
          <a:lstStyle/>
          <a:p>
            <a:r>
              <a:rPr lang="ja-JP" altLang="en-US" sz="1050">
                <a:solidFill>
                  <a:schemeClr val="bg1"/>
                </a:solidFill>
              </a:rPr>
              <a:t>●●交通（タクシー）運行区域</a:t>
            </a:r>
          </a:p>
        </p:txBody>
      </p:sp>
      <p:cxnSp>
        <p:nvCxnSpPr>
          <p:cNvPr id="8" name="直線コネクタ 7">
            <a:extLst>
              <a:ext uri="{FF2B5EF4-FFF2-40B4-BE49-F238E27FC236}">
                <a16:creationId xmlns:a16="http://schemas.microsoft.com/office/drawing/2014/main" id="{2D5618F0-7B79-EEF0-F99B-4A19124E4BE0}"/>
              </a:ext>
            </a:extLst>
          </p:cNvPr>
          <p:cNvCxnSpPr>
            <a:cxnSpLocks/>
            <a:endCxn id="6" idx="1"/>
          </p:cNvCxnSpPr>
          <p:nvPr/>
        </p:nvCxnSpPr>
        <p:spPr>
          <a:xfrm flipV="1">
            <a:off x="9675532" y="2580070"/>
            <a:ext cx="244797" cy="13080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4CC34C06-2770-D52E-887C-60A7718811AC}"/>
              </a:ext>
            </a:extLst>
          </p:cNvPr>
          <p:cNvSpPr txBox="1"/>
          <p:nvPr/>
        </p:nvSpPr>
        <p:spPr>
          <a:xfrm>
            <a:off x="4530056" y="3978186"/>
            <a:ext cx="2216924" cy="261610"/>
          </a:xfrm>
          <a:prstGeom prst="rect">
            <a:avLst/>
          </a:prstGeom>
          <a:solidFill>
            <a:srgbClr val="FFC000">
              <a:alpha val="80000"/>
            </a:srgbClr>
          </a:solidFill>
        </p:spPr>
        <p:txBody>
          <a:bodyPr wrap="square">
            <a:spAutoFit/>
          </a:bodyPr>
          <a:lstStyle/>
          <a:p>
            <a:r>
              <a:rPr lang="ja-JP" altLang="en-US" sz="1050">
                <a:solidFill>
                  <a:schemeClr val="bg1"/>
                </a:solidFill>
              </a:rPr>
              <a:t>●●市営デマンドバス</a:t>
            </a:r>
          </a:p>
        </p:txBody>
      </p:sp>
      <p:sp>
        <p:nvSpPr>
          <p:cNvPr id="13" name="フリーフォーム: 図形 12">
            <a:extLst>
              <a:ext uri="{FF2B5EF4-FFF2-40B4-BE49-F238E27FC236}">
                <a16:creationId xmlns:a16="http://schemas.microsoft.com/office/drawing/2014/main" id="{B43B6931-1CB3-5574-1F6D-B4058353AD33}"/>
              </a:ext>
            </a:extLst>
          </p:cNvPr>
          <p:cNvSpPr/>
          <p:nvPr/>
        </p:nvSpPr>
        <p:spPr>
          <a:xfrm>
            <a:off x="6892160" y="3788647"/>
            <a:ext cx="943276" cy="1039529"/>
          </a:xfrm>
          <a:custGeom>
            <a:avLst/>
            <a:gdLst>
              <a:gd name="connsiteX0" fmla="*/ 394636 w 943276"/>
              <a:gd name="connsiteY0" fmla="*/ 0 h 1039529"/>
              <a:gd name="connsiteX1" fmla="*/ 28876 w 943276"/>
              <a:gd name="connsiteY1" fmla="*/ 279133 h 1039529"/>
              <a:gd name="connsiteX2" fmla="*/ 28876 w 943276"/>
              <a:gd name="connsiteY2" fmla="*/ 404261 h 1039529"/>
              <a:gd name="connsiteX3" fmla="*/ 0 w 943276"/>
              <a:gd name="connsiteY3" fmla="*/ 635268 h 1039529"/>
              <a:gd name="connsiteX4" fmla="*/ 356135 w 943276"/>
              <a:gd name="connsiteY4" fmla="*/ 991402 h 1039529"/>
              <a:gd name="connsiteX5" fmla="*/ 567890 w 943276"/>
              <a:gd name="connsiteY5" fmla="*/ 1001028 h 1039529"/>
              <a:gd name="connsiteX6" fmla="*/ 731520 w 943276"/>
              <a:gd name="connsiteY6" fmla="*/ 1039529 h 1039529"/>
              <a:gd name="connsiteX7" fmla="*/ 904775 w 943276"/>
              <a:gd name="connsiteY7" fmla="*/ 827773 h 1039529"/>
              <a:gd name="connsiteX8" fmla="*/ 943276 w 943276"/>
              <a:gd name="connsiteY8" fmla="*/ 298384 h 1039529"/>
              <a:gd name="connsiteX9" fmla="*/ 837398 w 943276"/>
              <a:gd name="connsiteY9" fmla="*/ 144379 h 1039529"/>
              <a:gd name="connsiteX10" fmla="*/ 394636 w 943276"/>
              <a:gd name="connsiteY10" fmla="*/ 0 h 103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3276" h="1039529">
                <a:moveTo>
                  <a:pt x="394636" y="0"/>
                </a:moveTo>
                <a:lnTo>
                  <a:pt x="28876" y="279133"/>
                </a:lnTo>
                <a:lnTo>
                  <a:pt x="28876" y="404261"/>
                </a:lnTo>
                <a:lnTo>
                  <a:pt x="0" y="635268"/>
                </a:lnTo>
                <a:lnTo>
                  <a:pt x="356135" y="991402"/>
                </a:lnTo>
                <a:cubicBezTo>
                  <a:pt x="503611" y="1003693"/>
                  <a:pt x="433004" y="1001028"/>
                  <a:pt x="567890" y="1001028"/>
                </a:cubicBezTo>
                <a:lnTo>
                  <a:pt x="731520" y="1039529"/>
                </a:lnTo>
                <a:cubicBezTo>
                  <a:pt x="909712" y="970993"/>
                  <a:pt x="844038" y="1034274"/>
                  <a:pt x="904775" y="827773"/>
                </a:cubicBezTo>
                <a:lnTo>
                  <a:pt x="943276" y="298384"/>
                </a:lnTo>
                <a:cubicBezTo>
                  <a:pt x="842853" y="157792"/>
                  <a:pt x="871708" y="213003"/>
                  <a:pt x="837398" y="144379"/>
                </a:cubicBezTo>
                <a:lnTo>
                  <a:pt x="394636" y="0"/>
                </a:lnTo>
                <a:close/>
              </a:path>
            </a:pathLst>
          </a:custGeom>
          <a:solidFill>
            <a:srgbClr val="FFC000">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a:extLst>
              <a:ext uri="{FF2B5EF4-FFF2-40B4-BE49-F238E27FC236}">
                <a16:creationId xmlns:a16="http://schemas.microsoft.com/office/drawing/2014/main" id="{3AA73118-94F8-70C1-35F7-26CD5AF7F242}"/>
              </a:ext>
            </a:extLst>
          </p:cNvPr>
          <p:cNvCxnSpPr>
            <a:cxnSpLocks/>
            <a:endCxn id="13" idx="2"/>
          </p:cNvCxnSpPr>
          <p:nvPr/>
        </p:nvCxnSpPr>
        <p:spPr>
          <a:xfrm>
            <a:off x="6746980" y="4108991"/>
            <a:ext cx="174056" cy="83917"/>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92595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31" name="図 30">
            <a:extLst>
              <a:ext uri="{FF2B5EF4-FFF2-40B4-BE49-F238E27FC236}">
                <a16:creationId xmlns:a16="http://schemas.microsoft.com/office/drawing/2014/main" id="{16020430-00B1-287F-A924-BAA06D233495}"/>
              </a:ext>
            </a:extLst>
          </p:cNvPr>
          <p:cNvPicPr>
            <a:picLocks noChangeAspect="1"/>
          </p:cNvPicPr>
          <p:nvPr/>
        </p:nvPicPr>
        <p:blipFill>
          <a:blip r:embed="rId3"/>
          <a:stretch>
            <a:fillRect/>
          </a:stretch>
        </p:blipFill>
        <p:spPr>
          <a:xfrm>
            <a:off x="2077459" y="1489767"/>
            <a:ext cx="6519604" cy="4925102"/>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a:xfrm>
            <a:off x="300779" y="215626"/>
            <a:ext cx="11376000" cy="415498"/>
          </a:xfrm>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５</a:t>
            </a:r>
            <a:r>
              <a:rPr lang="en-US" altLang="ja-JP"/>
              <a:t>.</a:t>
            </a:r>
            <a:r>
              <a:rPr lang="ja-JP" altLang="en-US"/>
              <a:t>アーキテクチャ全体図</a:t>
            </a:r>
            <a:r>
              <a:rPr lang="en-US" altLang="ja-JP" sz="2400"/>
              <a:t>-</a:t>
            </a:r>
            <a:r>
              <a:rPr lang="ja-JP" altLang="en-US" sz="2400"/>
              <a:t>システムアーキテクチャ図</a:t>
            </a:r>
            <a:r>
              <a:rPr lang="en-US" altLang="ja-JP" sz="2400"/>
              <a:t>-</a:t>
            </a:r>
            <a:endParaRPr lang="ja-JP" altLang="en-US" sz="2800"/>
          </a:p>
        </p:txBody>
      </p:sp>
      <p:sp>
        <p:nvSpPr>
          <p:cNvPr id="4" name="テキスト ボックス 3">
            <a:extLst>
              <a:ext uri="{FF2B5EF4-FFF2-40B4-BE49-F238E27FC236}">
                <a16:creationId xmlns:a16="http://schemas.microsoft.com/office/drawing/2014/main" id="{2D0F773D-7F31-6F9D-4700-F8F75C3164F8}"/>
              </a:ext>
            </a:extLst>
          </p:cNvPr>
          <p:cNvSpPr txBox="1"/>
          <p:nvPr/>
        </p:nvSpPr>
        <p:spPr>
          <a:xfrm>
            <a:off x="2920785" y="2759484"/>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の構造を視覚的に示し、各コンポーネントの相互関係を明確にするため、システム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機能モジュールとそのインターフェスを処理フローに従って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要件定義を見据え、必要な機能モジュールの定義・分割と</a:t>
            </a:r>
            <a:r>
              <a:rPr kumimoji="0" lang="en-US" altLang="ja-JP" sz="1400" b="0" i="0" u="none" strike="noStrike" kern="0" cap="none" spc="0" normalizeH="0" baseline="0" noProof="0">
                <a:ln>
                  <a:noFill/>
                </a:ln>
                <a:solidFill>
                  <a:srgbClr val="FFFFFF"/>
                </a:solidFill>
                <a:effectLst/>
                <a:uLnTx/>
                <a:uFillTx/>
              </a:rPr>
              <a:t>ID</a:t>
            </a:r>
            <a:r>
              <a:rPr kumimoji="0" lang="ja-JP" altLang="en-US" sz="1400" b="0" i="0" u="none" strike="noStrike" kern="0" cap="none" spc="0" normalizeH="0" baseline="0" noProof="0">
                <a:ln>
                  <a:noFill/>
                </a:ln>
                <a:solidFill>
                  <a:srgbClr val="FFFFFF"/>
                </a:solidFill>
                <a:effectLst/>
                <a:uLnTx/>
                <a:uFillTx/>
              </a:rPr>
              <a:t>付与、フルスクラッチ、</a:t>
            </a:r>
            <a:r>
              <a:rPr kumimoji="0" lang="en-US" altLang="ja-JP" sz="1400" b="0" i="0" u="none" strike="noStrike" kern="0" cap="none" spc="0" normalizeH="0" baseline="0" noProof="0">
                <a:ln>
                  <a:noFill/>
                </a:ln>
                <a:solidFill>
                  <a:srgbClr val="FFFFFF"/>
                </a:solidFill>
                <a:effectLst/>
                <a:uLnTx/>
                <a:uFillTx/>
              </a:rPr>
              <a:t>SaaS</a:t>
            </a:r>
            <a:r>
              <a:rPr kumimoji="0" lang="ja-JP" altLang="en-US" sz="1400" b="0" i="0" u="none" strike="noStrike" kern="0" cap="none" spc="0" normalizeH="0" baseline="0" noProof="0">
                <a:ln>
                  <a:noFill/>
                </a:ln>
                <a:solidFill>
                  <a:srgbClr val="FFFFFF"/>
                </a:solidFill>
                <a:effectLst/>
                <a:uLnTx/>
                <a:uFillTx/>
              </a:rPr>
              <a:t>利用、外部</a:t>
            </a:r>
            <a:r>
              <a:rPr kumimoji="0" lang="en-US" altLang="ja-JP" sz="1400" b="0" i="0" u="none" strike="noStrike" kern="0" cap="none" spc="0" normalizeH="0" baseline="0" noProof="0">
                <a:ln>
                  <a:noFill/>
                </a:ln>
                <a:solidFill>
                  <a:srgbClr val="FFFFFF"/>
                </a:solidFill>
                <a:effectLst/>
                <a:uLnTx/>
                <a:uFillTx/>
              </a:rPr>
              <a:t>API</a:t>
            </a:r>
            <a:r>
              <a:rPr kumimoji="0" lang="ja-JP" altLang="en-US" sz="1400" b="0" i="0" u="none" strike="noStrike" kern="0" cap="none" spc="0" normalizeH="0" baseline="0" noProof="0">
                <a:ln>
                  <a:noFill/>
                </a:ln>
                <a:solidFill>
                  <a:srgbClr val="FFFFFF"/>
                </a:solidFill>
                <a:effectLst/>
                <a:uLnTx/>
                <a:uFillTx/>
              </a:rPr>
              <a:t>利用などの区別など、可能な限り詳細な粒度で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右下の凡例を参考に作成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利用及び開発を行わない場合は、その旨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grpSp>
        <p:nvGrpSpPr>
          <p:cNvPr id="7" name="グループ化 6">
            <a:extLst>
              <a:ext uri="{FF2B5EF4-FFF2-40B4-BE49-F238E27FC236}">
                <a16:creationId xmlns:a16="http://schemas.microsoft.com/office/drawing/2014/main" id="{52002093-DF50-FA02-BA5F-6BBF146BCA66}"/>
              </a:ext>
            </a:extLst>
          </p:cNvPr>
          <p:cNvGrpSpPr/>
          <p:nvPr/>
        </p:nvGrpSpPr>
        <p:grpSpPr>
          <a:xfrm>
            <a:off x="10081737" y="5038356"/>
            <a:ext cx="1630886" cy="1264098"/>
            <a:chOff x="10291234" y="5263193"/>
            <a:chExt cx="1530502" cy="1186290"/>
          </a:xfrm>
        </p:grpSpPr>
        <p:sp>
          <p:nvSpPr>
            <p:cNvPr id="8" name="四角形: 角を丸くする 7">
              <a:extLst>
                <a:ext uri="{FF2B5EF4-FFF2-40B4-BE49-F238E27FC236}">
                  <a16:creationId xmlns:a16="http://schemas.microsoft.com/office/drawing/2014/main" id="{FC1AB3A4-9382-A032-5903-9A510E8475E3}"/>
                </a:ext>
              </a:extLst>
            </p:cNvPr>
            <p:cNvSpPr/>
            <p:nvPr/>
          </p:nvSpPr>
          <p:spPr>
            <a:xfrm>
              <a:off x="10291234" y="5263193"/>
              <a:ext cx="1530502" cy="1186290"/>
            </a:xfrm>
            <a:prstGeom prst="roundRect">
              <a:avLst>
                <a:gd name="adj" fmla="val 3180"/>
              </a:avLst>
            </a:prstGeom>
            <a:noFill/>
            <a:ln w="12700" cap="flat" cmpd="sng" algn="ctr">
              <a:solidFill>
                <a:srgbClr val="636163"/>
              </a:solid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nvGrpSpPr>
            <p:cNvPr id="10" name="グループ化 9">
              <a:extLst>
                <a:ext uri="{FF2B5EF4-FFF2-40B4-BE49-F238E27FC236}">
                  <a16:creationId xmlns:a16="http://schemas.microsoft.com/office/drawing/2014/main" id="{B738998B-D1C7-4DA0-CFF5-9A123E597911}"/>
                </a:ext>
              </a:extLst>
            </p:cNvPr>
            <p:cNvGrpSpPr/>
            <p:nvPr/>
          </p:nvGrpSpPr>
          <p:grpSpPr>
            <a:xfrm>
              <a:off x="10446248" y="5791146"/>
              <a:ext cx="1327938" cy="260466"/>
              <a:chOff x="10692611" y="5304251"/>
              <a:chExt cx="1327938" cy="260466"/>
            </a:xfrm>
          </p:grpSpPr>
          <p:pic>
            <p:nvPicPr>
              <p:cNvPr id="20" name="Picture 2">
                <a:extLst>
                  <a:ext uri="{FF2B5EF4-FFF2-40B4-BE49-F238E27FC236}">
                    <a16:creationId xmlns:a16="http://schemas.microsoft.com/office/drawing/2014/main" id="{5F251E6C-56B2-4EEE-259F-0A6F4F938D4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l="271" r="271"/>
              <a:stretch/>
            </p:blipFill>
            <p:spPr bwMode="auto">
              <a:xfrm>
                <a:off x="10692611" y="5304251"/>
                <a:ext cx="259054" cy="260466"/>
              </a:xfrm>
              <a:prstGeom prst="rect">
                <a:avLst/>
              </a:prstGeom>
              <a:noFill/>
            </p:spPr>
          </p:pic>
          <p:sp>
            <p:nvSpPr>
              <p:cNvPr id="21" name="テキスト ボックス 20">
                <a:extLst>
                  <a:ext uri="{FF2B5EF4-FFF2-40B4-BE49-F238E27FC236}">
                    <a16:creationId xmlns:a16="http://schemas.microsoft.com/office/drawing/2014/main" id="{2795B796-42AA-2A86-F5EC-F78EB5494350}"/>
                  </a:ext>
                </a:extLst>
              </p:cNvPr>
              <p:cNvSpPr txBox="1"/>
              <p:nvPr/>
            </p:nvSpPr>
            <p:spPr>
              <a:xfrm>
                <a:off x="11006912" y="5350898"/>
                <a:ext cx="1013637"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システム</a:t>
                </a:r>
                <a:r>
                  <a:rPr kumimoji="0" lang="en-US" altLang="ja-JP" sz="800" kern="0">
                    <a:solidFill>
                      <a:srgbClr val="000000"/>
                    </a:solidFill>
                    <a:latin typeface="Noto Sans CJK JP"/>
                  </a:rPr>
                  <a:t>/</a:t>
                </a:r>
                <a:r>
                  <a:rPr kumimoji="0" lang="ja-JP" altLang="en-US" sz="800" kern="0">
                    <a:solidFill>
                      <a:srgbClr val="000000"/>
                    </a:solidFill>
                    <a:latin typeface="Noto Sans CJK JP"/>
                  </a:rPr>
                  <a:t>ライブラリ</a:t>
                </a:r>
                <a:r>
                  <a:rPr kumimoji="0" lang="en-US" altLang="ja-JP" sz="800" kern="0">
                    <a:solidFill>
                      <a:srgbClr val="000000"/>
                    </a:solidFill>
                    <a:latin typeface="Noto Sans CJK JP"/>
                  </a:rPr>
                  <a:t>/SaaS</a:t>
                </a:r>
              </a:p>
            </p:txBody>
          </p:sp>
        </p:grpSp>
        <p:grpSp>
          <p:nvGrpSpPr>
            <p:cNvPr id="11" name="グループ化 10">
              <a:extLst>
                <a:ext uri="{FF2B5EF4-FFF2-40B4-BE49-F238E27FC236}">
                  <a16:creationId xmlns:a16="http://schemas.microsoft.com/office/drawing/2014/main" id="{F9A3E8B6-D4F7-9975-8B59-D2F396C06F28}"/>
                </a:ext>
              </a:extLst>
            </p:cNvPr>
            <p:cNvGrpSpPr/>
            <p:nvPr/>
          </p:nvGrpSpPr>
          <p:grpSpPr>
            <a:xfrm>
              <a:off x="10446248" y="6114053"/>
              <a:ext cx="1145906" cy="260466"/>
              <a:chOff x="10692611" y="5591252"/>
              <a:chExt cx="1145906" cy="260466"/>
            </a:xfrm>
          </p:grpSpPr>
          <p:pic>
            <p:nvPicPr>
              <p:cNvPr id="18" name="Picture 2">
                <a:extLst>
                  <a:ext uri="{FF2B5EF4-FFF2-40B4-BE49-F238E27FC236}">
                    <a16:creationId xmlns:a16="http://schemas.microsoft.com/office/drawing/2014/main" id="{2507B095-8B76-5E1D-3144-5AC3E998E4FB}"/>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l="271" r="271"/>
              <a:stretch/>
            </p:blipFill>
            <p:spPr bwMode="auto">
              <a:xfrm>
                <a:off x="10692611" y="5591252"/>
                <a:ext cx="259054" cy="260466"/>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46CA9831-E830-18A4-36D3-B1CB18F4532A}"/>
                  </a:ext>
                </a:extLst>
              </p:cNvPr>
              <p:cNvSpPr txBox="1"/>
              <p:nvPr/>
            </p:nvSpPr>
            <p:spPr>
              <a:xfrm>
                <a:off x="11006913" y="5637899"/>
                <a:ext cx="831604"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アルゴリズム</a:t>
                </a:r>
                <a:endParaRPr kumimoji="0" lang="en-US" altLang="ja-JP" sz="800" kern="0">
                  <a:solidFill>
                    <a:srgbClr val="000000"/>
                  </a:solidFill>
                  <a:latin typeface="Noto Sans CJK JP"/>
                </a:endParaRPr>
              </a:p>
            </p:txBody>
          </p:sp>
        </p:grpSp>
        <p:grpSp>
          <p:nvGrpSpPr>
            <p:cNvPr id="12" name="グループ化 11">
              <a:extLst>
                <a:ext uri="{FF2B5EF4-FFF2-40B4-BE49-F238E27FC236}">
                  <a16:creationId xmlns:a16="http://schemas.microsoft.com/office/drawing/2014/main" id="{F1638528-25FC-34FB-615D-AC43812FAD07}"/>
                </a:ext>
              </a:extLst>
            </p:cNvPr>
            <p:cNvGrpSpPr/>
            <p:nvPr/>
          </p:nvGrpSpPr>
          <p:grpSpPr>
            <a:xfrm>
              <a:off x="10451931" y="5553460"/>
              <a:ext cx="1336838" cy="175245"/>
              <a:chOff x="10698295" y="5102471"/>
              <a:chExt cx="1604126" cy="175245"/>
            </a:xfrm>
          </p:grpSpPr>
          <p:sp>
            <p:nvSpPr>
              <p:cNvPr id="16" name="テキスト ボックス 15">
                <a:extLst>
                  <a:ext uri="{FF2B5EF4-FFF2-40B4-BE49-F238E27FC236}">
                    <a16:creationId xmlns:a16="http://schemas.microsoft.com/office/drawing/2014/main" id="{47DA8D64-CEC9-1F56-B9E9-35C546FFCD9E}"/>
                  </a:ext>
                </a:extLst>
              </p:cNvPr>
              <p:cNvSpPr txBox="1"/>
              <p:nvPr/>
            </p:nvSpPr>
            <p:spPr>
              <a:xfrm>
                <a:off x="11098283" y="5102471"/>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7EBE9A"/>
                    </a:solidFill>
                    <a:latin typeface="Noto Sans CJK JP"/>
                  </a:rPr>
                  <a:t>フルスクラッチ開発</a:t>
                </a:r>
                <a:endParaRPr kumimoji="0" lang="en-US" altLang="ja-JP" sz="800" kern="0">
                  <a:solidFill>
                    <a:srgbClr val="7EBE9A"/>
                  </a:solidFill>
                  <a:latin typeface="Noto Sans CJK JP"/>
                </a:endParaRPr>
              </a:p>
            </p:txBody>
          </p:sp>
          <p:sp>
            <p:nvSpPr>
              <p:cNvPr id="17" name="四角形: 角を丸くする 16">
                <a:extLst>
                  <a:ext uri="{FF2B5EF4-FFF2-40B4-BE49-F238E27FC236}">
                    <a16:creationId xmlns:a16="http://schemas.microsoft.com/office/drawing/2014/main" id="{2C56FA59-6C77-7FC1-AD1B-BBB66647627D}"/>
                  </a:ext>
                </a:extLst>
              </p:cNvPr>
              <p:cNvSpPr/>
              <p:nvPr/>
            </p:nvSpPr>
            <p:spPr>
              <a:xfrm>
                <a:off x="10698295" y="5164955"/>
                <a:ext cx="247686" cy="75595"/>
              </a:xfrm>
              <a:prstGeom prst="roundRect">
                <a:avLst/>
              </a:prstGeom>
              <a:solidFill>
                <a:srgbClr val="7EBE9A"/>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nvGrpSpPr>
            <p:cNvPr id="13" name="グループ化 12">
              <a:extLst>
                <a:ext uri="{FF2B5EF4-FFF2-40B4-BE49-F238E27FC236}">
                  <a16:creationId xmlns:a16="http://schemas.microsoft.com/office/drawing/2014/main" id="{0C48BC36-F017-A7FD-EFE5-3DD062E75EDB}"/>
                </a:ext>
              </a:extLst>
            </p:cNvPr>
            <p:cNvGrpSpPr/>
            <p:nvPr/>
          </p:nvGrpSpPr>
          <p:grpSpPr>
            <a:xfrm>
              <a:off x="10451932" y="5315774"/>
              <a:ext cx="1317183" cy="175245"/>
              <a:chOff x="10698295" y="4792973"/>
              <a:chExt cx="1580541" cy="175245"/>
            </a:xfrm>
          </p:grpSpPr>
          <p:sp>
            <p:nvSpPr>
              <p:cNvPr id="14" name="テキスト ボックス 13">
                <a:extLst>
                  <a:ext uri="{FF2B5EF4-FFF2-40B4-BE49-F238E27FC236}">
                    <a16:creationId xmlns:a16="http://schemas.microsoft.com/office/drawing/2014/main" id="{5C0D0E8C-3811-F6B0-69BB-69EE7E33FC74}"/>
                  </a:ext>
                </a:extLst>
              </p:cNvPr>
              <p:cNvSpPr txBox="1"/>
              <p:nvPr/>
            </p:nvSpPr>
            <p:spPr>
              <a:xfrm>
                <a:off x="11074698" y="4792973"/>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F3817B"/>
                    </a:solidFill>
                    <a:latin typeface="Noto Sans CJK JP"/>
                  </a:rPr>
                  <a:t>既存モジュールの改修</a:t>
                </a:r>
                <a:endParaRPr kumimoji="0" lang="en-US" altLang="ja-JP" sz="800" kern="0">
                  <a:solidFill>
                    <a:srgbClr val="F3817B"/>
                  </a:solidFill>
                  <a:latin typeface="Noto Sans CJK JP"/>
                </a:endParaRPr>
              </a:p>
            </p:txBody>
          </p:sp>
          <p:sp>
            <p:nvSpPr>
              <p:cNvPr id="15" name="四角形: 角を丸くする 14">
                <a:extLst>
                  <a:ext uri="{FF2B5EF4-FFF2-40B4-BE49-F238E27FC236}">
                    <a16:creationId xmlns:a16="http://schemas.microsoft.com/office/drawing/2014/main" id="{96FB319F-2503-4EE3-8CBC-47A4CDE48CA8}"/>
                  </a:ext>
                </a:extLst>
              </p:cNvPr>
              <p:cNvSpPr/>
              <p:nvPr/>
            </p:nvSpPr>
            <p:spPr>
              <a:xfrm>
                <a:off x="10698295" y="4848448"/>
                <a:ext cx="247686" cy="75595"/>
              </a:xfrm>
              <a:prstGeom prst="roundRect">
                <a:avLst/>
              </a:prstGeom>
              <a:solidFill>
                <a:srgbClr val="F3817B"/>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spTree>
    <p:extLst>
      <p:ext uri="{BB962C8B-B14F-4D97-AF65-F5344CB8AC3E}">
        <p14:creationId xmlns:p14="http://schemas.microsoft.com/office/powerpoint/2010/main" val="16414246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14F881AA-A9DD-5D4C-6B41-DC64E37C5F31}"/>
              </a:ext>
            </a:extLst>
          </p:cNvPr>
          <p:cNvPicPr>
            <a:picLocks noChangeAspect="1"/>
          </p:cNvPicPr>
          <p:nvPr/>
        </p:nvPicPr>
        <p:blipFill>
          <a:blip r:embed="rId3"/>
          <a:stretch>
            <a:fillRect/>
          </a:stretch>
        </p:blipFill>
        <p:spPr>
          <a:xfrm>
            <a:off x="1527382" y="1582517"/>
            <a:ext cx="9137236" cy="3692966"/>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６</a:t>
            </a:r>
            <a:r>
              <a:rPr lang="en-US" altLang="ja-JP"/>
              <a:t>.</a:t>
            </a:r>
            <a:r>
              <a:rPr lang="ja-JP" altLang="en-US" sz="2800"/>
              <a:t>ハードウェアアーキテクチャ</a:t>
            </a:r>
          </a:p>
        </p:txBody>
      </p:sp>
      <p:sp>
        <p:nvSpPr>
          <p:cNvPr id="7" name="テキスト ボックス 6">
            <a:extLst>
              <a:ext uri="{FF2B5EF4-FFF2-40B4-BE49-F238E27FC236}">
                <a16:creationId xmlns:a16="http://schemas.microsoft.com/office/drawing/2014/main" id="{753EDDE2-9BD8-2942-AFF5-CB0966A2B583}"/>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において稼働するデバイスやインフラを把握するため、ハードウェア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特に</a:t>
            </a:r>
            <a:r>
              <a:rPr kumimoji="0" lang="en-US" altLang="ja-JP" sz="1400" b="0" i="0" u="none" strike="noStrike" kern="0" cap="none" spc="0" normalizeH="0" baseline="0" noProof="0">
                <a:ln>
                  <a:noFill/>
                </a:ln>
                <a:solidFill>
                  <a:srgbClr val="FFFFFF"/>
                </a:solidFill>
                <a:effectLst/>
                <a:uLnTx/>
                <a:uFillTx/>
              </a:rPr>
              <a:t>IaaS</a:t>
            </a:r>
            <a:r>
              <a:rPr kumimoji="0" lang="ja-JP" altLang="en-US" sz="1400" b="0" i="0" u="none" strike="noStrike" kern="0" cap="none" spc="0" normalizeH="0" baseline="0" noProof="0">
                <a:ln>
                  <a:noFill/>
                </a:ln>
                <a:solidFill>
                  <a:srgbClr val="FFFFFF"/>
                </a:solidFill>
                <a:effectLst/>
                <a:uLnTx/>
                <a:uFillTx/>
              </a:rPr>
              <a:t>や</a:t>
            </a:r>
            <a:r>
              <a:rPr kumimoji="0" lang="en-US" altLang="ja-JP" sz="1400" b="0" i="0" u="none" strike="noStrike" kern="0" cap="none" spc="0" normalizeH="0" baseline="0" noProof="0">
                <a:ln>
                  <a:noFill/>
                </a:ln>
                <a:solidFill>
                  <a:srgbClr val="FFFFFF"/>
                </a:solidFill>
                <a:effectLst/>
                <a:uLnTx/>
                <a:uFillTx/>
              </a:rPr>
              <a:t>PaaS</a:t>
            </a:r>
            <a:r>
              <a:rPr kumimoji="0" lang="ja-JP" altLang="en-US" sz="1400" b="0" i="0" u="none" strike="noStrike" kern="0" cap="none" spc="0" normalizeH="0" baseline="0" noProof="0">
                <a:ln>
                  <a:noFill/>
                </a:ln>
                <a:solidFill>
                  <a:srgbClr val="FFFFFF"/>
                </a:solidFill>
                <a:effectLst/>
                <a:uLnTx/>
                <a:uFillTx/>
              </a:rPr>
              <a:t>など外部クラウドサーバを利用する場合、利用するコンポーネント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デバイス（改札機や認証端末など）と接続する場合などは、デバイスの製品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画像はサンプルです。提出時に削除してください。</a:t>
            </a:r>
          </a:p>
        </p:txBody>
      </p:sp>
    </p:spTree>
    <p:extLst>
      <p:ext uri="{BB962C8B-B14F-4D97-AF65-F5344CB8AC3E}">
        <p14:creationId xmlns:p14="http://schemas.microsoft.com/office/powerpoint/2010/main" val="35161920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85E02E86-1857-0430-484E-BB6E2039FE47}"/>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７</a:t>
            </a:r>
            <a:r>
              <a:rPr lang="en-US" altLang="ja-JP"/>
              <a:t>.</a:t>
            </a:r>
            <a:r>
              <a:rPr lang="ja-JP" altLang="en-US"/>
              <a:t>利用する技術要素</a:t>
            </a:r>
          </a:p>
        </p:txBody>
      </p:sp>
      <p:graphicFrame>
        <p:nvGraphicFramePr>
          <p:cNvPr id="7" name="表 6">
            <a:extLst>
              <a:ext uri="{FF2B5EF4-FFF2-40B4-BE49-F238E27FC236}">
                <a16:creationId xmlns:a16="http://schemas.microsoft.com/office/drawing/2014/main" id="{DF489A6D-BF99-D7E8-91F8-DEC0AF51B58C}"/>
              </a:ext>
            </a:extLst>
          </p:cNvPr>
          <p:cNvGraphicFramePr>
            <a:graphicFrameLocks noGrp="1"/>
          </p:cNvGraphicFramePr>
          <p:nvPr>
            <p:extLst>
              <p:ext uri="{D42A27DB-BD31-4B8C-83A1-F6EECF244321}">
                <p14:modId xmlns:p14="http://schemas.microsoft.com/office/powerpoint/2010/main" val="2175817655"/>
              </p:ext>
            </p:extLst>
          </p:nvPr>
        </p:nvGraphicFramePr>
        <p:xfrm>
          <a:off x="300777" y="2050275"/>
          <a:ext cx="11595948" cy="2731151"/>
        </p:xfrm>
        <a:graphic>
          <a:graphicData uri="http://schemas.openxmlformats.org/drawingml/2006/table">
            <a:tbl>
              <a:tblPr firstRow="1">
                <a:tableStyleId>{5940675A-B579-460E-94D1-54222C63F5DA}</a:tableStyleId>
              </a:tblPr>
              <a:tblGrid>
                <a:gridCol w="2239223">
                  <a:extLst>
                    <a:ext uri="{9D8B030D-6E8A-4147-A177-3AD203B41FA5}">
                      <a16:colId xmlns:a16="http://schemas.microsoft.com/office/drawing/2014/main" val="3505984062"/>
                    </a:ext>
                  </a:extLst>
                </a:gridCol>
                <a:gridCol w="2917825">
                  <a:extLst>
                    <a:ext uri="{9D8B030D-6E8A-4147-A177-3AD203B41FA5}">
                      <a16:colId xmlns:a16="http://schemas.microsoft.com/office/drawing/2014/main" val="1183473455"/>
                    </a:ext>
                  </a:extLst>
                </a:gridCol>
                <a:gridCol w="6438900">
                  <a:extLst>
                    <a:ext uri="{9D8B030D-6E8A-4147-A177-3AD203B41FA5}">
                      <a16:colId xmlns:a16="http://schemas.microsoft.com/office/drawing/2014/main" val="1554345629"/>
                    </a:ext>
                  </a:extLst>
                </a:gridCol>
              </a:tblGrid>
              <a:tr h="252938">
                <a:tc>
                  <a:txBody>
                    <a:bodyPr/>
                    <a:lstStyle/>
                    <a:p>
                      <a:pPr algn="l"/>
                      <a:r>
                        <a:rPr lang="ja-JP" sz="1400" b="1" kern="100">
                          <a:effectLst/>
                          <a:latin typeface="+mn-ea"/>
                          <a:ea typeface="+mn-ea"/>
                        </a:rPr>
                        <a:t>項目</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r>
                        <a:rPr lang="ja-JP" altLang="en-US" sz="1400" b="1" kern="100">
                          <a:effectLst/>
                          <a:latin typeface="+mn-ea"/>
                          <a:ea typeface="+mn-ea"/>
                          <a:cs typeface="Meiryo UI" panose="020B0604030504040204" pitchFamily="50" charset="-128"/>
                        </a:rPr>
                        <a:t>名称</a:t>
                      </a:r>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tc>
                  <a:txBody>
                    <a:bodyPr/>
                    <a:lstStyle/>
                    <a:p>
                      <a:pPr algn="l"/>
                      <a:endParaRPr lang="ja-JP" sz="1400" b="1" kern="100">
                        <a:effectLst/>
                        <a:latin typeface="+mn-ea"/>
                        <a:ea typeface="+mn-ea"/>
                        <a:cs typeface="Meiryo UI" panose="020B0604030504040204" pitchFamily="50" charset="-128"/>
                      </a:endParaRPr>
                    </a:p>
                  </a:txBody>
                  <a:tcPr marL="36195" marR="36195" marT="46800" marB="46800">
                    <a:solidFill>
                      <a:schemeClr val="bg1">
                        <a:lumMod val="75000"/>
                      </a:schemeClr>
                    </a:solidFill>
                  </a:tcPr>
                </a:tc>
                <a:extLst>
                  <a:ext uri="{0D108BD9-81ED-4DB2-BD59-A6C34878D82A}">
                    <a16:rowId xmlns:a16="http://schemas.microsoft.com/office/drawing/2014/main" val="2329924580"/>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プログラミング言語</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ja-JP" altLang="en-US" sz="1400">
                          <a:solidFill>
                            <a:srgbClr val="0070C0"/>
                          </a:solidFill>
                          <a:latin typeface="+mn-ea"/>
                          <a:ea typeface="+mn-ea"/>
                        </a:rPr>
                        <a:t>Python, JavaScript</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1449842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RDBMS</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Amazon RDS for PostgreSQ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270619158"/>
                  </a:ext>
                </a:extLst>
              </a:tr>
              <a:tr h="338114">
                <a:tc>
                  <a:txBody>
                    <a:bodyPr/>
                    <a:lstStyle/>
                    <a:p>
                      <a:pPr marL="0" marR="0" lvl="0" indent="0" algn="just" defTabSz="742950" rtl="0" eaLnBrk="1" fontAlgn="auto" latinLnBrk="0" hangingPunct="1">
                        <a:lnSpc>
                          <a:spcPct val="100000"/>
                        </a:lnSpc>
                        <a:spcBef>
                          <a:spcPts val="0"/>
                        </a:spcBef>
                        <a:spcAft>
                          <a:spcPts val="0"/>
                        </a:spcAft>
                        <a:buClrTx/>
                        <a:buSzTx/>
                        <a:buFontTx/>
                        <a:buNone/>
                        <a:tabLst/>
                        <a:defRPr/>
                      </a:pPr>
                      <a:r>
                        <a:rPr lang="en-US" altLang="ja-JP" sz="1400" kern="100">
                          <a:solidFill>
                            <a:srgbClr val="0070C0"/>
                          </a:solidFill>
                          <a:effectLst/>
                          <a:latin typeface="+mn-ea"/>
                          <a:ea typeface="+mn-ea"/>
                          <a:cs typeface="Meiryo UI" panose="020B0604030504040204" pitchFamily="50" charset="-128"/>
                        </a:rPr>
                        <a:t>NoSQL</a:t>
                      </a:r>
                      <a:endParaRPr lang="ja-JP" alt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ongoDB Atla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1352402600"/>
                  </a:ext>
                </a:extLst>
              </a:tr>
              <a:tr h="395507">
                <a:tc>
                  <a:txBody>
                    <a:bodyPr/>
                    <a:lstStyle/>
                    <a:p>
                      <a:pPr algn="just"/>
                      <a:r>
                        <a:rPr lang="en-US" altLang="ja-JP" sz="1400" kern="100">
                          <a:solidFill>
                            <a:srgbClr val="0070C0"/>
                          </a:solidFill>
                          <a:effectLst/>
                          <a:latin typeface="+mn-ea"/>
                          <a:ea typeface="+mn-ea"/>
                          <a:cs typeface="Meiryo UI" panose="020B0604030504040204" pitchFamily="50" charset="-128"/>
                        </a:rPr>
                        <a:t>WebGIS</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apribre, Deck.gl</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2173848345"/>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BI</a:t>
                      </a:r>
                      <a:r>
                        <a:rPr lang="ja-JP" altLang="en-US" sz="1400" kern="100">
                          <a:solidFill>
                            <a:srgbClr val="0070C0"/>
                          </a:solidFill>
                          <a:effectLst/>
                          <a:latin typeface="+mn-ea"/>
                          <a:ea typeface="+mn-ea"/>
                          <a:cs typeface="Meiryo UI" panose="020B0604030504040204" pitchFamily="50" charset="-128"/>
                        </a:rPr>
                        <a:t>ツール</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a:solidFill>
                            <a:srgbClr val="0070C0"/>
                          </a:solidFill>
                          <a:latin typeface="+mn-ea"/>
                          <a:ea typeface="+mn-ea"/>
                        </a:rPr>
                        <a:t>Tableau</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XXXXXX</a:t>
                      </a:r>
                      <a:endParaRPr lang="ja-JP"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231779892"/>
                  </a:ext>
                </a:extLst>
              </a:tr>
              <a:tr h="338114">
                <a:tc>
                  <a:txBody>
                    <a:bodyPr/>
                    <a:lstStyle/>
                    <a:p>
                      <a:pPr algn="just"/>
                      <a:r>
                        <a:rPr lang="ja-JP" altLang="en-US" sz="1400" kern="100">
                          <a:solidFill>
                            <a:srgbClr val="0070C0"/>
                          </a:solidFill>
                          <a:effectLst/>
                          <a:latin typeface="+mn-ea"/>
                          <a:ea typeface="+mn-ea"/>
                          <a:cs typeface="Meiryo UI" panose="020B0604030504040204" pitchFamily="50" charset="-128"/>
                        </a:rPr>
                        <a:t>経路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Mixway API</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3668803341"/>
                  </a:ext>
                </a:extLst>
              </a:tr>
              <a:tr h="338114">
                <a:tc>
                  <a:txBody>
                    <a:bodyPr/>
                    <a:lstStyle/>
                    <a:p>
                      <a:pPr algn="just"/>
                      <a:r>
                        <a:rPr lang="en-US" altLang="ja-JP" sz="1400" kern="100">
                          <a:solidFill>
                            <a:srgbClr val="0070C0"/>
                          </a:solidFill>
                          <a:effectLst/>
                          <a:latin typeface="+mn-ea"/>
                          <a:ea typeface="+mn-ea"/>
                          <a:cs typeface="Meiryo UI" panose="020B0604030504040204" pitchFamily="50" charset="-128"/>
                        </a:rPr>
                        <a:t>NW</a:t>
                      </a:r>
                      <a:r>
                        <a:rPr lang="ja-JP" altLang="en-US" sz="1400" kern="100">
                          <a:solidFill>
                            <a:srgbClr val="0070C0"/>
                          </a:solidFill>
                          <a:effectLst/>
                          <a:latin typeface="+mn-ea"/>
                          <a:ea typeface="+mn-ea"/>
                          <a:cs typeface="Meiryo UI" panose="020B0604030504040204" pitchFamily="50" charset="-128"/>
                        </a:rPr>
                        <a:t>検索</a:t>
                      </a:r>
                      <a:endParaRPr lang="ja-JP" sz="1400" kern="100">
                        <a:solidFill>
                          <a:srgbClr val="0070C0"/>
                        </a:solidFill>
                        <a:effectLst/>
                        <a:latin typeface="+mn-ea"/>
                        <a:ea typeface="+mn-ea"/>
                        <a:cs typeface="Meiryo UI" panose="020B0604030504040204" pitchFamily="50" charset="-128"/>
                      </a:endParaRPr>
                    </a:p>
                  </a:txBody>
                  <a:tcPr marL="36195" marR="36195" marT="46800" marB="46800"/>
                </a:tc>
                <a:tc>
                  <a:txBody>
                    <a:bodyPr/>
                    <a:lstStyle/>
                    <a:p>
                      <a:pPr algn="just"/>
                      <a:r>
                        <a:rPr lang="en-US" altLang="ja-JP" sz="1400" kern="100">
                          <a:solidFill>
                            <a:srgbClr val="0070C0"/>
                          </a:solidFill>
                          <a:effectLst/>
                          <a:latin typeface="+mn-ea"/>
                          <a:ea typeface="+mn-ea"/>
                          <a:cs typeface="Meiryo UI" panose="020B0604030504040204" pitchFamily="50" charset="-128"/>
                        </a:rPr>
                        <a:t>NAVITIME API</a:t>
                      </a:r>
                    </a:p>
                  </a:txBody>
                  <a:tcPr marL="36195" marR="36195" marT="46800" marB="46800"/>
                </a:tc>
                <a:tc>
                  <a:txBody>
                    <a:bodyPr/>
                    <a:lstStyle/>
                    <a:p>
                      <a:pPr algn="just"/>
                      <a:endParaRPr lang="ja-JP" altLang="en-US" sz="1400" kern="100">
                        <a:solidFill>
                          <a:srgbClr val="0070C0"/>
                        </a:solidFill>
                        <a:effectLst/>
                        <a:latin typeface="+mn-ea"/>
                        <a:ea typeface="+mn-ea"/>
                        <a:cs typeface="Meiryo UI" panose="020B0604030504040204" pitchFamily="50" charset="-128"/>
                      </a:endParaRPr>
                    </a:p>
                  </a:txBody>
                  <a:tcPr marL="36195" marR="36195" marT="46800" marB="46800"/>
                </a:tc>
                <a:extLst>
                  <a:ext uri="{0D108BD9-81ED-4DB2-BD59-A6C34878D82A}">
                    <a16:rowId xmlns:a16="http://schemas.microsoft.com/office/drawing/2014/main" val="430931605"/>
                  </a:ext>
                </a:extLst>
              </a:tr>
            </a:tbl>
          </a:graphicData>
        </a:graphic>
      </p:graphicFrame>
      <p:sp>
        <p:nvSpPr>
          <p:cNvPr id="4" name="テキスト ボックス 3">
            <a:extLst>
              <a:ext uri="{FF2B5EF4-FFF2-40B4-BE49-F238E27FC236}">
                <a16:creationId xmlns:a16="http://schemas.microsoft.com/office/drawing/2014/main" id="{137E167F-967C-A788-F2FB-6E0ACA20040F}"/>
              </a:ext>
            </a:extLst>
          </p:cNvPr>
          <p:cNvSpPr txBox="1"/>
          <p:nvPr/>
        </p:nvSpPr>
        <p:spPr>
          <a:xfrm>
            <a:off x="3028006" y="3816975"/>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開発において、使用する技術スタックやツールを明示し、それらの機能を説明してください。</a:t>
            </a:r>
          </a:p>
        </p:txBody>
      </p:sp>
    </p:spTree>
    <p:extLst>
      <p:ext uri="{BB962C8B-B14F-4D97-AF65-F5344CB8AC3E}">
        <p14:creationId xmlns:p14="http://schemas.microsoft.com/office/powerpoint/2010/main" val="31427881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B8A4D455-177B-0F48-C20A-E9924256F15C}"/>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８</a:t>
            </a:r>
            <a:r>
              <a:rPr lang="en-US" altLang="ja-JP"/>
              <a:t>.</a:t>
            </a:r>
            <a:r>
              <a:rPr lang="ja-JP" altLang="en-US"/>
              <a:t>利用するデータ一覧</a:t>
            </a:r>
          </a:p>
        </p:txBody>
      </p:sp>
      <p:graphicFrame>
        <p:nvGraphicFramePr>
          <p:cNvPr id="3" name="表 7">
            <a:extLst>
              <a:ext uri="{FF2B5EF4-FFF2-40B4-BE49-F238E27FC236}">
                <a16:creationId xmlns:a16="http://schemas.microsoft.com/office/drawing/2014/main" id="{B77AD93B-2184-6E7E-991B-6FFF513314DB}"/>
              </a:ext>
            </a:extLst>
          </p:cNvPr>
          <p:cNvGraphicFramePr>
            <a:graphicFrameLocks noGrp="1"/>
          </p:cNvGraphicFramePr>
          <p:nvPr>
            <p:extLst>
              <p:ext uri="{D42A27DB-BD31-4B8C-83A1-F6EECF244321}">
                <p14:modId xmlns:p14="http://schemas.microsoft.com/office/powerpoint/2010/main" val="1629424657"/>
              </p:ext>
            </p:extLst>
          </p:nvPr>
        </p:nvGraphicFramePr>
        <p:xfrm>
          <a:off x="384985" y="1693963"/>
          <a:ext cx="11439466" cy="4687223"/>
        </p:xfrm>
        <a:graphic>
          <a:graphicData uri="http://schemas.openxmlformats.org/drawingml/2006/table">
            <a:tbl>
              <a:tblPr/>
              <a:tblGrid>
                <a:gridCol w="1399748">
                  <a:extLst>
                    <a:ext uri="{9D8B030D-6E8A-4147-A177-3AD203B41FA5}">
                      <a16:colId xmlns:a16="http://schemas.microsoft.com/office/drawing/2014/main" val="564283603"/>
                    </a:ext>
                  </a:extLst>
                </a:gridCol>
                <a:gridCol w="1729648">
                  <a:extLst>
                    <a:ext uri="{9D8B030D-6E8A-4147-A177-3AD203B41FA5}">
                      <a16:colId xmlns:a16="http://schemas.microsoft.com/office/drawing/2014/main" val="1942113200"/>
                    </a:ext>
                  </a:extLst>
                </a:gridCol>
                <a:gridCol w="2688115">
                  <a:extLst>
                    <a:ext uri="{9D8B030D-6E8A-4147-A177-3AD203B41FA5}">
                      <a16:colId xmlns:a16="http://schemas.microsoft.com/office/drawing/2014/main" val="1885849142"/>
                    </a:ext>
                  </a:extLst>
                </a:gridCol>
                <a:gridCol w="5621955">
                  <a:extLst>
                    <a:ext uri="{9D8B030D-6E8A-4147-A177-3AD203B41FA5}">
                      <a16:colId xmlns:a16="http://schemas.microsoft.com/office/drawing/2014/main" val="115040276"/>
                    </a:ext>
                  </a:extLst>
                </a:gridCol>
              </a:tblGrid>
              <a:tr h="292264">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利用する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交通モード</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データの種類</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b="1">
                          <a:latin typeface="+mn-ea"/>
                          <a:ea typeface="+mn-ea"/>
                        </a:rPr>
                        <a:t>取得の方法</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292264">
                <a:tc rowSpan="9">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モビリティ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電鉄</a:t>
                      </a:r>
                      <a:endParaRPr kumimoji="1" lang="en-US" altLang="ja-JP"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IC</a:t>
                      </a:r>
                      <a:r>
                        <a:rPr kumimoji="1" lang="ja-JP" altLang="en-US" sz="1050">
                          <a:solidFill>
                            <a:srgbClr val="0070C0"/>
                          </a:solidFill>
                          <a:latin typeface="+mn-ea"/>
                          <a:ea typeface="+mn-ea"/>
                        </a:rPr>
                        <a:t>カード利用実績データ</a:t>
                      </a:r>
                      <a:endParaRPr kumimoji="1" lang="en-US" altLang="ja-JP"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lang="en-US" altLang="ja-JP" sz="1050">
                          <a:solidFill>
                            <a:srgbClr val="0070C0"/>
                          </a:solidFill>
                          <a:latin typeface="BIZ UDPゴシック"/>
                          <a:ea typeface="+mn-ea"/>
                        </a:rPr>
                        <a:t>XX</a:t>
                      </a:r>
                      <a:r>
                        <a:rPr lang="ja-JP" altLang="en-US" sz="1050">
                          <a:solidFill>
                            <a:srgbClr val="0070C0"/>
                          </a:solidFill>
                          <a:latin typeface="BIZ UDPゴシック"/>
                          <a:ea typeface="+mn-ea"/>
                        </a:rPr>
                        <a:t>交通が運用する</a:t>
                      </a:r>
                      <a:r>
                        <a:rPr lang="en-US" altLang="ja-JP" sz="1050">
                          <a:solidFill>
                            <a:srgbClr val="0070C0"/>
                          </a:solidFill>
                          <a:latin typeface="BIZ UDPゴシック"/>
                          <a:ea typeface="+mn-ea"/>
                        </a:rPr>
                        <a:t>IC</a:t>
                      </a:r>
                      <a:r>
                        <a:rPr lang="ja-JP" altLang="en-US" sz="1050">
                          <a:solidFill>
                            <a:srgbClr val="0070C0"/>
                          </a:solidFill>
                          <a:latin typeface="BIZ UDPゴシック"/>
                          <a:ea typeface="+mn-ea"/>
                        </a:rPr>
                        <a:t>カード管理システムから取得（手作業）</a:t>
                      </a:r>
                      <a:endParaRPr kumimoji="1" lang="en-US" altLang="ja-JP"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94776207"/>
                  </a:ext>
                </a:extLst>
              </a:tr>
              <a:tr h="29226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オンデマンドバス</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運行日報（乗降実績）</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デマンドを運行する</a:t>
                      </a:r>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市からメールでスキャンデータを入手</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29226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YY</a:t>
                      </a:r>
                      <a:r>
                        <a:rPr kumimoji="1" lang="ja-JP" altLang="en-US" sz="1050">
                          <a:solidFill>
                            <a:srgbClr val="0070C0"/>
                          </a:solidFill>
                          <a:latin typeface="+mn-ea"/>
                          <a:ea typeface="+mn-ea"/>
                        </a:rPr>
                        <a:t>バス</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一件明細データ（車載器より取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バスが運行するデータ管理システムと</a:t>
                      </a:r>
                      <a:r>
                        <a:rPr lang="en-US" altLang="ja-JP" sz="1050">
                          <a:solidFill>
                            <a:srgbClr val="0070C0"/>
                          </a:solidFill>
                          <a:latin typeface="BIZ UDPゴシック"/>
                          <a:ea typeface="+mn-ea"/>
                        </a:rPr>
                        <a:t>YY</a:t>
                      </a:r>
                      <a:r>
                        <a:rPr lang="ja-JP" altLang="en-US" sz="1050">
                          <a:solidFill>
                            <a:srgbClr val="0070C0"/>
                          </a:solidFill>
                          <a:latin typeface="BIZ UDPゴシック"/>
                          <a:ea typeface="+mn-ea"/>
                        </a:rPr>
                        <a:t>データ分析システムを</a:t>
                      </a:r>
                      <a:r>
                        <a:rPr lang="en-US" altLang="ja-JP" sz="1050">
                          <a:solidFill>
                            <a:srgbClr val="0070C0"/>
                          </a:solidFill>
                          <a:latin typeface="BIZ UDPゴシック"/>
                          <a:ea typeface="+mn-ea"/>
                        </a:rPr>
                        <a:t>API</a:t>
                      </a:r>
                      <a:r>
                        <a:rPr lang="ja-JP" altLang="en-US" sz="1050">
                          <a:solidFill>
                            <a:srgbClr val="0070C0"/>
                          </a:solidFill>
                          <a:latin typeface="BIZ UDPゴシック"/>
                          <a:ea typeface="+mn-ea"/>
                        </a:rPr>
                        <a:t>連携し、毎日</a:t>
                      </a:r>
                      <a:r>
                        <a:rPr lang="en-US" altLang="ja-JP" sz="1050">
                          <a:solidFill>
                            <a:srgbClr val="0070C0"/>
                          </a:solidFill>
                          <a:latin typeface="BIZ UDPゴシック"/>
                          <a:ea typeface="+mn-ea"/>
                        </a:rPr>
                        <a:t>1</a:t>
                      </a:r>
                      <a:r>
                        <a:rPr lang="ja-JP" altLang="en-US" sz="1050">
                          <a:solidFill>
                            <a:srgbClr val="0070C0"/>
                          </a:solidFill>
                          <a:latin typeface="BIZ UDPゴシック"/>
                          <a:ea typeface="+mn-ea"/>
                        </a:rPr>
                        <a:t>回取得</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X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XXXX</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292264">
                <a:tc rowSpan="6">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その他</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人流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ＧＰＳ</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アプリ利用者の観光消費データ</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ja-JP" altLang="en-US" sz="1050">
                          <a:solidFill>
                            <a:srgbClr val="0070C0"/>
                          </a:solidFill>
                          <a:latin typeface="+mn-ea"/>
                          <a:ea typeface="+mn-ea"/>
                        </a:rPr>
                        <a:t>アプリ上で購入されたデジタルチケットのクーポン使用履歴より入手</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303263">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292264">
                <a:tc vMerge="1">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1050">
                          <a:solidFill>
                            <a:srgbClr val="0070C0"/>
                          </a:solidFill>
                          <a:latin typeface="+mn-ea"/>
                          <a:ea typeface="+mn-ea"/>
                        </a:rPr>
                        <a:t>-</a:t>
                      </a:r>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105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sp>
        <p:nvSpPr>
          <p:cNvPr id="4" name="テキスト ボックス 3">
            <a:extLst>
              <a:ext uri="{FF2B5EF4-FFF2-40B4-BE49-F238E27FC236}">
                <a16:creationId xmlns:a16="http://schemas.microsoft.com/office/drawing/2014/main" id="{9C70D182-E3ED-833A-2988-C7FDBE46B5C2}"/>
              </a:ext>
            </a:extLst>
          </p:cNvPr>
          <p:cNvSpPr txBox="1"/>
          <p:nvPr/>
        </p:nvSpPr>
        <p:spPr>
          <a:xfrm>
            <a:off x="3028006" y="3816975"/>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データ分析において利用するデータの一覧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kern="0">
                <a:solidFill>
                  <a:srgbClr val="FFFFFF"/>
                </a:solidFill>
              </a:rPr>
              <a:t>取得方法（キャッシュ列端末、ユーザー管理システム、目視カウント等）を明記するとともに、データ分析システムへの投入方法（手作業によるインポート、</a:t>
            </a:r>
            <a:r>
              <a:rPr kumimoji="0" lang="en-US" altLang="ja-JP" sz="1400" kern="0">
                <a:solidFill>
                  <a:srgbClr val="FFFFFF"/>
                </a:solidFill>
              </a:rPr>
              <a:t>API</a:t>
            </a:r>
            <a:r>
              <a:rPr kumimoji="0" lang="ja-JP" altLang="en-US" sz="1400" kern="0">
                <a:solidFill>
                  <a:srgbClr val="FFFFFF"/>
                </a:solidFill>
              </a:rPr>
              <a:t>等のインターフェースによる自動取得など）を明確にしてください。</a:t>
            </a:r>
            <a:endParaRPr kumimoji="0" lang="ja-JP" altLang="en-US"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32781065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B8A4D455-177B-0F48-C20A-E9924256F15C}"/>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８</a:t>
            </a:r>
            <a:r>
              <a:rPr lang="en-US" altLang="ja-JP"/>
              <a:t>.</a:t>
            </a:r>
            <a:r>
              <a:rPr lang="ja-JP" altLang="en-US"/>
              <a:t>利用するデータ一覧 │ 各データ仕様</a:t>
            </a:r>
          </a:p>
        </p:txBody>
      </p:sp>
      <p:graphicFrame>
        <p:nvGraphicFramePr>
          <p:cNvPr id="3" name="表 7">
            <a:extLst>
              <a:ext uri="{FF2B5EF4-FFF2-40B4-BE49-F238E27FC236}">
                <a16:creationId xmlns:a16="http://schemas.microsoft.com/office/drawing/2014/main" id="{B77AD93B-2184-6E7E-991B-6FFF513314DB}"/>
              </a:ext>
            </a:extLst>
          </p:cNvPr>
          <p:cNvGraphicFramePr>
            <a:graphicFrameLocks noGrp="1"/>
          </p:cNvGraphicFramePr>
          <p:nvPr>
            <p:extLst>
              <p:ext uri="{D42A27DB-BD31-4B8C-83A1-F6EECF244321}">
                <p14:modId xmlns:p14="http://schemas.microsoft.com/office/powerpoint/2010/main" val="1028354955"/>
              </p:ext>
            </p:extLst>
          </p:nvPr>
        </p:nvGraphicFramePr>
        <p:xfrm>
          <a:off x="300779" y="2086229"/>
          <a:ext cx="3789959" cy="3169920"/>
        </p:xfrm>
        <a:graphic>
          <a:graphicData uri="http://schemas.openxmlformats.org/drawingml/2006/table">
            <a:tbl>
              <a:tblPr/>
              <a:tblGrid>
                <a:gridCol w="360217">
                  <a:extLst>
                    <a:ext uri="{9D8B030D-6E8A-4147-A177-3AD203B41FA5}">
                      <a16:colId xmlns:a16="http://schemas.microsoft.com/office/drawing/2014/main" val="1885849142"/>
                    </a:ext>
                  </a:extLst>
                </a:gridCol>
                <a:gridCol w="686543">
                  <a:extLst>
                    <a:ext uri="{9D8B030D-6E8A-4147-A177-3AD203B41FA5}">
                      <a16:colId xmlns:a16="http://schemas.microsoft.com/office/drawing/2014/main" val="385655003"/>
                    </a:ext>
                  </a:extLst>
                </a:gridCol>
                <a:gridCol w="686543">
                  <a:extLst>
                    <a:ext uri="{9D8B030D-6E8A-4147-A177-3AD203B41FA5}">
                      <a16:colId xmlns:a16="http://schemas.microsoft.com/office/drawing/2014/main" val="3553083660"/>
                    </a:ext>
                  </a:extLst>
                </a:gridCol>
                <a:gridCol w="686543">
                  <a:extLst>
                    <a:ext uri="{9D8B030D-6E8A-4147-A177-3AD203B41FA5}">
                      <a16:colId xmlns:a16="http://schemas.microsoft.com/office/drawing/2014/main" val="1499113489"/>
                    </a:ext>
                  </a:extLst>
                </a:gridCol>
                <a:gridCol w="686543">
                  <a:extLst>
                    <a:ext uri="{9D8B030D-6E8A-4147-A177-3AD203B41FA5}">
                      <a16:colId xmlns:a16="http://schemas.microsoft.com/office/drawing/2014/main" val="304277677"/>
                    </a:ext>
                  </a:extLst>
                </a:gridCol>
                <a:gridCol w="341785">
                  <a:extLst>
                    <a:ext uri="{9D8B030D-6E8A-4147-A177-3AD203B41FA5}">
                      <a16:colId xmlns:a16="http://schemas.microsoft.com/office/drawing/2014/main" val="3064648371"/>
                    </a:ext>
                  </a:extLst>
                </a:gridCol>
                <a:gridCol w="341785">
                  <a:extLst>
                    <a:ext uri="{9D8B030D-6E8A-4147-A177-3AD203B41FA5}">
                      <a16:colId xmlns:a16="http://schemas.microsoft.com/office/drawing/2014/main" val="1797962041"/>
                    </a:ext>
                  </a:extLst>
                </a:gridCol>
              </a:tblGrid>
              <a:tr h="0">
                <a:tc gridSpan="7">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kern="1200">
                          <a:solidFill>
                            <a:srgbClr val="0070C0"/>
                          </a:solidFill>
                          <a:latin typeface="+mn-ea"/>
                          <a:ea typeface="BIZ UDPゴシック"/>
                          <a:cs typeface="+mn-cs"/>
                        </a:rPr>
                        <a:t>IC</a:t>
                      </a:r>
                      <a:r>
                        <a:rPr kumimoji="1" lang="ja-JP" altLang="en-US" sz="700" kern="1200">
                          <a:solidFill>
                            <a:srgbClr val="0070C0"/>
                          </a:solidFill>
                          <a:latin typeface="+mn-ea"/>
                          <a:ea typeface="BIZ UDPゴシック"/>
                          <a:cs typeface="+mn-cs"/>
                        </a:rPr>
                        <a:t>カード利用実績データ</a:t>
                      </a:r>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論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物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データ型</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NOTNUL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P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F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extLst>
                  <a:ext uri="{0D108BD9-81ED-4DB2-BD59-A6C34878D82A}">
                    <a16:rowId xmlns:a16="http://schemas.microsoft.com/office/drawing/2014/main" val="289477620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ユーザー</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u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年月日</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カードタイ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yp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4</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s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5</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sts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6</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7</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8</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rip</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9</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trip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0</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bu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bus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定期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pas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BOOLEAN</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引去り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amoun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FLOA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graphicFrame>
        <p:nvGraphicFramePr>
          <p:cNvPr id="10" name="表 7">
            <a:extLst>
              <a:ext uri="{FF2B5EF4-FFF2-40B4-BE49-F238E27FC236}">
                <a16:creationId xmlns:a16="http://schemas.microsoft.com/office/drawing/2014/main" id="{C5F6DA09-76D6-B10B-361F-04956F79EDE5}"/>
              </a:ext>
            </a:extLst>
          </p:cNvPr>
          <p:cNvGraphicFramePr>
            <a:graphicFrameLocks noGrp="1"/>
          </p:cNvGraphicFramePr>
          <p:nvPr>
            <p:extLst>
              <p:ext uri="{D42A27DB-BD31-4B8C-83A1-F6EECF244321}">
                <p14:modId xmlns:p14="http://schemas.microsoft.com/office/powerpoint/2010/main" val="3608060427"/>
              </p:ext>
            </p:extLst>
          </p:nvPr>
        </p:nvGraphicFramePr>
        <p:xfrm>
          <a:off x="4201019" y="2086229"/>
          <a:ext cx="3789959" cy="3169920"/>
        </p:xfrm>
        <a:graphic>
          <a:graphicData uri="http://schemas.openxmlformats.org/drawingml/2006/table">
            <a:tbl>
              <a:tblPr/>
              <a:tblGrid>
                <a:gridCol w="360217">
                  <a:extLst>
                    <a:ext uri="{9D8B030D-6E8A-4147-A177-3AD203B41FA5}">
                      <a16:colId xmlns:a16="http://schemas.microsoft.com/office/drawing/2014/main" val="1885849142"/>
                    </a:ext>
                  </a:extLst>
                </a:gridCol>
                <a:gridCol w="686543">
                  <a:extLst>
                    <a:ext uri="{9D8B030D-6E8A-4147-A177-3AD203B41FA5}">
                      <a16:colId xmlns:a16="http://schemas.microsoft.com/office/drawing/2014/main" val="385655003"/>
                    </a:ext>
                  </a:extLst>
                </a:gridCol>
                <a:gridCol w="686543">
                  <a:extLst>
                    <a:ext uri="{9D8B030D-6E8A-4147-A177-3AD203B41FA5}">
                      <a16:colId xmlns:a16="http://schemas.microsoft.com/office/drawing/2014/main" val="3553083660"/>
                    </a:ext>
                  </a:extLst>
                </a:gridCol>
                <a:gridCol w="686543">
                  <a:extLst>
                    <a:ext uri="{9D8B030D-6E8A-4147-A177-3AD203B41FA5}">
                      <a16:colId xmlns:a16="http://schemas.microsoft.com/office/drawing/2014/main" val="1499113489"/>
                    </a:ext>
                  </a:extLst>
                </a:gridCol>
                <a:gridCol w="686543">
                  <a:extLst>
                    <a:ext uri="{9D8B030D-6E8A-4147-A177-3AD203B41FA5}">
                      <a16:colId xmlns:a16="http://schemas.microsoft.com/office/drawing/2014/main" val="304277677"/>
                    </a:ext>
                  </a:extLst>
                </a:gridCol>
                <a:gridCol w="341785">
                  <a:extLst>
                    <a:ext uri="{9D8B030D-6E8A-4147-A177-3AD203B41FA5}">
                      <a16:colId xmlns:a16="http://schemas.microsoft.com/office/drawing/2014/main" val="3064648371"/>
                    </a:ext>
                  </a:extLst>
                </a:gridCol>
                <a:gridCol w="341785">
                  <a:extLst>
                    <a:ext uri="{9D8B030D-6E8A-4147-A177-3AD203B41FA5}">
                      <a16:colId xmlns:a16="http://schemas.microsoft.com/office/drawing/2014/main" val="1797962041"/>
                    </a:ext>
                  </a:extLst>
                </a:gridCol>
              </a:tblGrid>
              <a:tr h="0">
                <a:tc gridSpan="7">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kern="1200">
                          <a:solidFill>
                            <a:srgbClr val="0070C0"/>
                          </a:solidFill>
                          <a:latin typeface="+mn-ea"/>
                          <a:ea typeface="BIZ UDPゴシック"/>
                          <a:cs typeface="+mn-cs"/>
                        </a:rPr>
                        <a:t>IC</a:t>
                      </a:r>
                      <a:r>
                        <a:rPr kumimoji="1" lang="ja-JP" altLang="en-US" sz="700" kern="1200">
                          <a:solidFill>
                            <a:srgbClr val="0070C0"/>
                          </a:solidFill>
                          <a:latin typeface="+mn-ea"/>
                          <a:ea typeface="BIZ UDPゴシック"/>
                          <a:cs typeface="+mn-cs"/>
                        </a:rPr>
                        <a:t>カード利用実績データ</a:t>
                      </a:r>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論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物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データ型</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NOTNUL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P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F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extLst>
                  <a:ext uri="{0D108BD9-81ED-4DB2-BD59-A6C34878D82A}">
                    <a16:rowId xmlns:a16="http://schemas.microsoft.com/office/drawing/2014/main" val="289477620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ユーザー</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u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年月日</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カードタイ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yp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4</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s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5</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sts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6</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7</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8</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rip</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9</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trip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0</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bu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bus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定期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pas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BOOLEAN</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引去り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amoun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FLOA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graphicFrame>
        <p:nvGraphicFramePr>
          <p:cNvPr id="11" name="表 7">
            <a:extLst>
              <a:ext uri="{FF2B5EF4-FFF2-40B4-BE49-F238E27FC236}">
                <a16:creationId xmlns:a16="http://schemas.microsoft.com/office/drawing/2014/main" id="{3F5ED731-1608-9D49-AA5B-4D22F31A1F6F}"/>
              </a:ext>
            </a:extLst>
          </p:cNvPr>
          <p:cNvGraphicFramePr>
            <a:graphicFrameLocks noGrp="1"/>
          </p:cNvGraphicFramePr>
          <p:nvPr>
            <p:extLst>
              <p:ext uri="{D42A27DB-BD31-4B8C-83A1-F6EECF244321}">
                <p14:modId xmlns:p14="http://schemas.microsoft.com/office/powerpoint/2010/main" val="3608060427"/>
              </p:ext>
            </p:extLst>
          </p:nvPr>
        </p:nvGraphicFramePr>
        <p:xfrm>
          <a:off x="8101259" y="2086229"/>
          <a:ext cx="3789959" cy="3169920"/>
        </p:xfrm>
        <a:graphic>
          <a:graphicData uri="http://schemas.openxmlformats.org/drawingml/2006/table">
            <a:tbl>
              <a:tblPr/>
              <a:tblGrid>
                <a:gridCol w="360217">
                  <a:extLst>
                    <a:ext uri="{9D8B030D-6E8A-4147-A177-3AD203B41FA5}">
                      <a16:colId xmlns:a16="http://schemas.microsoft.com/office/drawing/2014/main" val="1885849142"/>
                    </a:ext>
                  </a:extLst>
                </a:gridCol>
                <a:gridCol w="686543">
                  <a:extLst>
                    <a:ext uri="{9D8B030D-6E8A-4147-A177-3AD203B41FA5}">
                      <a16:colId xmlns:a16="http://schemas.microsoft.com/office/drawing/2014/main" val="385655003"/>
                    </a:ext>
                  </a:extLst>
                </a:gridCol>
                <a:gridCol w="686543">
                  <a:extLst>
                    <a:ext uri="{9D8B030D-6E8A-4147-A177-3AD203B41FA5}">
                      <a16:colId xmlns:a16="http://schemas.microsoft.com/office/drawing/2014/main" val="3553083660"/>
                    </a:ext>
                  </a:extLst>
                </a:gridCol>
                <a:gridCol w="686543">
                  <a:extLst>
                    <a:ext uri="{9D8B030D-6E8A-4147-A177-3AD203B41FA5}">
                      <a16:colId xmlns:a16="http://schemas.microsoft.com/office/drawing/2014/main" val="1499113489"/>
                    </a:ext>
                  </a:extLst>
                </a:gridCol>
                <a:gridCol w="686543">
                  <a:extLst>
                    <a:ext uri="{9D8B030D-6E8A-4147-A177-3AD203B41FA5}">
                      <a16:colId xmlns:a16="http://schemas.microsoft.com/office/drawing/2014/main" val="304277677"/>
                    </a:ext>
                  </a:extLst>
                </a:gridCol>
                <a:gridCol w="341785">
                  <a:extLst>
                    <a:ext uri="{9D8B030D-6E8A-4147-A177-3AD203B41FA5}">
                      <a16:colId xmlns:a16="http://schemas.microsoft.com/office/drawing/2014/main" val="3064648371"/>
                    </a:ext>
                  </a:extLst>
                </a:gridCol>
                <a:gridCol w="341785">
                  <a:extLst>
                    <a:ext uri="{9D8B030D-6E8A-4147-A177-3AD203B41FA5}">
                      <a16:colId xmlns:a16="http://schemas.microsoft.com/office/drawing/2014/main" val="1797962041"/>
                    </a:ext>
                  </a:extLst>
                </a:gridCol>
              </a:tblGrid>
              <a:tr h="0">
                <a:tc gridSpan="7">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kern="1200">
                          <a:solidFill>
                            <a:srgbClr val="0070C0"/>
                          </a:solidFill>
                          <a:latin typeface="+mn-ea"/>
                          <a:ea typeface="BIZ UDPゴシック"/>
                          <a:cs typeface="+mn-cs"/>
                        </a:rPr>
                        <a:t>IC</a:t>
                      </a:r>
                      <a:r>
                        <a:rPr kumimoji="1" lang="ja-JP" altLang="en-US" sz="700" kern="1200">
                          <a:solidFill>
                            <a:srgbClr val="0070C0"/>
                          </a:solidFill>
                          <a:latin typeface="+mn-ea"/>
                          <a:ea typeface="BIZ UDPゴシック"/>
                          <a:cs typeface="+mn-cs"/>
                        </a:rPr>
                        <a:t>カード利用実績データ</a:t>
                      </a:r>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en-US" altLang="ja-JP" sz="105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tc hMerge="1">
                  <a:txBody>
                    <a:bodyPr/>
                    <a:lstStyle/>
                    <a:p>
                      <a:endParaRPr kumimoji="1" lang="en-US" altLang="ja-JP" sz="700" kern="1200">
                        <a:solidFill>
                          <a:srgbClr val="0070C0"/>
                        </a:solidFill>
                        <a:latin typeface="+mn-ea"/>
                        <a:ea typeface="BIZ UDPゴシック"/>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85000"/>
                      </a:srgbClr>
                    </a:solidFill>
                  </a:tcPr>
                </a:tc>
                <a:extLst>
                  <a:ext uri="{0D108BD9-81ED-4DB2-BD59-A6C34878D82A}">
                    <a16:rowId xmlns:a16="http://schemas.microsoft.com/office/drawing/2014/main" val="419378519"/>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論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物理名</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ja-JP" altLang="en-US" sz="700">
                          <a:solidFill>
                            <a:srgbClr val="0070C0"/>
                          </a:solidFill>
                          <a:latin typeface="+mn-ea"/>
                          <a:ea typeface="+mn-ea"/>
                        </a:rPr>
                        <a:t>データ型</a:t>
                      </a:r>
                      <a:endParaRPr kumimoji="1" lang="en-US" altLang="ja-JP"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NOTNUL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P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tc>
                  <a:txBody>
                    <a:bodyPr/>
                    <a:lstStyle/>
                    <a:p>
                      <a:r>
                        <a:rPr kumimoji="1" lang="en-US" altLang="ja-JP" sz="700">
                          <a:solidFill>
                            <a:srgbClr val="0070C0"/>
                          </a:solidFill>
                          <a:latin typeface="+mn-ea"/>
                          <a:ea typeface="+mn-ea"/>
                        </a:rPr>
                        <a:t>F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90000"/>
                      </a:schemeClr>
                    </a:solidFill>
                  </a:tcPr>
                </a:tc>
                <a:extLst>
                  <a:ext uri="{0D108BD9-81ED-4DB2-BD59-A6C34878D82A}">
                    <a16:rowId xmlns:a16="http://schemas.microsoft.com/office/drawing/2014/main" val="289477620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ユーザー</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u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〇</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4490201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年月日</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DAT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164601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カードタイプ</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ype</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93169486"/>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4</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s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73881322"/>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5</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乗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sts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5930648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6</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3742562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7</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降車駅</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getoff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68969708"/>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8</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trip</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STRING</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0137593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09</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系統</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trip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3737114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0</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bu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21443"/>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1</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車両</a:t>
                      </a:r>
                      <a:r>
                        <a:rPr kumimoji="1" lang="en-US" altLang="ja-JP" sz="700">
                          <a:solidFill>
                            <a:srgbClr val="0070C0"/>
                          </a:solidFill>
                          <a:latin typeface="+mn-ea"/>
                          <a:ea typeface="+mn-ea"/>
                        </a:rPr>
                        <a:t>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err="1">
                          <a:solidFill>
                            <a:srgbClr val="0070C0"/>
                          </a:solidFill>
                          <a:latin typeface="+mn-ea"/>
                          <a:ea typeface="+mn-ea"/>
                        </a:rPr>
                        <a:t>busid</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INTEGER</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32076460"/>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2</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定期券</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pass</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BOOLEAN</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742927184"/>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r>
                        <a:rPr kumimoji="1" lang="en-US" altLang="ja-JP" sz="700">
                          <a:solidFill>
                            <a:srgbClr val="0070C0"/>
                          </a:solidFill>
                          <a:latin typeface="+mn-ea"/>
                          <a:ea typeface="+mn-ea"/>
                        </a:rPr>
                        <a:t>13</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ja-JP" altLang="en-US" sz="700">
                          <a:solidFill>
                            <a:srgbClr val="0070C0"/>
                          </a:solidFill>
                          <a:latin typeface="+mn-ea"/>
                          <a:ea typeface="+mn-ea"/>
                        </a:rPr>
                        <a:t>引去り額</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a:solidFill>
                            <a:srgbClr val="0070C0"/>
                          </a:solidFill>
                          <a:latin typeface="+mn-ea"/>
                          <a:ea typeface="+mn-ea"/>
                        </a:rPr>
                        <a:t>amoun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kumimoji="1" lang="en-US" altLang="ja-JP" sz="700" b="0" i="0" u="none" strike="noStrike" kern="1200" cap="none" spc="0" normalizeH="0" baseline="0" noProof="0">
                          <a:ln>
                            <a:noFill/>
                          </a:ln>
                          <a:solidFill>
                            <a:srgbClr val="0070C0"/>
                          </a:solidFill>
                          <a:effectLst/>
                          <a:uLnTx/>
                          <a:uFillTx/>
                          <a:latin typeface="BIZ UDPゴシック"/>
                          <a:ea typeface="BIZ UDPゴシック"/>
                          <a:cs typeface="+mn-cs"/>
                        </a:rPr>
                        <a:t>FLOAT</a:t>
                      </a:r>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93254437"/>
                  </a:ext>
                </a:extLst>
              </a:tr>
              <a:tr h="0">
                <a:tc>
                  <a:txBody>
                    <a:bodyPr/>
                    <a:lstStyle>
                      <a:lvl1pPr marL="0" algn="l" defTabSz="742950" rtl="0" eaLnBrk="1" latinLnBrk="0" hangingPunct="1">
                        <a:defRPr kumimoji="1" sz="1463" kern="1200">
                          <a:solidFill>
                            <a:schemeClr val="dk1"/>
                          </a:solidFill>
                          <a:latin typeface="Noto Sans CJK JP"/>
                          <a:ea typeface="BIZ UDPゴシック"/>
                        </a:defRPr>
                      </a:lvl1pPr>
                      <a:lvl2pPr marL="371475" algn="l" defTabSz="742950" rtl="0" eaLnBrk="1" latinLnBrk="0" hangingPunct="1">
                        <a:defRPr kumimoji="1" sz="1463" kern="1200">
                          <a:solidFill>
                            <a:schemeClr val="dk1"/>
                          </a:solidFill>
                          <a:latin typeface="Noto Sans CJK JP"/>
                          <a:ea typeface="BIZ UDPゴシック"/>
                        </a:defRPr>
                      </a:lvl2pPr>
                      <a:lvl3pPr marL="742950" algn="l" defTabSz="742950" rtl="0" eaLnBrk="1" latinLnBrk="0" hangingPunct="1">
                        <a:defRPr kumimoji="1" sz="1463" kern="1200">
                          <a:solidFill>
                            <a:schemeClr val="dk1"/>
                          </a:solidFill>
                          <a:latin typeface="Noto Sans CJK JP"/>
                          <a:ea typeface="BIZ UDPゴシック"/>
                        </a:defRPr>
                      </a:lvl3pPr>
                      <a:lvl4pPr marL="1114425" algn="l" defTabSz="742950" rtl="0" eaLnBrk="1" latinLnBrk="0" hangingPunct="1">
                        <a:defRPr kumimoji="1" sz="1463" kern="1200">
                          <a:solidFill>
                            <a:schemeClr val="dk1"/>
                          </a:solidFill>
                          <a:latin typeface="Noto Sans CJK JP"/>
                          <a:ea typeface="BIZ UDPゴシック"/>
                        </a:defRPr>
                      </a:lvl4pPr>
                      <a:lvl5pPr marL="1485900" algn="l" defTabSz="742950" rtl="0" eaLnBrk="1" latinLnBrk="0" hangingPunct="1">
                        <a:defRPr kumimoji="1" sz="1463" kern="1200">
                          <a:solidFill>
                            <a:schemeClr val="dk1"/>
                          </a:solidFill>
                          <a:latin typeface="Noto Sans CJK JP"/>
                          <a:ea typeface="BIZ UDPゴシック"/>
                        </a:defRPr>
                      </a:lvl5pPr>
                      <a:lvl6pPr marL="1857375" algn="l" defTabSz="742950" rtl="0" eaLnBrk="1" latinLnBrk="0" hangingPunct="1">
                        <a:defRPr kumimoji="1" sz="1463" kern="1200">
                          <a:solidFill>
                            <a:schemeClr val="dk1"/>
                          </a:solidFill>
                          <a:latin typeface="Noto Sans CJK JP"/>
                          <a:ea typeface="BIZ UDPゴシック"/>
                        </a:defRPr>
                      </a:lvl6pPr>
                      <a:lvl7pPr marL="2228850" algn="l" defTabSz="742950" rtl="0" eaLnBrk="1" latinLnBrk="0" hangingPunct="1">
                        <a:defRPr kumimoji="1" sz="1463" kern="1200">
                          <a:solidFill>
                            <a:schemeClr val="dk1"/>
                          </a:solidFill>
                          <a:latin typeface="Noto Sans CJK JP"/>
                          <a:ea typeface="BIZ UDPゴシック"/>
                        </a:defRPr>
                      </a:lvl7pPr>
                      <a:lvl8pPr marL="2600325" algn="l" defTabSz="742950" rtl="0" eaLnBrk="1" latinLnBrk="0" hangingPunct="1">
                        <a:defRPr kumimoji="1" sz="1463" kern="1200">
                          <a:solidFill>
                            <a:schemeClr val="dk1"/>
                          </a:solidFill>
                          <a:latin typeface="Noto Sans CJK JP"/>
                          <a:ea typeface="BIZ UDPゴシック"/>
                        </a:defRPr>
                      </a:lvl8pPr>
                      <a:lvl9pPr marL="2971800" algn="l" defTabSz="742950" rtl="0" eaLnBrk="1" latinLnBrk="0" hangingPunct="1">
                        <a:defRPr kumimoji="1" sz="1463" kern="1200">
                          <a:solidFill>
                            <a:schemeClr val="dk1"/>
                          </a:solidFill>
                          <a:latin typeface="Noto Sans CJK JP"/>
                          <a:ea typeface="BIZ UDPゴシック"/>
                        </a:defRPr>
                      </a:lvl9p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endParaRPr kumimoji="1" lang="ja-JP" altLang="en-US" sz="700">
                        <a:solidFill>
                          <a:srgbClr val="0070C0"/>
                        </a:solidFill>
                        <a:latin typeface="+mn-ea"/>
                        <a:ea typeface="+mn-ea"/>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04760456"/>
                  </a:ext>
                </a:extLst>
              </a:tr>
            </a:tbl>
          </a:graphicData>
        </a:graphic>
      </p:graphicFrame>
      <p:sp>
        <p:nvSpPr>
          <p:cNvPr id="8" name="テキスト ボックス 7">
            <a:extLst>
              <a:ext uri="{FF2B5EF4-FFF2-40B4-BE49-F238E27FC236}">
                <a16:creationId xmlns:a16="http://schemas.microsoft.com/office/drawing/2014/main" id="{7C8E84C0-1CFB-1220-AA61-2E66130F5B32}"/>
              </a:ext>
            </a:extLst>
          </p:cNvPr>
          <p:cNvSpPr txBox="1"/>
          <p:nvPr/>
        </p:nvSpPr>
        <p:spPr>
          <a:xfrm>
            <a:off x="3028006" y="3816975"/>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データ分析において利用するデータの仕様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kern="0">
                <a:solidFill>
                  <a:srgbClr val="FFFFFF"/>
                </a:solidFill>
              </a:rPr>
              <a:t>RDB</a:t>
            </a:r>
            <a:r>
              <a:rPr kumimoji="0" lang="ja-JP" altLang="en-US" sz="1400" kern="0">
                <a:solidFill>
                  <a:srgbClr val="FFFFFF"/>
                </a:solidFill>
              </a:rPr>
              <a:t>を用いる場合はリレーションを表現するキーを記載してください。</a:t>
            </a:r>
            <a:endParaRPr kumimoji="0" lang="ja-JP" altLang="en-US"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1922514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920D49B5-780A-0B0E-081E-8188B35BACC6}"/>
              </a:ext>
            </a:extLst>
          </p:cNvPr>
          <p:cNvPicPr>
            <a:picLocks noChangeAspect="1"/>
          </p:cNvPicPr>
          <p:nvPr/>
        </p:nvPicPr>
        <p:blipFill>
          <a:blip r:embed="rId3"/>
          <a:stretch>
            <a:fillRect/>
          </a:stretch>
        </p:blipFill>
        <p:spPr>
          <a:xfrm>
            <a:off x="883308" y="1338394"/>
            <a:ext cx="9797121" cy="5303980"/>
          </a:xfrm>
          <a:prstGeom prst="rect">
            <a:avLst/>
          </a:prstGeom>
        </p:spPr>
      </p:pic>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08" imgH="608" progId="TCLayout.ActiveDocument.1">
                  <p:embed/>
                </p:oleObj>
              </mc:Choice>
              <mc:Fallback>
                <p:oleObj name="think-cell スライド" r:id="rId4"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Ⅲ.</a:t>
            </a:r>
            <a:r>
              <a:rPr lang="ja-JP" altLang="en-US"/>
              <a:t>モビリティデータの取得と活用</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a:t>９</a:t>
            </a:r>
            <a:r>
              <a:rPr kumimoji="1" lang="en-US" altLang="ja-JP"/>
              <a:t>.</a:t>
            </a:r>
            <a:r>
              <a:rPr kumimoji="1" lang="ja-JP" altLang="en-US"/>
              <a:t>ユーザインタフェース｜全体</a:t>
            </a:r>
            <a:r>
              <a:rPr lang="en-US" altLang="ja-JP"/>
              <a:t>UI/UX</a:t>
            </a:r>
            <a:r>
              <a:rPr lang="ja-JP" altLang="en-US"/>
              <a:t>、画面遷移図</a:t>
            </a:r>
            <a:endParaRPr kumimoji="1" lang="ja-JP" altLang="en-US"/>
          </a:p>
        </p:txBody>
      </p:sp>
      <p:sp>
        <p:nvSpPr>
          <p:cNvPr id="7" name="テキスト ボックス 6">
            <a:extLst>
              <a:ext uri="{FF2B5EF4-FFF2-40B4-BE49-F238E27FC236}">
                <a16:creationId xmlns:a16="http://schemas.microsoft.com/office/drawing/2014/main" id="{BFEF2AAF-C7FE-A74C-9228-F5BBA7BB817E}"/>
              </a:ext>
            </a:extLst>
          </p:cNvPr>
          <p:cNvSpPr txBox="1"/>
          <p:nvPr/>
        </p:nvSpPr>
        <p:spPr>
          <a:xfrm>
            <a:off x="2290774" y="2797550"/>
            <a:ext cx="6982188"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エンドユーザー（コンシューマ）とシステム管理者等（交通事業者や自治体）の両面からユーザーインターフェースを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予定を含む基本的な設計方針と構成要素でも構いません。​</a:t>
            </a:r>
          </a:p>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設計には、画面遷移図、主要な</a:t>
            </a:r>
            <a:r>
              <a:rPr kumimoji="0" lang="en-US" altLang="ja-JP" sz="1400" b="0" i="0" u="none" strike="noStrike" kern="0" cap="none" spc="0" normalizeH="0" baseline="0" noProof="0">
                <a:ln>
                  <a:noFill/>
                </a:ln>
                <a:solidFill>
                  <a:srgbClr val="FFFFFF"/>
                </a:solidFill>
                <a:effectLst/>
                <a:uLnTx/>
                <a:uFillTx/>
              </a:rPr>
              <a:t>UI</a:t>
            </a:r>
            <a:r>
              <a:rPr kumimoji="0" lang="ja-JP" altLang="en-US" sz="1400" b="0" i="0" u="none" strike="noStrike" kern="0" cap="none" spc="0" normalizeH="0" baseline="0" noProof="0">
                <a:ln>
                  <a:noFill/>
                </a:ln>
                <a:solidFill>
                  <a:srgbClr val="FFFFFF"/>
                </a:solidFill>
                <a:effectLst/>
                <a:uLnTx/>
                <a:uFillTx/>
              </a:rPr>
              <a:t>コンポーネント、ユーザーフローを含めてください。</a:t>
            </a:r>
            <a:endParaRPr kumimoji="0" lang="en-US" altLang="ja-JP" sz="1400" b="0" i="0" u="none" strike="noStrike" kern="0" cap="none" spc="0" normalizeH="0" baseline="0" noProof="0">
              <a:ln>
                <a:noFill/>
              </a:ln>
              <a:solidFill>
                <a:srgbClr val="FFFFFF"/>
              </a:solidFill>
              <a:effectLst/>
              <a:uLnTx/>
              <a:uFillTx/>
            </a:endParaRPr>
          </a:p>
          <a:p>
            <a:pPr>
              <a:spcBef>
                <a:spcPts val="300"/>
              </a:spcBef>
              <a:defRPr/>
            </a:pPr>
            <a:r>
              <a:rPr kumimoji="1" lang="ja-JP" altLang="en-US" sz="1400" b="0" i="0" u="none" strike="noStrike" kern="1200" cap="none" spc="0" normalizeH="0" baseline="0" noProof="0">
                <a:ln>
                  <a:noFill/>
                </a:ln>
                <a:solidFill>
                  <a:schemeClr val="bg1"/>
                </a:solidFill>
                <a:effectLst/>
                <a:uLnTx/>
                <a:uFillTx/>
                <a:latin typeface="BIZ UDPゴシック"/>
                <a:ea typeface="BIZ UDPゴシック"/>
                <a:cs typeface="+mn-cs"/>
              </a:rPr>
              <a:t>画像はサンプルです。提出時に削除してください。</a:t>
            </a:r>
            <a:r>
              <a:rPr kumimoji="0" lang="ja-JP" altLang="en-US" sz="1400" b="0" i="0" u="none" strike="noStrike" kern="0" cap="none" spc="0" normalizeH="0" baseline="0" noProof="0">
                <a:ln>
                  <a:noFill/>
                </a:ln>
                <a:solidFill>
                  <a:srgbClr val="FFFFFF"/>
                </a:solidFill>
                <a:effectLst/>
                <a:uLnTx/>
                <a:uFillTx/>
              </a:rPr>
              <a:t>​</a:t>
            </a:r>
          </a:p>
        </p:txBody>
      </p:sp>
    </p:spTree>
    <p:extLst>
      <p:ext uri="{BB962C8B-B14F-4D97-AF65-F5344CB8AC3E}">
        <p14:creationId xmlns:p14="http://schemas.microsoft.com/office/powerpoint/2010/main" val="1122856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74E5002-D1F2-D774-C181-0B3C4AA38F5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08" imgH="608" progId="TCLayout.ActiveDocument.1">
                  <p:embed/>
                </p:oleObj>
              </mc:Choice>
              <mc:Fallback>
                <p:oleObj name="think-cell スライド" r:id="rId3" imgW="608" imgH="608" progId="TCLayout.ActiveDocument.1">
                  <p:embed/>
                  <p:pic>
                    <p:nvPicPr>
                      <p:cNvPr id="6" name="think-cell data - do not delete" hidden="1">
                        <a:extLst>
                          <a:ext uri="{FF2B5EF4-FFF2-40B4-BE49-F238E27FC236}">
                            <a16:creationId xmlns:a16="http://schemas.microsoft.com/office/drawing/2014/main" id="{474E5002-D1F2-D774-C181-0B3C4AA38F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0E5D0AD9-2BA7-E85C-4211-2AC064C1CB7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kumimoji="1" lang="ja-JP" altLang="en-US"/>
          </a:p>
        </p:txBody>
      </p:sp>
      <p:sp>
        <p:nvSpPr>
          <p:cNvPr id="3" name="テキスト プレースホルダー 2">
            <a:extLst>
              <a:ext uri="{FF2B5EF4-FFF2-40B4-BE49-F238E27FC236}">
                <a16:creationId xmlns:a16="http://schemas.microsoft.com/office/drawing/2014/main" id="{417A18CA-0059-03EF-FE57-D2DBA870D210}"/>
              </a:ext>
            </a:extLst>
          </p:cNvPr>
          <p:cNvSpPr>
            <a:spLocks noGrp="1"/>
          </p:cNvSpPr>
          <p:nvPr>
            <p:ph type="body" sz="quarter" idx="36"/>
          </p:nvPr>
        </p:nvSpPr>
        <p:spPr>
          <a:xfrm>
            <a:off x="300779" y="215626"/>
            <a:ext cx="11376000" cy="415498"/>
          </a:xfrm>
        </p:spPr>
        <p:txBody>
          <a:bodyPr/>
          <a:lstStyle/>
          <a:p>
            <a:r>
              <a:rPr lang="en-US" altLang="ja-JP"/>
              <a:t>Ⅲ.</a:t>
            </a:r>
            <a:r>
              <a:rPr lang="ja-JP" altLang="en-US"/>
              <a:t>モビリティデータの取得と活用</a:t>
            </a:r>
          </a:p>
        </p:txBody>
      </p:sp>
      <p:sp>
        <p:nvSpPr>
          <p:cNvPr id="4" name="タイトル 3">
            <a:extLst>
              <a:ext uri="{FF2B5EF4-FFF2-40B4-BE49-F238E27FC236}">
                <a16:creationId xmlns:a16="http://schemas.microsoft.com/office/drawing/2014/main" id="{4F1B8C31-A2AA-E8B5-6842-B8CA68666E37}"/>
              </a:ext>
            </a:extLst>
          </p:cNvPr>
          <p:cNvSpPr>
            <a:spLocks noGrp="1"/>
          </p:cNvSpPr>
          <p:nvPr>
            <p:ph type="title"/>
          </p:nvPr>
        </p:nvSpPr>
        <p:spPr/>
        <p:txBody>
          <a:bodyPr vert="horz"/>
          <a:lstStyle/>
          <a:p>
            <a:r>
              <a:rPr kumimoji="1" lang="ja-JP" altLang="en-US"/>
              <a:t>９</a:t>
            </a:r>
            <a:r>
              <a:rPr kumimoji="1" lang="en-US" altLang="ja-JP"/>
              <a:t>.</a:t>
            </a:r>
            <a:r>
              <a:rPr kumimoji="1" lang="ja-JP" altLang="en-US"/>
              <a:t>ユーザインタフェース｜画面ごとの機能一覧</a:t>
            </a:r>
          </a:p>
        </p:txBody>
      </p:sp>
      <p:graphicFrame>
        <p:nvGraphicFramePr>
          <p:cNvPr id="8" name="表 7">
            <a:extLst>
              <a:ext uri="{FF2B5EF4-FFF2-40B4-BE49-F238E27FC236}">
                <a16:creationId xmlns:a16="http://schemas.microsoft.com/office/drawing/2014/main" id="{1E5897B3-2F6F-760C-55F3-ADE995C99D64}"/>
              </a:ext>
            </a:extLst>
          </p:cNvPr>
          <p:cNvGraphicFramePr>
            <a:graphicFrameLocks noGrp="1"/>
          </p:cNvGraphicFramePr>
          <p:nvPr>
            <p:extLst>
              <p:ext uri="{D42A27DB-BD31-4B8C-83A1-F6EECF244321}">
                <p14:modId xmlns:p14="http://schemas.microsoft.com/office/powerpoint/2010/main" val="82627898"/>
              </p:ext>
            </p:extLst>
          </p:nvPr>
        </p:nvGraphicFramePr>
        <p:xfrm>
          <a:off x="300779" y="2071102"/>
          <a:ext cx="11591184" cy="2796749"/>
        </p:xfrm>
        <a:graphic>
          <a:graphicData uri="http://schemas.openxmlformats.org/drawingml/2006/table">
            <a:tbl>
              <a:tblPr firstRow="1" firstCol="1" bandRow="1">
                <a:tableStyleId>{5C22544A-7EE6-4342-B048-85BDC9FD1C3A}</a:tableStyleId>
              </a:tblPr>
              <a:tblGrid>
                <a:gridCol w="1713172">
                  <a:extLst>
                    <a:ext uri="{9D8B030D-6E8A-4147-A177-3AD203B41FA5}">
                      <a16:colId xmlns:a16="http://schemas.microsoft.com/office/drawing/2014/main" val="816785244"/>
                    </a:ext>
                  </a:extLst>
                </a:gridCol>
                <a:gridCol w="2792382">
                  <a:extLst>
                    <a:ext uri="{9D8B030D-6E8A-4147-A177-3AD203B41FA5}">
                      <a16:colId xmlns:a16="http://schemas.microsoft.com/office/drawing/2014/main" val="3259469306"/>
                    </a:ext>
                  </a:extLst>
                </a:gridCol>
                <a:gridCol w="7085630">
                  <a:extLst>
                    <a:ext uri="{9D8B030D-6E8A-4147-A177-3AD203B41FA5}">
                      <a16:colId xmlns:a16="http://schemas.microsoft.com/office/drawing/2014/main" val="1071912486"/>
                    </a:ext>
                  </a:extLst>
                </a:gridCol>
              </a:tblGrid>
              <a:tr h="356134">
                <a:tc>
                  <a:txBody>
                    <a:bodyPr/>
                    <a:lstStyle/>
                    <a:p>
                      <a:pPr algn="just"/>
                      <a:r>
                        <a:rPr lang="en-US" sz="1400" b="0" kern="100">
                          <a:solidFill>
                            <a:schemeClr val="tx1"/>
                          </a:solidFill>
                          <a:effectLst/>
                        </a:rPr>
                        <a:t>ID</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名</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just"/>
                      <a:r>
                        <a:rPr lang="ja-JP" sz="1400" b="0" kern="100">
                          <a:solidFill>
                            <a:schemeClr val="tx1"/>
                          </a:solidFill>
                          <a:effectLst/>
                        </a:rPr>
                        <a:t>画面説明</a:t>
                      </a:r>
                      <a:endParaRPr lang="ja-JP" sz="1400" b="0" kern="100">
                        <a:solidFill>
                          <a:schemeClr val="tx1"/>
                        </a:solidFill>
                        <a:effectLst/>
                        <a:latin typeface="游ゴシック Medium" panose="020B0500000000000000" pitchFamily="50" charset="-128"/>
                        <a:ea typeface="游ゴシック Medium" panose="020B0500000000000000" pitchFamily="50" charset="-128"/>
                        <a:cs typeface="Meiryo UI" panose="020B0604030504040204" pitchFamily="50" charset="-128"/>
                      </a:endParaRPr>
                    </a:p>
                  </a:txBody>
                  <a:tcPr marL="90000" marR="90000" marT="46800" marB="468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877939"/>
                  </a:ext>
                </a:extLst>
              </a:tr>
              <a:tr h="356134">
                <a:tc>
                  <a:txBody>
                    <a:bodyPr/>
                    <a:lstStyle/>
                    <a:p>
                      <a:pPr algn="l"/>
                      <a:r>
                        <a:rPr lang="en-US" sz="1400" b="0" kern="100">
                          <a:solidFill>
                            <a:srgbClr val="0070C0"/>
                          </a:solidFill>
                          <a:effectLst/>
                          <a:latin typeface="+mn-ea"/>
                          <a:ea typeface="+mn-ea"/>
                        </a:rPr>
                        <a:t>SC001</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認証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メールアカウントとパスワードで認証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418220"/>
                  </a:ext>
                </a:extLst>
              </a:tr>
              <a:tr h="687707">
                <a:tc>
                  <a:txBody>
                    <a:bodyPr/>
                    <a:lstStyle/>
                    <a:p>
                      <a:pPr algn="l"/>
                      <a:r>
                        <a:rPr lang="en-US" sz="1400" b="0" kern="100">
                          <a:solidFill>
                            <a:srgbClr val="0070C0"/>
                          </a:solidFill>
                          <a:effectLst/>
                          <a:latin typeface="+mn-ea"/>
                          <a:ea typeface="+mn-ea"/>
                        </a:rPr>
                        <a:t>SC002</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1400" b="0" kern="100">
                          <a:solidFill>
                            <a:srgbClr val="0070C0"/>
                          </a:solidFill>
                          <a:effectLst/>
                          <a:latin typeface="+mn-ea"/>
                          <a:ea typeface="+mn-ea"/>
                        </a:rPr>
                        <a:t>メインビュー</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各種データを用いて、該当エリアの公共交通の状態を評価する指標を提示する。</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8847348"/>
                  </a:ext>
                </a:extLst>
              </a:tr>
              <a:tr h="487716">
                <a:tc>
                  <a:txBody>
                    <a:bodyPr/>
                    <a:lstStyle/>
                    <a:p>
                      <a:pPr algn="l"/>
                      <a:r>
                        <a:rPr lang="en-US" sz="1400" b="0" kern="100">
                          <a:solidFill>
                            <a:srgbClr val="0070C0"/>
                          </a:solidFill>
                          <a:effectLst/>
                          <a:latin typeface="+mn-ea"/>
                          <a:ea typeface="+mn-ea"/>
                        </a:rPr>
                        <a:t>SC003</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自治体職員向け設定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ja-JP" altLang="en-US" sz="1400" b="0" kern="100">
                          <a:solidFill>
                            <a:srgbClr val="0070C0"/>
                          </a:solidFill>
                          <a:effectLst/>
                          <a:latin typeface="+mn-ea"/>
                          <a:ea typeface="+mn-ea"/>
                          <a:cs typeface="Meiryo UI" panose="020B0604030504040204" pitchFamily="50" charset="-128"/>
                        </a:rPr>
                        <a:t>職員がデータ分析における各指標の目標値を設定する画面。</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0099281"/>
                  </a:ext>
                </a:extLst>
              </a:tr>
              <a:tr h="356134">
                <a:tc>
                  <a:txBody>
                    <a:bodyPr/>
                    <a:lstStyle/>
                    <a:p>
                      <a:pPr algn="l"/>
                      <a:r>
                        <a:rPr lang="en-US" sz="1400" b="0" kern="100">
                          <a:solidFill>
                            <a:srgbClr val="0070C0"/>
                          </a:solidFill>
                          <a:effectLst/>
                          <a:latin typeface="+mn-ea"/>
                          <a:ea typeface="+mn-ea"/>
                        </a:rPr>
                        <a:t>SC004</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altLang="en-US" sz="1400" b="0" kern="100">
                          <a:solidFill>
                            <a:srgbClr val="0070C0"/>
                          </a:solidFill>
                          <a:effectLst/>
                          <a:latin typeface="+mn-ea"/>
                          <a:ea typeface="+mn-ea"/>
                          <a:cs typeface="Meiryo UI" panose="020B0604030504040204" pitchFamily="50" charset="-128"/>
                        </a:rPr>
                        <a:t>ユーザー管理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lvl="0" indent="-342900" algn="just">
                        <a:buFont typeface="Wingdings" panose="05000000000000000000" pitchFamily="2" charset="2"/>
                        <a:buChar char=""/>
                      </a:pPr>
                      <a:r>
                        <a:rPr lang="ja-JP" altLang="en-US" sz="1400" b="0" kern="100">
                          <a:solidFill>
                            <a:srgbClr val="0070C0"/>
                          </a:solidFill>
                          <a:effectLst/>
                          <a:latin typeface="+mn-ea"/>
                          <a:ea typeface="+mn-ea"/>
                          <a:cs typeface="Meiryo UI" panose="020B0604030504040204" pitchFamily="50" charset="-128"/>
                        </a:rPr>
                        <a:t>ユーザーに応じた権限付与を実施する画面</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4480707"/>
                  </a:ext>
                </a:extLst>
              </a:tr>
              <a:tr h="356134">
                <a:tc>
                  <a:txBody>
                    <a:bodyPr/>
                    <a:lstStyle/>
                    <a:p>
                      <a:pPr algn="l"/>
                      <a:r>
                        <a:rPr lang="en-US" sz="1400" b="0" kern="100">
                          <a:solidFill>
                            <a:srgbClr val="0070C0"/>
                          </a:solidFill>
                          <a:effectLst/>
                          <a:latin typeface="+mn-ea"/>
                          <a:ea typeface="+mn-ea"/>
                        </a:rPr>
                        <a:t>SC005</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en-US" altLang="ja-JP" sz="1400" b="0" kern="100">
                          <a:solidFill>
                            <a:srgbClr val="0070C0"/>
                          </a:solidFill>
                          <a:effectLst/>
                          <a:latin typeface="+mn-ea"/>
                          <a:ea typeface="+mn-ea"/>
                          <a:cs typeface="Meiryo UI" panose="020B0604030504040204" pitchFamily="50" charset="-128"/>
                        </a:rPr>
                        <a:t>XXXXXXXXX</a:t>
                      </a: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342900" marR="0" lvl="0" indent="-342900" algn="just" defTabSz="7429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altLang="ja-JP" sz="1400" b="0" kern="100">
                          <a:solidFill>
                            <a:srgbClr val="0070C0"/>
                          </a:solidFill>
                          <a:effectLst/>
                          <a:latin typeface="+mn-ea"/>
                          <a:ea typeface="+mn-ea"/>
                          <a:cs typeface="Meiryo UI" panose="020B0604030504040204" pitchFamily="50" charset="-128"/>
                        </a:rPr>
                        <a:t>XXXXXXXXXX</a:t>
                      </a:r>
                      <a:endParaRPr lang="ja-JP" altLang="ja-JP" sz="1400" b="0" kern="100">
                        <a:solidFill>
                          <a:srgbClr val="0070C0"/>
                        </a:solidFill>
                        <a:effectLst/>
                        <a:latin typeface="+mn-ea"/>
                        <a:ea typeface="+mn-ea"/>
                        <a:cs typeface="Meiryo UI" panose="020B0604030504040204" pitchFamily="50" charset="-128"/>
                      </a:endParaRPr>
                    </a:p>
                    <a:p>
                      <a:pPr marL="342900" lvl="0" indent="-342900" algn="just">
                        <a:buFont typeface="Wingdings" panose="05000000000000000000" pitchFamily="2" charset="2"/>
                        <a:buChar char=""/>
                      </a:pPr>
                      <a:endParaRPr lang="ja-JP" sz="1400" b="0" kern="100">
                        <a:solidFill>
                          <a:srgbClr val="0070C0"/>
                        </a:solidFill>
                        <a:effectLst/>
                        <a:latin typeface="+mn-ea"/>
                        <a:ea typeface="+mn-ea"/>
                        <a:cs typeface="Meiryo UI" panose="020B0604030504040204" pitchFamily="50" charset="-128"/>
                      </a:endParaRPr>
                    </a:p>
                  </a:txBody>
                  <a:tcPr marL="90000" marR="90000" marT="46800" marB="4680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28800064"/>
                  </a:ext>
                </a:extLst>
              </a:tr>
            </a:tbl>
          </a:graphicData>
        </a:graphic>
      </p:graphicFrame>
      <p:sp>
        <p:nvSpPr>
          <p:cNvPr id="5" name="テキスト ボックス 4">
            <a:extLst>
              <a:ext uri="{FF2B5EF4-FFF2-40B4-BE49-F238E27FC236}">
                <a16:creationId xmlns:a16="http://schemas.microsoft.com/office/drawing/2014/main" id="{21EA35D0-DCC8-BFE4-AD90-F5D44368584E}"/>
              </a:ext>
            </a:extLst>
          </p:cNvPr>
          <p:cNvSpPr txBox="1"/>
          <p:nvPr/>
        </p:nvSpPr>
        <p:spPr>
          <a:xfrm>
            <a:off x="2920785" y="3675017"/>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で定義した画面設計に従い、各画面が提供する機能について記載してください。</a:t>
            </a:r>
          </a:p>
        </p:txBody>
      </p:sp>
    </p:spTree>
    <p:extLst>
      <p:ext uri="{BB962C8B-B14F-4D97-AF65-F5344CB8AC3E}">
        <p14:creationId xmlns:p14="http://schemas.microsoft.com/office/powerpoint/2010/main" val="13343074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3D425D-4833-5C45-A720-ECEB95C59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513D425D-4833-5C45-A720-ECEB95C59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43C330CB-8A4D-F4A2-AFFC-48CA4FB9C719}"/>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プレースホルダー 2">
            <a:extLst>
              <a:ext uri="{FF2B5EF4-FFF2-40B4-BE49-F238E27FC236}">
                <a16:creationId xmlns:a16="http://schemas.microsoft.com/office/drawing/2014/main" id="{6247E137-868B-539C-2D6E-DC37708CAC30}"/>
              </a:ext>
            </a:extLst>
          </p:cNvPr>
          <p:cNvSpPr>
            <a:spLocks noGrp="1"/>
          </p:cNvSpPr>
          <p:nvPr>
            <p:ph type="body" sz="quarter" idx="36"/>
          </p:nvPr>
        </p:nvSpPr>
        <p:spPr/>
        <p:txBody>
          <a:bodyPr/>
          <a:lstStyle/>
          <a:p>
            <a:r>
              <a:rPr lang="en-US" altLang="ja-JP"/>
              <a:t>Ⅲ.</a:t>
            </a:r>
            <a:r>
              <a:rPr lang="ja-JP" altLang="en-US"/>
              <a:t>モビリティデータの取得と活用</a:t>
            </a:r>
          </a:p>
        </p:txBody>
      </p:sp>
      <p:sp>
        <p:nvSpPr>
          <p:cNvPr id="4" name="タイトル 3">
            <a:extLst>
              <a:ext uri="{FF2B5EF4-FFF2-40B4-BE49-F238E27FC236}">
                <a16:creationId xmlns:a16="http://schemas.microsoft.com/office/drawing/2014/main" id="{2C3BBDD6-C18E-A8D5-D35C-ABB97297C5DD}"/>
              </a:ext>
            </a:extLst>
          </p:cNvPr>
          <p:cNvSpPr>
            <a:spLocks noGrp="1"/>
          </p:cNvSpPr>
          <p:nvPr>
            <p:ph type="title"/>
          </p:nvPr>
        </p:nvSpPr>
        <p:spPr/>
        <p:txBody>
          <a:bodyPr vert="horz"/>
          <a:lstStyle/>
          <a:p>
            <a:r>
              <a:rPr lang="ja-JP" altLang="en-US"/>
              <a:t>１０</a:t>
            </a:r>
            <a:r>
              <a:rPr kumimoji="1" lang="en-US" altLang="ja-JP"/>
              <a:t>.</a:t>
            </a:r>
            <a:r>
              <a:rPr lang="ja-JP" altLang="en-US"/>
              <a:t>事業の推進体制</a:t>
            </a:r>
            <a:endParaRPr kumimoji="1" lang="ja-JP" altLang="en-US"/>
          </a:p>
        </p:txBody>
      </p:sp>
      <p:graphicFrame>
        <p:nvGraphicFramePr>
          <p:cNvPr id="6" name="表 7">
            <a:extLst>
              <a:ext uri="{FF2B5EF4-FFF2-40B4-BE49-F238E27FC236}">
                <a16:creationId xmlns:a16="http://schemas.microsoft.com/office/drawing/2014/main" id="{310C28F0-2996-A4FE-AD73-2193C8A58EAD}"/>
              </a:ext>
            </a:extLst>
          </p:cNvPr>
          <p:cNvGraphicFramePr>
            <a:graphicFrameLocks noGrp="1"/>
          </p:cNvGraphicFramePr>
          <p:nvPr>
            <p:extLst>
              <p:ext uri="{D42A27DB-BD31-4B8C-83A1-F6EECF244321}">
                <p14:modId xmlns:p14="http://schemas.microsoft.com/office/powerpoint/2010/main" val="2672396078"/>
              </p:ext>
            </p:extLst>
          </p:nvPr>
        </p:nvGraphicFramePr>
        <p:xfrm>
          <a:off x="300779" y="1847524"/>
          <a:ext cx="11604626" cy="3528225"/>
        </p:xfrm>
        <a:graphic>
          <a:graphicData uri="http://schemas.openxmlformats.org/drawingml/2006/table">
            <a:tbl>
              <a:tblPr>
                <a:tableStyleId>{5C22544A-7EE6-4342-B048-85BDC9FD1C3A}</a:tableStyleId>
              </a:tblPr>
              <a:tblGrid>
                <a:gridCol w="5807500">
                  <a:extLst>
                    <a:ext uri="{9D8B030D-6E8A-4147-A177-3AD203B41FA5}">
                      <a16:colId xmlns:a16="http://schemas.microsoft.com/office/drawing/2014/main" val="564283603"/>
                    </a:ext>
                  </a:extLst>
                </a:gridCol>
                <a:gridCol w="5797126">
                  <a:extLst>
                    <a:ext uri="{9D8B030D-6E8A-4147-A177-3AD203B41FA5}">
                      <a16:colId xmlns:a16="http://schemas.microsoft.com/office/drawing/2014/main" val="1942113200"/>
                    </a:ext>
                  </a:extLst>
                </a:gridCol>
              </a:tblGrid>
              <a:tr h="404025">
                <a:tc>
                  <a:txBody>
                    <a:bodyPr/>
                    <a:lstStyle/>
                    <a:p>
                      <a:r>
                        <a:rPr kumimoji="1" lang="ja-JP" altLang="en-US" sz="1400" b="1">
                          <a:latin typeface="+mn-ea"/>
                          <a:ea typeface="+mn-ea"/>
                        </a:rPr>
                        <a:t>関係者（名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400" b="1">
                          <a:latin typeface="+mn-ea"/>
                          <a:ea typeface="+mn-ea"/>
                        </a:rPr>
                        <a:t>役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434340">
                <a:tc>
                  <a:txBody>
                    <a:bodyPr/>
                    <a:lstStyle/>
                    <a:p>
                      <a:r>
                        <a:rPr kumimoji="1" lang="en-US" altLang="ja-JP" sz="1400">
                          <a:solidFill>
                            <a:srgbClr val="0070C0"/>
                          </a:solidFill>
                          <a:latin typeface="+mn-ea"/>
                          <a:ea typeface="+mn-ea"/>
                        </a:rPr>
                        <a:t>AA</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全体統括、企画運営</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BB</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ダッシュボードシステムの開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CC</a:t>
                      </a:r>
                      <a:r>
                        <a:rPr kumimoji="1" lang="ja-JP" altLang="en-US" sz="1400">
                          <a:solidFill>
                            <a:srgbClr val="0070C0"/>
                          </a:solidFill>
                          <a:latin typeface="+mn-ea"/>
                          <a:ea typeface="+mn-ea"/>
                        </a:rPr>
                        <a:t>株式会社（○○）</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路線バスの一件明細データの提供</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434340">
                <a:tc>
                  <a:txBody>
                    <a:bodyPr/>
                    <a:lstStyle/>
                    <a:p>
                      <a:r>
                        <a:rPr kumimoji="1" lang="en-US" altLang="ja-JP" sz="1400">
                          <a:solidFill>
                            <a:srgbClr val="0070C0"/>
                          </a:solidFill>
                          <a:latin typeface="+mn-ea"/>
                          <a:ea typeface="+mn-ea"/>
                        </a:rPr>
                        <a:t>DD</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オンデマンドバスの運行日報の提供</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434340">
                <a:tc>
                  <a:txBody>
                    <a:bodyPr/>
                    <a:lstStyle/>
                    <a:p>
                      <a:r>
                        <a:rPr kumimoji="1" lang="en-US" altLang="ja-JP" sz="1400">
                          <a:solidFill>
                            <a:srgbClr val="0070C0"/>
                          </a:solidFill>
                          <a:latin typeface="+mn-ea"/>
                          <a:ea typeface="+mn-ea"/>
                        </a:rPr>
                        <a:t>EE</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IC</a:t>
                      </a:r>
                      <a:r>
                        <a:rPr kumimoji="1" lang="ja-JP" altLang="en-US" sz="1400">
                          <a:solidFill>
                            <a:srgbClr val="0070C0"/>
                          </a:solidFill>
                          <a:latin typeface="+mn-ea"/>
                          <a:ea typeface="+mn-ea"/>
                        </a:rPr>
                        <a:t>カード利用実績データの提供</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914819"/>
                  </a:ext>
                </a:extLst>
              </a:tr>
              <a:tr h="434340">
                <a:tc>
                  <a:txBody>
                    <a:bodyPr/>
                    <a:lstStyle/>
                    <a:p>
                      <a:r>
                        <a:rPr kumimoji="1" lang="en-US" altLang="ja-JP" sz="1400">
                          <a:solidFill>
                            <a:srgbClr val="0070C0"/>
                          </a:solidFill>
                          <a:latin typeface="+mn-ea"/>
                          <a:ea typeface="+mn-ea"/>
                        </a:rPr>
                        <a:t>FF</a:t>
                      </a:r>
                      <a:r>
                        <a:rPr kumimoji="1" lang="ja-JP" altLang="en-US" sz="1400">
                          <a:solidFill>
                            <a:srgbClr val="0070C0"/>
                          </a:solidFill>
                          <a:latin typeface="+mn-ea"/>
                          <a:ea typeface="+mn-ea"/>
                        </a:rPr>
                        <a:t>市（○○）</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en-US" altLang="ja-JP" sz="1400">
                          <a:solidFill>
                            <a:srgbClr val="0070C0"/>
                          </a:solidFill>
                          <a:latin typeface="+mn-ea"/>
                          <a:ea typeface="+mn-ea"/>
                        </a:rPr>
                        <a:t>OD</a:t>
                      </a:r>
                      <a:r>
                        <a:rPr kumimoji="1" lang="ja-JP" altLang="en-US" sz="1400">
                          <a:solidFill>
                            <a:srgbClr val="0070C0"/>
                          </a:solidFill>
                          <a:latin typeface="+mn-ea"/>
                          <a:ea typeface="+mn-ea"/>
                        </a:rPr>
                        <a:t>データを可視化した資料を作成。地域公共交通会議での提供</a:t>
                      </a:r>
                      <a:endParaRPr kumimoji="1" lang="en-US" altLang="ja-JP" sz="1400">
                        <a:solidFill>
                          <a:srgbClr val="0070C0"/>
                        </a:solidFill>
                        <a:latin typeface="+mn-ea"/>
                        <a:ea typeface="+mn-ea"/>
                      </a:endParaRPr>
                    </a:p>
                    <a:p>
                      <a:r>
                        <a:rPr kumimoji="1" lang="ja-JP" altLang="en-US" sz="1400">
                          <a:solidFill>
                            <a:srgbClr val="0070C0"/>
                          </a:solidFill>
                          <a:latin typeface="+mn-ea"/>
                          <a:ea typeface="+mn-ea"/>
                        </a:rPr>
                        <a:t>（月に</a:t>
                      </a:r>
                      <a:r>
                        <a:rPr kumimoji="1" lang="en-US" altLang="ja-JP" sz="1400">
                          <a:solidFill>
                            <a:srgbClr val="0070C0"/>
                          </a:solidFill>
                          <a:latin typeface="+mn-ea"/>
                          <a:ea typeface="+mn-ea"/>
                        </a:rPr>
                        <a:t>1</a:t>
                      </a:r>
                      <a:r>
                        <a:rPr kumimoji="1" lang="ja-JP" altLang="en-US" sz="1400">
                          <a:solidFill>
                            <a:srgbClr val="0070C0"/>
                          </a:solidFill>
                          <a:latin typeface="+mn-ea"/>
                          <a:ea typeface="+mn-ea"/>
                        </a:rPr>
                        <a:t>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69944166"/>
                  </a:ext>
                </a:extLst>
              </a:tr>
              <a:tr h="434340">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18161926"/>
                  </a:ext>
                </a:extLst>
              </a:tr>
            </a:tbl>
          </a:graphicData>
        </a:graphic>
      </p:graphicFrame>
      <p:sp>
        <p:nvSpPr>
          <p:cNvPr id="7" name="テキスト ボックス 6">
            <a:extLst>
              <a:ext uri="{FF2B5EF4-FFF2-40B4-BE49-F238E27FC236}">
                <a16:creationId xmlns:a16="http://schemas.microsoft.com/office/drawing/2014/main" id="{79070467-F16A-2561-6732-C9883A64F9FC}"/>
              </a:ext>
            </a:extLst>
          </p:cNvPr>
          <p:cNvSpPr txBox="1"/>
          <p:nvPr/>
        </p:nvSpPr>
        <p:spPr>
          <a:xfrm>
            <a:off x="3028006" y="4022518"/>
            <a:ext cx="6135987" cy="107405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モビリティデータの取得と活用領域に関与する関係者を網羅的に特定し、役割を明確にしてください。​</a:t>
            </a:r>
          </a:p>
        </p:txBody>
      </p:sp>
    </p:spTree>
    <p:extLst>
      <p:ext uri="{BB962C8B-B14F-4D97-AF65-F5344CB8AC3E}">
        <p14:creationId xmlns:p14="http://schemas.microsoft.com/office/powerpoint/2010/main" val="4044403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AA7A839-18DF-4E64-8C75-214FAE9014E7}"/>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解決すべき社会課題</a:t>
            </a:r>
          </a:p>
        </p:txBody>
      </p:sp>
      <p:grpSp>
        <p:nvGrpSpPr>
          <p:cNvPr id="3" name="グループ化 2">
            <a:extLst>
              <a:ext uri="{FF2B5EF4-FFF2-40B4-BE49-F238E27FC236}">
                <a16:creationId xmlns:a16="http://schemas.microsoft.com/office/drawing/2014/main" id="{E30EFB46-2249-4389-3DF3-FEAEF8770046}"/>
              </a:ext>
            </a:extLst>
          </p:cNvPr>
          <p:cNvGrpSpPr/>
          <p:nvPr/>
        </p:nvGrpSpPr>
        <p:grpSpPr>
          <a:xfrm>
            <a:off x="292100" y="1715925"/>
            <a:ext cx="11595100" cy="335510"/>
            <a:chOff x="302400" y="1990800"/>
            <a:chExt cx="11587200" cy="309600"/>
          </a:xfrm>
        </p:grpSpPr>
        <p:grpSp>
          <p:nvGrpSpPr>
            <p:cNvPr id="4" name="PanelGroup1">
              <a:extLst>
                <a:ext uri="{FF2B5EF4-FFF2-40B4-BE49-F238E27FC236}">
                  <a16:creationId xmlns:a16="http://schemas.microsoft.com/office/drawing/2014/main" id="{B6388F1D-16DF-539B-B4B9-E9558C59B409}"/>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ED568297-6BE7-885A-589B-885678064B91}"/>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p>
            </p:txBody>
          </p:sp>
          <p:cxnSp>
            <p:nvCxnSpPr>
              <p:cNvPr id="13" name="直線矢印コネクタ 12">
                <a:extLst>
                  <a:ext uri="{FF2B5EF4-FFF2-40B4-BE49-F238E27FC236}">
                    <a16:creationId xmlns:a16="http://schemas.microsoft.com/office/drawing/2014/main" id="{7730E106-5A99-0E88-94C7-CE870A82BC70}"/>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6" name="PanelGroup2">
              <a:extLst>
                <a:ext uri="{FF2B5EF4-FFF2-40B4-BE49-F238E27FC236}">
                  <a16:creationId xmlns:a16="http://schemas.microsoft.com/office/drawing/2014/main" id="{80216175-DE75-DF2F-D622-563F97C284CD}"/>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57C4ADC8-1E9A-3990-E8C9-6E4184E05599}"/>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社会課題のイメージ</a:t>
                </a:r>
              </a:p>
            </p:txBody>
          </p:sp>
          <p:cxnSp>
            <p:nvCxnSpPr>
              <p:cNvPr id="11" name="直線矢印コネクタ 10">
                <a:extLst>
                  <a:ext uri="{FF2B5EF4-FFF2-40B4-BE49-F238E27FC236}">
                    <a16:creationId xmlns:a16="http://schemas.microsoft.com/office/drawing/2014/main" id="{2F583047-B675-76FE-6BB4-1B0EE0DEA009}"/>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4" name="正方形/長方形 13">
            <a:extLst>
              <a:ext uri="{FF2B5EF4-FFF2-40B4-BE49-F238E27FC236}">
                <a16:creationId xmlns:a16="http://schemas.microsoft.com/office/drawing/2014/main" id="{C5AE03D3-7F7A-F51B-E6D0-B212D7BC9438}"/>
              </a:ext>
            </a:extLst>
          </p:cNvPr>
          <p:cNvSpPr/>
          <p:nvPr/>
        </p:nvSpPr>
        <p:spPr>
          <a:xfrm>
            <a:off x="300778" y="2107364"/>
            <a:ext cx="5761199" cy="4348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en-US" altLang="ja-JP" sz="14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
        <p:nvSpPr>
          <p:cNvPr id="16" name="テキスト プレースホルダー 15">
            <a:extLst>
              <a:ext uri="{FF2B5EF4-FFF2-40B4-BE49-F238E27FC236}">
                <a16:creationId xmlns:a16="http://schemas.microsoft.com/office/drawing/2014/main" id="{3FFBA183-DD50-1FD4-2F5B-EB3CBBBEFB83}"/>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15" name="テキスト ボックス 14">
            <a:extLst>
              <a:ext uri="{FF2B5EF4-FFF2-40B4-BE49-F238E27FC236}">
                <a16:creationId xmlns:a16="http://schemas.microsoft.com/office/drawing/2014/main" id="{668576EA-FDEE-7E01-3BFC-7913B7EA7A76}"/>
              </a:ext>
            </a:extLst>
          </p:cNvPr>
          <p:cNvSpPr txBox="1"/>
          <p:nvPr/>
        </p:nvSpPr>
        <p:spPr>
          <a:xfrm>
            <a:off x="300778" y="2203662"/>
            <a:ext cx="5626123" cy="2504243"/>
          </a:xfrm>
          <a:prstGeom prst="rect">
            <a:avLst/>
          </a:prstGeom>
          <a:noFill/>
        </p:spPr>
        <p:txBody>
          <a:bodyPr wrap="square" anchor="t">
            <a:noAutofit/>
          </a:bodyPr>
          <a:lstStyle/>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デマンド交通の運行区域外への外出時の乗換検索が分かりにくい。利用頻度の高い病院を中心とした乗換案内は作成しているが、その他の個別ニーズに対応しきれていない。</a:t>
            </a:r>
            <a:endParaRPr lang="en-US" altLang="ja-JP" sz="1200">
              <a:solidFill>
                <a:srgbClr val="0070C0"/>
              </a:solidFill>
              <a:latin typeface="BIZ UDPゴシック"/>
              <a:ea typeface="BIZ UDPゴシック"/>
            </a:endParaRP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交通は交通系</a:t>
            </a:r>
            <a:r>
              <a:rPr lang="en-US" altLang="ja-JP" sz="1200">
                <a:solidFill>
                  <a:srgbClr val="0070C0"/>
                </a:solidFill>
                <a:latin typeface="BIZ UDPゴシック"/>
                <a:ea typeface="BIZ UDPゴシック"/>
              </a:rPr>
              <a:t>IC</a:t>
            </a:r>
            <a:r>
              <a:rPr lang="ja-JP" altLang="en-US" sz="1200">
                <a:solidFill>
                  <a:srgbClr val="0070C0"/>
                </a:solidFill>
                <a:latin typeface="BIZ UDPゴシック"/>
                <a:ea typeface="BIZ UDPゴシック"/>
              </a:rPr>
              <a:t>カード、△△バスは回数券による高齢者割引など、バス事業者ごとに異なる割引方法であり、各申請や購入に営業所へ出向く必要があるほか、事業者を超えた路線の乗り継ぎの場合は、それぞれに申請をする必要があるなど、利用者の利便性低下を招いている。</a:t>
            </a:r>
            <a:endParaRPr lang="en-US" altLang="ja-JP" sz="1200">
              <a:solidFill>
                <a:srgbClr val="0070C0"/>
              </a:solidFill>
              <a:latin typeface="BIZ UDPゴシック"/>
              <a:ea typeface="BIZ UDPゴシック"/>
            </a:endParaRP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高齢者のタクシー利用には助成をしているが、毎年度申請が必要、とくに年度当初は申請が集中し、交通事業者及び市の事務負担が増大し、交付までに時間を要している。</a:t>
            </a:r>
            <a:endParaRPr lang="en-US" altLang="ja-JP" sz="1200">
              <a:solidFill>
                <a:srgbClr val="0070C0"/>
              </a:solidFill>
              <a:latin typeface="BIZ UDPゴシック"/>
              <a:ea typeface="BIZ UDPゴシック"/>
            </a:endParaRPr>
          </a:p>
          <a:p>
            <a:pPr marL="171450" marR="0" lvl="0" indent="-171450" algn="l" defTabSz="914400" rtl="0" eaLnBrk="1" fontAlgn="auto" latinLnBrk="0" hangingPunct="1">
              <a:lnSpc>
                <a:spcPct val="100000"/>
              </a:lnSpc>
              <a:spcBef>
                <a:spcPts val="300"/>
              </a:spcBef>
              <a:spcAft>
                <a:spcPts val="0"/>
              </a:spcAft>
              <a:buClrTx/>
              <a:buSzTx/>
              <a:buFont typeface="Wingdings" panose="05000000000000000000" pitchFamily="2" charset="2"/>
              <a:buChar char="l"/>
              <a:tabLst/>
              <a:defRPr/>
            </a:pPr>
            <a:r>
              <a:rPr lang="ja-JP" altLang="en-US" sz="1200">
                <a:solidFill>
                  <a:srgbClr val="0070C0"/>
                </a:solidFill>
                <a:latin typeface="BIZ UDPゴシック"/>
                <a:ea typeface="BIZ UDPゴシック"/>
              </a:rPr>
              <a:t>交通網再編に向けた、市民の移動実態等のデータが不足している。</a:t>
            </a:r>
            <a:endParaRPr lang="en-US" altLang="ja-JP" sz="1200">
              <a:solidFill>
                <a:srgbClr val="0070C0"/>
              </a:solidFill>
              <a:latin typeface="BIZ UDPゴシック"/>
              <a:ea typeface="BIZ UDPゴシック"/>
            </a:endParaRPr>
          </a:p>
        </p:txBody>
      </p:sp>
      <p:sp>
        <p:nvSpPr>
          <p:cNvPr id="17" name="四角形 976">
            <a:extLst>
              <a:ext uri="{FF2B5EF4-FFF2-40B4-BE49-F238E27FC236}">
                <a16:creationId xmlns:a16="http://schemas.microsoft.com/office/drawing/2014/main" id="{9CB049EA-D28B-6871-C398-C1BDC5A9CD85}"/>
              </a:ext>
            </a:extLst>
          </p:cNvPr>
          <p:cNvSpPr/>
          <p:nvPr/>
        </p:nvSpPr>
        <p:spPr>
          <a:xfrm>
            <a:off x="6217002" y="2268902"/>
            <a:ext cx="2828580" cy="358431"/>
          </a:xfrm>
          <a:prstGeom prst="rect">
            <a:avLst/>
          </a:prstGeom>
          <a:solidFill>
            <a:schemeClr val="tx1">
              <a:lumMod val="75000"/>
              <a:lumOff val="25000"/>
            </a:schemeClr>
          </a:solidFill>
        </p:spPr>
        <p:style>
          <a:lnRef idx="1">
            <a:schemeClr val="accent3"/>
          </a:lnRef>
          <a:fillRef idx="2">
            <a:schemeClr val="accent3"/>
          </a:fillRef>
          <a:effectRef idx="1">
            <a:schemeClr val="accent3"/>
          </a:effectRef>
          <a:fontRef idx="minor">
            <a:schemeClr val="dk1"/>
          </a:fontRef>
        </p:style>
        <p:txBody>
          <a:bodyPr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lang="ja-JP" altLang="en-US"/>
            </a:pPr>
            <a:r>
              <a:rPr lang="ja-JP" altLang="en-US" sz="1050">
                <a:solidFill>
                  <a:schemeClr val="bg1"/>
                </a:solidFill>
                <a:latin typeface="Meiryo UI"/>
                <a:ea typeface="Meiryo UI"/>
              </a:rPr>
              <a:t>目的地までのデマンド交通を含む</a:t>
            </a:r>
          </a:p>
          <a:p>
            <a:pPr algn="ctr">
              <a:defRPr lang="ja-JP" altLang="en-US"/>
            </a:pPr>
            <a:r>
              <a:rPr lang="ja-JP" altLang="en-US" sz="1050">
                <a:solidFill>
                  <a:schemeClr val="bg1"/>
                </a:solidFill>
                <a:latin typeface="Meiryo UI"/>
                <a:ea typeface="Meiryo UI"/>
              </a:rPr>
              <a:t>経路検索の利便性</a:t>
            </a:r>
          </a:p>
        </p:txBody>
      </p:sp>
      <p:sp>
        <p:nvSpPr>
          <p:cNvPr id="18" name="四角形 976">
            <a:extLst>
              <a:ext uri="{FF2B5EF4-FFF2-40B4-BE49-F238E27FC236}">
                <a16:creationId xmlns:a16="http://schemas.microsoft.com/office/drawing/2014/main" id="{D91B2939-5A22-4165-783E-0B3E2F11331C}"/>
              </a:ext>
            </a:extLst>
          </p:cNvPr>
          <p:cNvSpPr/>
          <p:nvPr/>
        </p:nvSpPr>
        <p:spPr>
          <a:xfrm>
            <a:off x="9082303" y="2268902"/>
            <a:ext cx="2864204" cy="358431"/>
          </a:xfrm>
          <a:prstGeom prst="rect">
            <a:avLst/>
          </a:prstGeom>
          <a:solidFill>
            <a:schemeClr val="tx1">
              <a:lumMod val="75000"/>
              <a:lumOff val="25000"/>
            </a:schemeClr>
          </a:solidFill>
        </p:spPr>
        <p:style>
          <a:lnRef idx="1">
            <a:schemeClr val="accent3"/>
          </a:lnRef>
          <a:fillRef idx="2">
            <a:schemeClr val="accent3"/>
          </a:fillRef>
          <a:effectRef idx="1">
            <a:schemeClr val="accent3"/>
          </a:effectRef>
          <a:fontRef idx="minor">
            <a:schemeClr val="dk1"/>
          </a:fontRef>
        </p:style>
        <p:txBody>
          <a:bodyPr anchor="ct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algn="ctr">
              <a:defRPr lang="ja-JP" altLang="en-US"/>
            </a:pPr>
            <a:r>
              <a:rPr lang="ja-JP" altLang="en-US" sz="1050">
                <a:solidFill>
                  <a:schemeClr val="bg1"/>
                </a:solidFill>
                <a:latin typeface="Meiryo UI"/>
                <a:ea typeface="Meiryo UI"/>
              </a:rPr>
              <a:t>目的地までのデマンド交通を含む</a:t>
            </a:r>
          </a:p>
          <a:p>
            <a:pPr algn="ctr">
              <a:defRPr lang="ja-JP" altLang="en-US"/>
            </a:pPr>
            <a:r>
              <a:rPr lang="ja-JP" altLang="en-US" sz="1050">
                <a:solidFill>
                  <a:schemeClr val="bg1"/>
                </a:solidFill>
                <a:latin typeface="Meiryo UI"/>
                <a:ea typeface="Meiryo UI"/>
              </a:rPr>
              <a:t>経路検索の利便性</a:t>
            </a:r>
          </a:p>
        </p:txBody>
      </p:sp>
      <p:sp>
        <p:nvSpPr>
          <p:cNvPr id="19" name="図形 399">
            <a:extLst>
              <a:ext uri="{FF2B5EF4-FFF2-40B4-BE49-F238E27FC236}">
                <a16:creationId xmlns:a16="http://schemas.microsoft.com/office/drawing/2014/main" id="{02558BF2-3EDA-7025-0ECE-C89ECFB64967}"/>
              </a:ext>
            </a:extLst>
          </p:cNvPr>
          <p:cNvSpPr/>
          <p:nvPr/>
        </p:nvSpPr>
        <p:spPr>
          <a:xfrm>
            <a:off x="6789542" y="2719828"/>
            <a:ext cx="2218330" cy="813117"/>
          </a:xfrm>
          <a:prstGeom prst="wedgeRoundRectCallout">
            <a:avLst>
              <a:gd name="adj1" fmla="val -57354"/>
              <a:gd name="adj2" fmla="val -26368"/>
              <a:gd name="adj3" fmla="val 16667"/>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171450" indent="-171450">
              <a:buFont typeface="Arial"/>
              <a:buChar char="•"/>
              <a:defRPr lang="ja-JP" altLang="en-US"/>
            </a:pPr>
            <a:r>
              <a:rPr lang="ja-JP" altLang="en-US" sz="800">
                <a:solidFill>
                  <a:schemeClr val="tx1"/>
                </a:solidFill>
                <a:latin typeface="Meiryo UI"/>
                <a:ea typeface="Meiryo UI"/>
              </a:rPr>
              <a:t>目的地は運行区域外だから、直接行けない</a:t>
            </a:r>
            <a:endParaRPr sz="2400"/>
          </a:p>
          <a:p>
            <a:pPr marL="171450" indent="-171450">
              <a:buFont typeface="Arial"/>
              <a:buChar char="•"/>
              <a:defRPr lang="ja-JP" altLang="en-US"/>
            </a:pPr>
            <a:r>
              <a:rPr lang="ja-JP" altLang="en-US" sz="800">
                <a:solidFill>
                  <a:schemeClr val="tx1"/>
                </a:solidFill>
                <a:latin typeface="Meiryo UI"/>
                <a:ea typeface="Meiryo UI"/>
              </a:rPr>
              <a:t>どうやって行けば良いのか分からない</a:t>
            </a:r>
            <a:endParaRPr sz="2400"/>
          </a:p>
          <a:p>
            <a:pPr marL="171450" indent="-171450">
              <a:buFont typeface="Arial"/>
              <a:buChar char="•"/>
              <a:defRPr lang="ja-JP" altLang="en-US"/>
            </a:pPr>
            <a:r>
              <a:rPr lang="ja-JP" altLang="en-US" sz="800">
                <a:solidFill>
                  <a:schemeClr val="tx1"/>
                </a:solidFill>
                <a:latin typeface="Meiryo UI"/>
                <a:ea typeface="Meiryo UI"/>
              </a:rPr>
              <a:t>乗り継ぎ方法や時間が分からない</a:t>
            </a:r>
            <a:endParaRPr sz="2400"/>
          </a:p>
          <a:p>
            <a:pPr marL="171450" indent="-171450">
              <a:buFont typeface="Arial"/>
              <a:buChar char="•"/>
              <a:defRPr lang="ja-JP" altLang="en-US"/>
            </a:pPr>
            <a:r>
              <a:rPr lang="ja-JP" altLang="en-US" sz="800">
                <a:solidFill>
                  <a:schemeClr val="tx1"/>
                </a:solidFill>
                <a:latin typeface="Meiryo UI"/>
                <a:ea typeface="Meiryo UI"/>
              </a:rPr>
              <a:t>乗換案内を作成しても、それぞれニーズが違うため、補いきれない</a:t>
            </a:r>
            <a:endParaRPr sz="2400"/>
          </a:p>
        </p:txBody>
      </p:sp>
      <p:pic>
        <p:nvPicPr>
          <p:cNvPr id="20" name="図 19">
            <a:extLst>
              <a:ext uri="{FF2B5EF4-FFF2-40B4-BE49-F238E27FC236}">
                <a16:creationId xmlns:a16="http://schemas.microsoft.com/office/drawing/2014/main" id="{F08B9873-A595-97A3-E2F1-005F23AA848A}"/>
              </a:ext>
            </a:extLst>
          </p:cNvPr>
          <p:cNvPicPr>
            <a:picLocks noChangeAspect="1"/>
          </p:cNvPicPr>
          <p:nvPr/>
        </p:nvPicPr>
        <p:blipFill>
          <a:blip r:embed="rId5"/>
          <a:stretch>
            <a:fillRect/>
          </a:stretch>
        </p:blipFill>
        <p:spPr>
          <a:xfrm>
            <a:off x="6217002" y="2702894"/>
            <a:ext cx="530907" cy="628465"/>
          </a:xfrm>
          <a:prstGeom prst="rect">
            <a:avLst/>
          </a:prstGeom>
        </p:spPr>
      </p:pic>
      <p:sp>
        <p:nvSpPr>
          <p:cNvPr id="21" name="図形 418">
            <a:extLst>
              <a:ext uri="{FF2B5EF4-FFF2-40B4-BE49-F238E27FC236}">
                <a16:creationId xmlns:a16="http://schemas.microsoft.com/office/drawing/2014/main" id="{FBFBD771-18DC-7EA0-6AD9-BB8AC11C534C}"/>
              </a:ext>
            </a:extLst>
          </p:cNvPr>
          <p:cNvSpPr/>
          <p:nvPr/>
        </p:nvSpPr>
        <p:spPr>
          <a:xfrm>
            <a:off x="9339925" y="2725682"/>
            <a:ext cx="2242475" cy="919318"/>
          </a:xfrm>
          <a:prstGeom prst="wedgeRoundRectCallout">
            <a:avLst>
              <a:gd name="adj1" fmla="val 54518"/>
              <a:gd name="adj2" fmla="val -41508"/>
              <a:gd name="adj3" fmla="val 16667"/>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171450" indent="-171450">
              <a:buFont typeface="Arial" panose="020B0604020202020204" pitchFamily="34" charset="0"/>
              <a:buChar char="•"/>
              <a:defRPr lang="ja-JP" altLang="en-US"/>
            </a:pPr>
            <a:r>
              <a:rPr lang="ja-JP" altLang="en-US" sz="800">
                <a:solidFill>
                  <a:schemeClr val="tx1"/>
                </a:solidFill>
                <a:latin typeface="Meiryo UI"/>
                <a:ea typeface="Meiryo UI"/>
              </a:rPr>
              <a:t>色々な制度があって、条件も違うし、良く分からない</a:t>
            </a:r>
            <a:endParaRPr sz="2400"/>
          </a:p>
          <a:p>
            <a:pPr marL="171450" indent="-171450">
              <a:buFont typeface="Arial" panose="020B0604020202020204" pitchFamily="34" charset="0"/>
              <a:buChar char="•"/>
              <a:defRPr lang="ja-JP" altLang="en-US"/>
            </a:pPr>
            <a:r>
              <a:rPr lang="ja-JP" altLang="en-US" sz="800">
                <a:solidFill>
                  <a:schemeClr val="tx1"/>
                </a:solidFill>
                <a:latin typeface="Meiryo UI"/>
                <a:ea typeface="Meiryo UI"/>
              </a:rPr>
              <a:t>毎年申請するのは面倒</a:t>
            </a:r>
            <a:endParaRPr sz="2400"/>
          </a:p>
          <a:p>
            <a:pPr marL="171450" indent="-171450">
              <a:buFont typeface="Arial" panose="020B0604020202020204" pitchFamily="34" charset="0"/>
              <a:buChar char="•"/>
              <a:defRPr lang="ja-JP" altLang="en-US"/>
            </a:pPr>
            <a:r>
              <a:rPr lang="ja-JP" altLang="en-US" sz="800">
                <a:solidFill>
                  <a:schemeClr val="tx1"/>
                </a:solidFill>
                <a:latin typeface="Meiryo UI"/>
                <a:ea typeface="Meiryo UI"/>
              </a:rPr>
              <a:t>運転免許証を返納した人を対象とした公共交通の利用助成を行っているが、返納後の生活不安を理由として返納できない人がいる</a:t>
            </a:r>
          </a:p>
        </p:txBody>
      </p:sp>
      <p:pic>
        <p:nvPicPr>
          <p:cNvPr id="22" name="図 21">
            <a:extLst>
              <a:ext uri="{FF2B5EF4-FFF2-40B4-BE49-F238E27FC236}">
                <a16:creationId xmlns:a16="http://schemas.microsoft.com/office/drawing/2014/main" id="{FDF8B75C-A5FE-721C-F10A-C2FF03DB1DD7}"/>
              </a:ext>
            </a:extLst>
          </p:cNvPr>
          <p:cNvPicPr>
            <a:picLocks noChangeAspect="1"/>
          </p:cNvPicPr>
          <p:nvPr/>
        </p:nvPicPr>
        <p:blipFill>
          <a:blip r:embed="rId6"/>
          <a:stretch>
            <a:fillRect/>
          </a:stretch>
        </p:blipFill>
        <p:spPr>
          <a:xfrm>
            <a:off x="9136206" y="3220595"/>
            <a:ext cx="385677" cy="392627"/>
          </a:xfrm>
          <a:prstGeom prst="rect">
            <a:avLst/>
          </a:prstGeom>
        </p:spPr>
      </p:pic>
      <p:pic>
        <p:nvPicPr>
          <p:cNvPr id="23" name="図 22">
            <a:extLst>
              <a:ext uri="{FF2B5EF4-FFF2-40B4-BE49-F238E27FC236}">
                <a16:creationId xmlns:a16="http://schemas.microsoft.com/office/drawing/2014/main" id="{19B86BB0-C810-ACDA-84A7-1423ACE08B6D}"/>
              </a:ext>
            </a:extLst>
          </p:cNvPr>
          <p:cNvPicPr>
            <a:picLocks noChangeAspect="1"/>
          </p:cNvPicPr>
          <p:nvPr/>
        </p:nvPicPr>
        <p:blipFill>
          <a:blip r:embed="rId7"/>
          <a:stretch>
            <a:fillRect/>
          </a:stretch>
        </p:blipFill>
        <p:spPr>
          <a:xfrm>
            <a:off x="11599888" y="2725682"/>
            <a:ext cx="352400" cy="424380"/>
          </a:xfrm>
          <a:prstGeom prst="rect">
            <a:avLst/>
          </a:prstGeom>
        </p:spPr>
      </p:pic>
      <p:grpSp>
        <p:nvGrpSpPr>
          <p:cNvPr id="24" name="グループ 982">
            <a:extLst>
              <a:ext uri="{FF2B5EF4-FFF2-40B4-BE49-F238E27FC236}">
                <a16:creationId xmlns:a16="http://schemas.microsoft.com/office/drawing/2014/main" id="{686DFB0C-C623-8B17-FEDE-424CD4686420}"/>
              </a:ext>
            </a:extLst>
          </p:cNvPr>
          <p:cNvGrpSpPr/>
          <p:nvPr/>
        </p:nvGrpSpPr>
        <p:grpSpPr>
          <a:xfrm>
            <a:off x="6428901" y="3589365"/>
            <a:ext cx="2417767" cy="1265760"/>
            <a:chOff x="685627" y="3494973"/>
            <a:chExt cx="3767698" cy="2280563"/>
          </a:xfrm>
        </p:grpSpPr>
        <p:pic>
          <p:nvPicPr>
            <p:cNvPr id="25" name="図 24">
              <a:extLst>
                <a:ext uri="{FF2B5EF4-FFF2-40B4-BE49-F238E27FC236}">
                  <a16:creationId xmlns:a16="http://schemas.microsoft.com/office/drawing/2014/main" id="{D8086974-7749-B75F-2E25-1848E7CE38E3}"/>
                </a:ext>
              </a:extLst>
            </p:cNvPr>
            <p:cNvPicPr>
              <a:picLocks noChangeAspect="1"/>
            </p:cNvPicPr>
            <p:nvPr/>
          </p:nvPicPr>
          <p:blipFill>
            <a:blip r:embed="rId8">
              <a:duotone>
                <a:schemeClr val="accent6">
                  <a:shade val="45000"/>
                  <a:satMod val="135000"/>
                </a:schemeClr>
                <a:prstClr val="white"/>
              </a:duotone>
            </a:blip>
            <a:stretch>
              <a:fillRect/>
            </a:stretch>
          </p:blipFill>
          <p:spPr>
            <a:xfrm>
              <a:off x="688147" y="3494973"/>
              <a:ext cx="3765178" cy="2280563"/>
            </a:xfrm>
            <a:prstGeom prst="rect">
              <a:avLst/>
            </a:prstGeom>
            <a:ln/>
            <a:effectLst/>
          </p:spPr>
        </p:pic>
        <p:sp>
          <p:nvSpPr>
            <p:cNvPr id="26" name="楕円 25">
              <a:extLst>
                <a:ext uri="{FF2B5EF4-FFF2-40B4-BE49-F238E27FC236}">
                  <a16:creationId xmlns:a16="http://schemas.microsoft.com/office/drawing/2014/main" id="{1D38DAB1-96DD-7D1F-B90C-0624BE546C7C}"/>
                </a:ext>
              </a:extLst>
            </p:cNvPr>
            <p:cNvSpPr/>
            <p:nvPr/>
          </p:nvSpPr>
          <p:spPr>
            <a:xfrm>
              <a:off x="1109314" y="3600819"/>
              <a:ext cx="1837794" cy="827093"/>
            </a:xfrm>
            <a:prstGeom prst="ellipse">
              <a:avLst/>
            </a:prstGeom>
            <a:noFill/>
            <a:ln w="19050" cap="flat" cmpd="sng" algn="ctr">
              <a:solidFill>
                <a:srgbClr val="FF5757"/>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r>
                <a:rPr lang="ja-JP" altLang="en-US" sz="600">
                  <a:solidFill>
                    <a:schemeClr val="accent1">
                      <a:lumMod val="50000"/>
                    </a:schemeClr>
                  </a:solidFill>
                  <a:latin typeface="Meiryo UI"/>
                  <a:ea typeface="Meiryo UI"/>
                </a:rPr>
                <a:t>デマンド</a:t>
              </a:r>
            </a:p>
            <a:p>
              <a:pPr algn="ctr">
                <a:defRPr lang="ja-JP" altLang="en-US"/>
              </a:pPr>
              <a:r>
                <a:rPr lang="ja-JP" altLang="en-US" sz="600">
                  <a:solidFill>
                    <a:schemeClr val="accent1">
                      <a:lumMod val="50000"/>
                    </a:schemeClr>
                  </a:solidFill>
                  <a:latin typeface="Meiryo UI"/>
                  <a:ea typeface="Meiryo UI"/>
                </a:rPr>
                <a:t>運行エリアＢ</a:t>
              </a:r>
            </a:p>
            <a:p>
              <a:pPr algn="ctr">
                <a:defRPr lang="ja-JP" altLang="en-US"/>
              </a:pPr>
              <a:endParaRPr lang="ja-JP" altLang="en-US" sz="600">
                <a:solidFill>
                  <a:schemeClr val="accent1">
                    <a:lumMod val="50000"/>
                  </a:schemeClr>
                </a:solidFill>
                <a:latin typeface="Meiryo UI"/>
                <a:ea typeface="Meiryo UI"/>
              </a:endParaRPr>
            </a:p>
          </p:txBody>
        </p:sp>
        <p:pic>
          <p:nvPicPr>
            <p:cNvPr id="27" name="図 26">
              <a:extLst>
                <a:ext uri="{FF2B5EF4-FFF2-40B4-BE49-F238E27FC236}">
                  <a16:creationId xmlns:a16="http://schemas.microsoft.com/office/drawing/2014/main" id="{4516B0E5-388C-2FD1-63EE-8B810E73ED71}"/>
                </a:ext>
              </a:extLst>
            </p:cNvPr>
            <p:cNvPicPr>
              <a:picLocks noChangeAspect="1"/>
            </p:cNvPicPr>
            <p:nvPr/>
          </p:nvPicPr>
          <p:blipFill>
            <a:blip r:embed="rId9"/>
            <a:stretch>
              <a:fillRect/>
            </a:stretch>
          </p:blipFill>
          <p:spPr>
            <a:xfrm>
              <a:off x="1387723" y="4218799"/>
              <a:ext cx="319543" cy="280235"/>
            </a:xfrm>
            <a:prstGeom prst="rect">
              <a:avLst/>
            </a:prstGeom>
          </p:spPr>
        </p:pic>
        <p:sp>
          <p:nvSpPr>
            <p:cNvPr id="28" name="楕円 27">
              <a:extLst>
                <a:ext uri="{FF2B5EF4-FFF2-40B4-BE49-F238E27FC236}">
                  <a16:creationId xmlns:a16="http://schemas.microsoft.com/office/drawing/2014/main" id="{9B1DB169-59DF-7705-4C89-16425D1EDB43}"/>
                </a:ext>
              </a:extLst>
            </p:cNvPr>
            <p:cNvSpPr/>
            <p:nvPr/>
          </p:nvSpPr>
          <p:spPr>
            <a:xfrm>
              <a:off x="2176926" y="4705952"/>
              <a:ext cx="969190" cy="961632"/>
            </a:xfrm>
            <a:prstGeom prst="ellipse">
              <a:avLst/>
            </a:prstGeom>
            <a:noFill/>
            <a:ln w="19050" cap="flat" cmpd="sng" algn="ctr">
              <a:solidFill>
                <a:srgbClr val="FF5757"/>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r>
                <a:rPr lang="ja-JP" altLang="en-US" sz="600">
                  <a:solidFill>
                    <a:schemeClr val="accent1">
                      <a:lumMod val="50000"/>
                    </a:schemeClr>
                  </a:solidFill>
                  <a:latin typeface="Meiryo UI"/>
                  <a:ea typeface="Meiryo UI"/>
                </a:rPr>
                <a:t>デマンド</a:t>
              </a:r>
            </a:p>
            <a:p>
              <a:pPr algn="ctr">
                <a:defRPr lang="ja-JP" altLang="en-US"/>
              </a:pPr>
              <a:r>
                <a:rPr lang="ja-JP" altLang="en-US" sz="600">
                  <a:solidFill>
                    <a:schemeClr val="accent1">
                      <a:lumMod val="50000"/>
                    </a:schemeClr>
                  </a:solidFill>
                  <a:latin typeface="Meiryo UI"/>
                  <a:ea typeface="Meiryo UI"/>
                </a:rPr>
                <a:t>運行エリアＡ</a:t>
              </a:r>
            </a:p>
            <a:p>
              <a:pPr algn="ctr">
                <a:defRPr lang="ja-JP" altLang="en-US"/>
              </a:pPr>
              <a:endParaRPr lang="ja-JP" altLang="en-US" sz="600">
                <a:solidFill>
                  <a:schemeClr val="accent1">
                    <a:lumMod val="50000"/>
                  </a:schemeClr>
                </a:solidFill>
                <a:latin typeface="Meiryo UI"/>
                <a:ea typeface="Meiryo UI"/>
              </a:endParaRPr>
            </a:p>
          </p:txBody>
        </p:sp>
        <p:pic>
          <p:nvPicPr>
            <p:cNvPr id="29" name="図 28">
              <a:extLst>
                <a:ext uri="{FF2B5EF4-FFF2-40B4-BE49-F238E27FC236}">
                  <a16:creationId xmlns:a16="http://schemas.microsoft.com/office/drawing/2014/main" id="{D68CA6EF-1347-4371-2BFE-550A2DB9F963}"/>
                </a:ext>
              </a:extLst>
            </p:cNvPr>
            <p:cNvPicPr>
              <a:picLocks noChangeAspect="1"/>
            </p:cNvPicPr>
            <p:nvPr/>
          </p:nvPicPr>
          <p:blipFill>
            <a:blip r:embed="rId10"/>
            <a:stretch>
              <a:fillRect/>
            </a:stretch>
          </p:blipFill>
          <p:spPr>
            <a:xfrm>
              <a:off x="2232230" y="4427913"/>
              <a:ext cx="263670" cy="332634"/>
            </a:xfrm>
            <a:prstGeom prst="rect">
              <a:avLst/>
            </a:prstGeom>
          </p:spPr>
        </p:pic>
        <p:pic>
          <p:nvPicPr>
            <p:cNvPr id="30" name="図 29">
              <a:extLst>
                <a:ext uri="{FF2B5EF4-FFF2-40B4-BE49-F238E27FC236}">
                  <a16:creationId xmlns:a16="http://schemas.microsoft.com/office/drawing/2014/main" id="{06579AA3-3295-8DA0-A1C0-E5329AFEE840}"/>
                </a:ext>
              </a:extLst>
            </p:cNvPr>
            <p:cNvPicPr>
              <a:picLocks noChangeAspect="1"/>
            </p:cNvPicPr>
            <p:nvPr/>
          </p:nvPicPr>
          <p:blipFill>
            <a:blip r:embed="rId11"/>
            <a:stretch>
              <a:fillRect/>
            </a:stretch>
          </p:blipFill>
          <p:spPr>
            <a:xfrm rot="1260000">
              <a:off x="2886532" y="4774971"/>
              <a:ext cx="442395" cy="241314"/>
            </a:xfrm>
            <a:prstGeom prst="rect">
              <a:avLst/>
            </a:prstGeom>
          </p:spPr>
        </p:pic>
        <p:pic>
          <p:nvPicPr>
            <p:cNvPr id="31" name="図 30">
              <a:extLst>
                <a:ext uri="{FF2B5EF4-FFF2-40B4-BE49-F238E27FC236}">
                  <a16:creationId xmlns:a16="http://schemas.microsoft.com/office/drawing/2014/main" id="{A5B5361E-8DE7-3E8A-2152-B1E6FD80039C}"/>
                </a:ext>
              </a:extLst>
            </p:cNvPr>
            <p:cNvPicPr>
              <a:picLocks noChangeAspect="1"/>
            </p:cNvPicPr>
            <p:nvPr/>
          </p:nvPicPr>
          <p:blipFill>
            <a:blip r:embed="rId12"/>
            <a:stretch>
              <a:fillRect/>
            </a:stretch>
          </p:blipFill>
          <p:spPr>
            <a:xfrm flipH="1">
              <a:off x="1043899" y="3735171"/>
              <a:ext cx="450990" cy="246003"/>
            </a:xfrm>
            <a:prstGeom prst="rect">
              <a:avLst/>
            </a:prstGeom>
          </p:spPr>
        </p:pic>
        <p:pic>
          <p:nvPicPr>
            <p:cNvPr id="32" name="図 31">
              <a:extLst>
                <a:ext uri="{FF2B5EF4-FFF2-40B4-BE49-F238E27FC236}">
                  <a16:creationId xmlns:a16="http://schemas.microsoft.com/office/drawing/2014/main" id="{7ED8AE22-77A3-3C5B-BD73-65CB68E83860}"/>
                </a:ext>
              </a:extLst>
            </p:cNvPr>
            <p:cNvPicPr>
              <a:picLocks noChangeAspect="1"/>
            </p:cNvPicPr>
            <p:nvPr/>
          </p:nvPicPr>
          <p:blipFill>
            <a:blip r:embed="rId13"/>
            <a:stretch>
              <a:fillRect/>
            </a:stretch>
          </p:blipFill>
          <p:spPr>
            <a:xfrm>
              <a:off x="2692358" y="5230931"/>
              <a:ext cx="352989" cy="438274"/>
            </a:xfrm>
            <a:prstGeom prst="rect">
              <a:avLst/>
            </a:prstGeom>
          </p:spPr>
        </p:pic>
        <p:sp>
          <p:nvSpPr>
            <p:cNvPr id="33" name="楕円 32">
              <a:extLst>
                <a:ext uri="{FF2B5EF4-FFF2-40B4-BE49-F238E27FC236}">
                  <a16:creationId xmlns:a16="http://schemas.microsoft.com/office/drawing/2014/main" id="{25C46C6B-F9FE-9E50-E54C-41F861C18348}"/>
                </a:ext>
              </a:extLst>
            </p:cNvPr>
            <p:cNvSpPr/>
            <p:nvPr/>
          </p:nvSpPr>
          <p:spPr>
            <a:xfrm>
              <a:off x="1867600" y="4160996"/>
              <a:ext cx="1078524" cy="679363"/>
            </a:xfrm>
            <a:prstGeom prst="ellipse">
              <a:avLst/>
            </a:prstGeom>
            <a:noFill/>
            <a:ln w="28575" cap="flat" cmpd="sng" algn="ctr">
              <a:solidFill>
                <a:schemeClr val="accent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endParaRPr lang="ja-JP" altLang="en-US" sz="600"/>
            </a:p>
          </p:txBody>
        </p:sp>
        <p:pic>
          <p:nvPicPr>
            <p:cNvPr id="34" name="図 33">
              <a:extLst>
                <a:ext uri="{FF2B5EF4-FFF2-40B4-BE49-F238E27FC236}">
                  <a16:creationId xmlns:a16="http://schemas.microsoft.com/office/drawing/2014/main" id="{B6947A11-F9FA-1202-D780-EE6B51BFB0B5}"/>
                </a:ext>
              </a:extLst>
            </p:cNvPr>
            <p:cNvPicPr>
              <a:picLocks noChangeAspect="1"/>
            </p:cNvPicPr>
            <p:nvPr/>
          </p:nvPicPr>
          <p:blipFill>
            <a:blip r:embed="rId14"/>
            <a:stretch>
              <a:fillRect/>
            </a:stretch>
          </p:blipFill>
          <p:spPr>
            <a:xfrm>
              <a:off x="2495901" y="4021038"/>
              <a:ext cx="300989" cy="279914"/>
            </a:xfrm>
            <a:prstGeom prst="rect">
              <a:avLst/>
            </a:prstGeom>
          </p:spPr>
        </p:pic>
        <p:pic>
          <p:nvPicPr>
            <p:cNvPr id="35" name="図 34">
              <a:extLst>
                <a:ext uri="{FF2B5EF4-FFF2-40B4-BE49-F238E27FC236}">
                  <a16:creationId xmlns:a16="http://schemas.microsoft.com/office/drawing/2014/main" id="{67D9B4DD-F543-A820-5BF9-14D81B1E14C2}"/>
                </a:ext>
              </a:extLst>
            </p:cNvPr>
            <p:cNvPicPr>
              <a:picLocks noChangeAspect="1"/>
            </p:cNvPicPr>
            <p:nvPr/>
          </p:nvPicPr>
          <p:blipFill>
            <a:blip r:embed="rId15"/>
            <a:stretch>
              <a:fillRect/>
            </a:stretch>
          </p:blipFill>
          <p:spPr>
            <a:xfrm>
              <a:off x="2692421" y="4315726"/>
              <a:ext cx="456603" cy="248147"/>
            </a:xfrm>
            <a:prstGeom prst="rect">
              <a:avLst/>
            </a:prstGeom>
          </p:spPr>
        </p:pic>
        <p:pic>
          <p:nvPicPr>
            <p:cNvPr id="36" name="図 35">
              <a:extLst>
                <a:ext uri="{FF2B5EF4-FFF2-40B4-BE49-F238E27FC236}">
                  <a16:creationId xmlns:a16="http://schemas.microsoft.com/office/drawing/2014/main" id="{1223F50B-5FA4-75CA-51DB-2FB21EA45BEA}"/>
                </a:ext>
              </a:extLst>
            </p:cNvPr>
            <p:cNvPicPr>
              <a:picLocks noChangeAspect="1"/>
            </p:cNvPicPr>
            <p:nvPr/>
          </p:nvPicPr>
          <p:blipFill>
            <a:blip r:embed="rId16"/>
            <a:stretch>
              <a:fillRect/>
            </a:stretch>
          </p:blipFill>
          <p:spPr>
            <a:xfrm>
              <a:off x="1529271" y="4917613"/>
              <a:ext cx="338329" cy="269078"/>
            </a:xfrm>
            <a:prstGeom prst="rect">
              <a:avLst/>
            </a:prstGeom>
          </p:spPr>
        </p:pic>
        <p:pic>
          <p:nvPicPr>
            <p:cNvPr id="37" name="図 36">
              <a:extLst>
                <a:ext uri="{FF2B5EF4-FFF2-40B4-BE49-F238E27FC236}">
                  <a16:creationId xmlns:a16="http://schemas.microsoft.com/office/drawing/2014/main" id="{622BE5ED-FF9F-E45B-EF8F-1F647BEB23A7}"/>
                </a:ext>
              </a:extLst>
            </p:cNvPr>
            <p:cNvPicPr>
              <a:picLocks noChangeAspect="1"/>
            </p:cNvPicPr>
            <p:nvPr/>
          </p:nvPicPr>
          <p:blipFill>
            <a:blip r:embed="rId17"/>
            <a:stretch>
              <a:fillRect/>
            </a:stretch>
          </p:blipFill>
          <p:spPr>
            <a:xfrm>
              <a:off x="685627" y="4029162"/>
              <a:ext cx="582219" cy="674529"/>
            </a:xfrm>
            <a:prstGeom prst="rect">
              <a:avLst/>
            </a:prstGeom>
            <a:ln>
              <a:solidFill>
                <a:schemeClr val="accent1"/>
              </a:solidFill>
            </a:ln>
          </p:spPr>
        </p:pic>
        <p:sp>
          <p:nvSpPr>
            <p:cNvPr id="38" name="図形 423">
              <a:extLst>
                <a:ext uri="{FF2B5EF4-FFF2-40B4-BE49-F238E27FC236}">
                  <a16:creationId xmlns:a16="http://schemas.microsoft.com/office/drawing/2014/main" id="{24B41715-EF6C-7100-1503-B5FE68BDF0B6}"/>
                </a:ext>
              </a:extLst>
            </p:cNvPr>
            <p:cNvSpPr/>
            <p:nvPr/>
          </p:nvSpPr>
          <p:spPr>
            <a:xfrm>
              <a:off x="2947108" y="4570023"/>
              <a:ext cx="127845" cy="174412"/>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endParaRPr lang="ja-JP" altLang="en-US" sz="600"/>
            </a:p>
          </p:txBody>
        </p:sp>
        <p:sp>
          <p:nvSpPr>
            <p:cNvPr id="39" name="図形 424">
              <a:extLst>
                <a:ext uri="{FF2B5EF4-FFF2-40B4-BE49-F238E27FC236}">
                  <a16:creationId xmlns:a16="http://schemas.microsoft.com/office/drawing/2014/main" id="{738B8C2A-F2EC-A193-911C-471E55B5CA5F}"/>
                </a:ext>
              </a:extLst>
            </p:cNvPr>
            <p:cNvSpPr/>
            <p:nvPr/>
          </p:nvSpPr>
          <p:spPr>
            <a:xfrm rot="18840000">
              <a:off x="2804950" y="4107206"/>
              <a:ext cx="127845" cy="174412"/>
            </a:xfrm>
            <a:prstGeom prst="up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defRPr lang="ja-JP" altLang="en-US"/>
              </a:pPr>
              <a:endParaRPr lang="ja-JP" altLang="en-US" sz="600"/>
            </a:p>
          </p:txBody>
        </p:sp>
      </p:grpSp>
      <p:grpSp>
        <p:nvGrpSpPr>
          <p:cNvPr id="40" name="グループ 998">
            <a:extLst>
              <a:ext uri="{FF2B5EF4-FFF2-40B4-BE49-F238E27FC236}">
                <a16:creationId xmlns:a16="http://schemas.microsoft.com/office/drawing/2014/main" id="{0B947C4C-99B2-0B97-0BB3-F7F50213961B}"/>
              </a:ext>
            </a:extLst>
          </p:cNvPr>
          <p:cNvGrpSpPr/>
          <p:nvPr/>
        </p:nvGrpSpPr>
        <p:grpSpPr>
          <a:xfrm>
            <a:off x="9128253" y="3604439"/>
            <a:ext cx="2795923" cy="1106101"/>
            <a:chOff x="4747049" y="3865133"/>
            <a:chExt cx="3997244" cy="1790603"/>
          </a:xfrm>
        </p:grpSpPr>
        <p:sp>
          <p:nvSpPr>
            <p:cNvPr id="41" name="図形 426">
              <a:extLst>
                <a:ext uri="{FF2B5EF4-FFF2-40B4-BE49-F238E27FC236}">
                  <a16:creationId xmlns:a16="http://schemas.microsoft.com/office/drawing/2014/main" id="{56D91AD4-499F-6353-E7A6-3BD8200981F4}"/>
                </a:ext>
              </a:extLst>
            </p:cNvPr>
            <p:cNvSpPr/>
            <p:nvPr/>
          </p:nvSpPr>
          <p:spPr>
            <a:xfrm>
              <a:off x="5466805" y="4151455"/>
              <a:ext cx="3175498" cy="1488232"/>
            </a:xfrm>
            <a:prstGeom prst="wedgeRoundRectCallout">
              <a:avLst>
                <a:gd name="adj1" fmla="val -55553"/>
                <a:gd name="adj2" fmla="val -26002"/>
                <a:gd name="adj3" fmla="val 16667"/>
              </a:avLst>
            </a:prstGeom>
            <a:solidFill>
              <a:schemeClr val="bg1">
                <a:lumMod val="85000"/>
              </a:schemeClr>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tIns="0" bIns="0" anchor="ctr" anchorCtr="0"/>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marL="171450" indent="-171450">
                <a:buFont typeface="Arial"/>
                <a:buChar char="•"/>
                <a:defRPr lang="ja-JP" altLang="en-US"/>
              </a:pPr>
              <a:r>
                <a:rPr lang="ja-JP" altLang="en-US" sz="800">
                  <a:solidFill>
                    <a:schemeClr val="tx1"/>
                  </a:solidFill>
                  <a:latin typeface="Meiryo UI"/>
                  <a:ea typeface="Meiryo UI"/>
                </a:rPr>
                <a:t>わざわざ営業所まで行かないと申請できない</a:t>
              </a:r>
              <a:endParaRPr sz="2400"/>
            </a:p>
            <a:p>
              <a:pPr marL="171450" indent="-171450">
                <a:buFont typeface="Arial"/>
                <a:buChar char="•"/>
                <a:defRPr lang="ja-JP" altLang="en-US"/>
              </a:pPr>
              <a:r>
                <a:rPr lang="ja-JP" altLang="en-US" sz="800">
                  <a:solidFill>
                    <a:schemeClr val="tx1"/>
                  </a:solidFill>
                  <a:latin typeface="Meiryo UI"/>
                  <a:ea typeface="Meiryo UI"/>
                </a:rPr>
                <a:t>申請して交付された登録証を提示して交通系ICカードで決済する割引と、申請して割引価格で回数券を購入する方法などバス事業者ごとに違う方法での助成</a:t>
              </a:r>
            </a:p>
          </p:txBody>
        </p:sp>
        <p:pic>
          <p:nvPicPr>
            <p:cNvPr id="42" name="図 41">
              <a:extLst>
                <a:ext uri="{FF2B5EF4-FFF2-40B4-BE49-F238E27FC236}">
                  <a16:creationId xmlns:a16="http://schemas.microsoft.com/office/drawing/2014/main" id="{1E6BB4EE-0223-A1E5-0B99-06C784E2C30F}"/>
                </a:ext>
              </a:extLst>
            </p:cNvPr>
            <p:cNvPicPr>
              <a:picLocks noChangeAspect="1"/>
            </p:cNvPicPr>
            <p:nvPr/>
          </p:nvPicPr>
          <p:blipFill>
            <a:blip r:embed="rId18"/>
            <a:stretch>
              <a:fillRect/>
            </a:stretch>
          </p:blipFill>
          <p:spPr>
            <a:xfrm>
              <a:off x="4747049" y="4072915"/>
              <a:ext cx="626896" cy="729771"/>
            </a:xfrm>
            <a:prstGeom prst="rect">
              <a:avLst/>
            </a:prstGeom>
          </p:spPr>
        </p:pic>
        <p:pic>
          <p:nvPicPr>
            <p:cNvPr id="43" name="図 42">
              <a:extLst>
                <a:ext uri="{FF2B5EF4-FFF2-40B4-BE49-F238E27FC236}">
                  <a16:creationId xmlns:a16="http://schemas.microsoft.com/office/drawing/2014/main" id="{B0A04C2B-BAC4-C4F0-1B58-287294764C8E}"/>
                </a:ext>
              </a:extLst>
            </p:cNvPr>
            <p:cNvPicPr>
              <a:picLocks noChangeAspect="1"/>
            </p:cNvPicPr>
            <p:nvPr/>
          </p:nvPicPr>
          <p:blipFill>
            <a:blip r:embed="rId19"/>
            <a:stretch>
              <a:fillRect/>
            </a:stretch>
          </p:blipFill>
          <p:spPr>
            <a:xfrm>
              <a:off x="8072817" y="3865133"/>
              <a:ext cx="643324" cy="541126"/>
            </a:xfrm>
            <a:prstGeom prst="rect">
              <a:avLst/>
            </a:prstGeom>
          </p:spPr>
        </p:pic>
        <p:pic>
          <p:nvPicPr>
            <p:cNvPr id="44" name="図 43">
              <a:extLst>
                <a:ext uri="{FF2B5EF4-FFF2-40B4-BE49-F238E27FC236}">
                  <a16:creationId xmlns:a16="http://schemas.microsoft.com/office/drawing/2014/main" id="{B41605BD-42F8-A5F8-3AF8-BD2BCD7599EB}"/>
                </a:ext>
              </a:extLst>
            </p:cNvPr>
            <p:cNvPicPr>
              <a:picLocks noChangeAspect="1"/>
            </p:cNvPicPr>
            <p:nvPr/>
          </p:nvPicPr>
          <p:blipFill>
            <a:blip r:embed="rId20"/>
            <a:stretch>
              <a:fillRect/>
            </a:stretch>
          </p:blipFill>
          <p:spPr>
            <a:xfrm rot="21000000">
              <a:off x="5175637" y="5240448"/>
              <a:ext cx="543400" cy="348462"/>
            </a:xfrm>
            <a:prstGeom prst="rect">
              <a:avLst/>
            </a:prstGeom>
          </p:spPr>
        </p:pic>
        <p:pic>
          <p:nvPicPr>
            <p:cNvPr id="45" name="図 44">
              <a:extLst>
                <a:ext uri="{FF2B5EF4-FFF2-40B4-BE49-F238E27FC236}">
                  <a16:creationId xmlns:a16="http://schemas.microsoft.com/office/drawing/2014/main" id="{FBB6C2F5-C74F-45B0-174F-DBB2780927C0}"/>
                </a:ext>
              </a:extLst>
            </p:cNvPr>
            <p:cNvPicPr>
              <a:picLocks noChangeAspect="1"/>
            </p:cNvPicPr>
            <p:nvPr/>
          </p:nvPicPr>
          <p:blipFill>
            <a:blip r:embed="rId21"/>
            <a:stretch>
              <a:fillRect/>
            </a:stretch>
          </p:blipFill>
          <p:spPr>
            <a:xfrm rot="1200000">
              <a:off x="8050562" y="5272281"/>
              <a:ext cx="693731" cy="383455"/>
            </a:xfrm>
            <a:prstGeom prst="rect">
              <a:avLst/>
            </a:prstGeom>
          </p:spPr>
        </p:pic>
      </p:grpSp>
      <p:sp>
        <p:nvSpPr>
          <p:cNvPr id="47" name="テキスト ボックス 46">
            <a:extLst>
              <a:ext uri="{FF2B5EF4-FFF2-40B4-BE49-F238E27FC236}">
                <a16:creationId xmlns:a16="http://schemas.microsoft.com/office/drawing/2014/main" id="{E1B0BCC6-24C3-1AA3-6FBA-54BB8409049A}"/>
              </a:ext>
            </a:extLst>
          </p:cNvPr>
          <p:cNvSpPr txBox="1"/>
          <p:nvPr/>
        </p:nvSpPr>
        <p:spPr>
          <a:xfrm>
            <a:off x="1445299" y="4502489"/>
            <a:ext cx="3511202" cy="1539532"/>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が前提とする、解決すべき社会課題を具体的に記載してください。</a:t>
            </a:r>
          </a:p>
        </p:txBody>
      </p:sp>
      <p:sp>
        <p:nvSpPr>
          <p:cNvPr id="49" name="テキスト ボックス 48">
            <a:extLst>
              <a:ext uri="{FF2B5EF4-FFF2-40B4-BE49-F238E27FC236}">
                <a16:creationId xmlns:a16="http://schemas.microsoft.com/office/drawing/2014/main" id="{47CF5BA8-C018-387E-8ACC-4C42E184EA89}"/>
              </a:ext>
            </a:extLst>
          </p:cNvPr>
          <p:cNvSpPr txBox="1"/>
          <p:nvPr/>
        </p:nvSpPr>
        <p:spPr>
          <a:xfrm>
            <a:off x="7279319" y="4500543"/>
            <a:ext cx="3511202" cy="155529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解決すべき社会課題のイメージビジュアルや統計グラフ、リファレンスなどを掲載してください。</a:t>
            </a:r>
          </a:p>
        </p:txBody>
      </p:sp>
    </p:spTree>
    <p:extLst>
      <p:ext uri="{BB962C8B-B14F-4D97-AF65-F5344CB8AC3E}">
        <p14:creationId xmlns:p14="http://schemas.microsoft.com/office/powerpoint/2010/main" val="29484734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9" name="正方形/長方形 8">
            <a:extLst>
              <a:ext uri="{FF2B5EF4-FFF2-40B4-BE49-F238E27FC236}">
                <a16:creationId xmlns:a16="http://schemas.microsoft.com/office/drawing/2014/main" id="{67FD600D-F712-D335-9DCD-5DDA57077E60}"/>
              </a:ext>
            </a:extLst>
          </p:cNvPr>
          <p:cNvSpPr/>
          <p:nvPr/>
        </p:nvSpPr>
        <p:spPr>
          <a:xfrm>
            <a:off x="3768594" y="4194761"/>
            <a:ext cx="4162427" cy="137683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3" name="正方形/長方形 2">
            <a:extLst>
              <a:ext uri="{FF2B5EF4-FFF2-40B4-BE49-F238E27FC236}">
                <a16:creationId xmlns:a16="http://schemas.microsoft.com/office/drawing/2014/main" id="{C3D40428-85E6-E24D-4011-15A333D97D66}"/>
              </a:ext>
            </a:extLst>
          </p:cNvPr>
          <p:cNvSpPr/>
          <p:nvPr/>
        </p:nvSpPr>
        <p:spPr>
          <a:xfrm>
            <a:off x="150389" y="1286401"/>
            <a:ext cx="11876770" cy="5232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a:solidFill>
                  <a:srgbClr val="000000"/>
                </a:solidFill>
                <a:latin typeface="BIZ UDPゴシック"/>
                <a:ea typeface="BIZ UDPゴシック"/>
              </a:rPr>
              <a:t>KPI</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サービス全体像</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実証仮説</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スコープ詳細　</a:t>
            </a:r>
            <a:endParaRPr lang="en-US" altLang="ja-JP" sz="160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a:solidFill>
                  <a:srgbClr val="000000"/>
                </a:solidFill>
                <a:latin typeface="BIZ UDPゴシック"/>
                <a:ea typeface="BIZ UDPゴシック"/>
              </a:rPr>
              <a:t>データ活用の</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政策連携</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施内容の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スケジュール（</a:t>
            </a:r>
            <a:r>
              <a:rPr lang="en-US" altLang="ja-JP" sz="1600">
                <a:solidFill>
                  <a:srgbClr val="000000"/>
                </a:solidFill>
                <a:latin typeface="BIZ UDPゴシック"/>
                <a:ea typeface="BIZ UDPゴシック"/>
              </a:rPr>
              <a:t>WBS</a:t>
            </a:r>
            <a:r>
              <a:rPr lang="ja-JP" altLang="en-US" sz="1600">
                <a:solidFill>
                  <a:srgbClr val="000000"/>
                </a:solidFill>
                <a:latin typeface="BIZ UDPゴシック"/>
                <a:ea typeface="BIZ UDPゴシック"/>
              </a:rPr>
              <a:t>ガントチャー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プロジェクトのフロー</a:t>
            </a:r>
            <a:endParaRPr lang="en-US" altLang="ja-JP" sz="160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成果物</a:t>
            </a: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2238030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政策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 実施内容の詳細</a:t>
            </a:r>
            <a:r>
              <a:rPr kumimoji="1" lang="ja-JP" altLang="en-US"/>
              <a:t>｜各計画との関係</a:t>
            </a:r>
            <a:endParaRPr lang="ja-JP" altLang="en-US"/>
          </a:p>
        </p:txBody>
      </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graphicFrame>
        <p:nvGraphicFramePr>
          <p:cNvPr id="11" name="表 7">
            <a:extLst>
              <a:ext uri="{FF2B5EF4-FFF2-40B4-BE49-F238E27FC236}">
                <a16:creationId xmlns:a16="http://schemas.microsoft.com/office/drawing/2014/main" id="{D3EFA518-F851-3DE6-5704-6623452E81EC}"/>
              </a:ext>
            </a:extLst>
          </p:cNvPr>
          <p:cNvGraphicFramePr>
            <a:graphicFrameLocks noGrp="1"/>
          </p:cNvGraphicFramePr>
          <p:nvPr>
            <p:extLst>
              <p:ext uri="{D42A27DB-BD31-4B8C-83A1-F6EECF244321}">
                <p14:modId xmlns:p14="http://schemas.microsoft.com/office/powerpoint/2010/main" val="2105911566"/>
              </p:ext>
            </p:extLst>
          </p:nvPr>
        </p:nvGraphicFramePr>
        <p:xfrm>
          <a:off x="367440" y="1566517"/>
          <a:ext cx="11309338" cy="4927588"/>
        </p:xfrm>
        <a:graphic>
          <a:graphicData uri="http://schemas.openxmlformats.org/drawingml/2006/table">
            <a:tbl>
              <a:tblPr>
                <a:tableStyleId>{5C22544A-7EE6-4342-B048-85BDC9FD1C3A}</a:tableStyleId>
              </a:tblPr>
              <a:tblGrid>
                <a:gridCol w="1866767">
                  <a:extLst>
                    <a:ext uri="{9D8B030D-6E8A-4147-A177-3AD203B41FA5}">
                      <a16:colId xmlns:a16="http://schemas.microsoft.com/office/drawing/2014/main" val="1942113200"/>
                    </a:ext>
                  </a:extLst>
                </a:gridCol>
                <a:gridCol w="2162565">
                  <a:extLst>
                    <a:ext uri="{9D8B030D-6E8A-4147-A177-3AD203B41FA5}">
                      <a16:colId xmlns:a16="http://schemas.microsoft.com/office/drawing/2014/main" val="3914001273"/>
                    </a:ext>
                  </a:extLst>
                </a:gridCol>
                <a:gridCol w="7280006">
                  <a:extLst>
                    <a:ext uri="{9D8B030D-6E8A-4147-A177-3AD203B41FA5}">
                      <a16:colId xmlns:a16="http://schemas.microsoft.com/office/drawing/2014/main" val="3406812435"/>
                    </a:ext>
                  </a:extLst>
                </a:gridCol>
              </a:tblGrid>
              <a:tr h="662877">
                <a:tc>
                  <a:txBody>
                    <a:bodyPr/>
                    <a:lstStyle/>
                    <a:p>
                      <a:r>
                        <a:rPr kumimoji="1" lang="ja-JP" altLang="en-US" sz="1050" b="1">
                          <a:latin typeface="+mn-ea"/>
                          <a:ea typeface="+mn-ea"/>
                        </a:rPr>
                        <a:t>計画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策定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662877">
                <a:tc>
                  <a:txBody>
                    <a:bodyPr/>
                    <a:lstStyle/>
                    <a:p>
                      <a:r>
                        <a:rPr kumimoji="1" lang="ja-JP" altLang="en-US" sz="1200">
                          <a:solidFill>
                            <a:srgbClr val="0070C0"/>
                          </a:solidFill>
                          <a:latin typeface="+mn-ea"/>
                          <a:ea typeface="+mn-ea"/>
                        </a:rPr>
                        <a:t>地域公共交通計画（改訂）</a:t>
                      </a:r>
                      <a:endParaRPr kumimoji="1" lang="en-US" altLang="ja-JP" sz="12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200">
                          <a:solidFill>
                            <a:srgbClr val="0070C0"/>
                          </a:solidFill>
                          <a:latin typeface="+mn-ea"/>
                          <a:ea typeface="+mn-ea"/>
                        </a:rPr>
                        <a:t>○○年度に策定予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a:solidFill>
                            <a:srgbClr val="0070C0"/>
                          </a:solidFill>
                          <a:latin typeface="+mn-ea"/>
                          <a:ea typeface="+mn-ea"/>
                        </a:rPr>
                        <a:t>本プロジェクトにおいて取得・分析した</a:t>
                      </a:r>
                      <a:r>
                        <a:rPr kumimoji="1" lang="en-US" altLang="ja-JP" sz="1200" err="1">
                          <a:solidFill>
                            <a:srgbClr val="0070C0"/>
                          </a:solidFill>
                          <a:latin typeface="+mn-ea"/>
                          <a:ea typeface="+mn-ea"/>
                        </a:rPr>
                        <a:t>MaaS</a:t>
                      </a:r>
                      <a:r>
                        <a:rPr kumimoji="1" lang="ja-JP" altLang="en-US" sz="1200">
                          <a:solidFill>
                            <a:srgbClr val="0070C0"/>
                          </a:solidFill>
                          <a:latin typeface="+mn-ea"/>
                          <a:ea typeface="+mn-ea"/>
                        </a:rPr>
                        <a:t>アプリ利用実績及び人流データを○○年度策定予定の地域公共交通計画の改定に活用。</a:t>
                      </a:r>
                      <a:endParaRPr kumimoji="1" lang="en-US" altLang="ja-JP" sz="12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614511"/>
                  </a:ext>
                </a:extLst>
              </a:tr>
              <a:tr h="826266">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地域公共交通計画</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200">
                          <a:solidFill>
                            <a:srgbClr val="0070C0"/>
                          </a:solidFill>
                          <a:latin typeface="+mn-ea"/>
                          <a:ea typeface="+mn-ea"/>
                        </a:rPr>
                        <a:t>令和</a:t>
                      </a:r>
                      <a:r>
                        <a:rPr kumimoji="1" lang="en-US" altLang="ja-JP" sz="1200">
                          <a:solidFill>
                            <a:srgbClr val="0070C0"/>
                          </a:solidFill>
                          <a:latin typeface="+mn-ea"/>
                          <a:ea typeface="+mn-ea"/>
                        </a:rPr>
                        <a:t>5</a:t>
                      </a:r>
                      <a:r>
                        <a:rPr kumimoji="1" lang="ja-JP" altLang="en-US" sz="1200">
                          <a:solidFill>
                            <a:srgbClr val="0070C0"/>
                          </a:solidFill>
                          <a:latin typeface="+mn-ea"/>
                          <a:ea typeface="+mn-ea"/>
                        </a:rPr>
                        <a:t>年度に策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kumimoji="1" lang="ja-JP" altLang="en-US" sz="1200">
                          <a:solidFill>
                            <a:srgbClr val="0070C0"/>
                          </a:solidFill>
                          <a:latin typeface="+mn-ea"/>
                          <a:ea typeface="+mn-ea"/>
                        </a:rPr>
                        <a:t>○○市地域公共交通計画では、観光客による路線バス混雑を緩和するため、ダイナミックプライシングの導入が位置づけられている。これに基づき、本プロジェクトでは、新たに提供する</a:t>
                      </a:r>
                      <a:r>
                        <a:rPr kumimoji="1" lang="en-US" altLang="ja-JP" sz="1200" err="1">
                          <a:solidFill>
                            <a:srgbClr val="0070C0"/>
                          </a:solidFill>
                          <a:latin typeface="+mn-ea"/>
                          <a:ea typeface="+mn-ea"/>
                        </a:rPr>
                        <a:t>MaaS</a:t>
                      </a:r>
                      <a:r>
                        <a:rPr kumimoji="1" lang="ja-JP" altLang="en-US" sz="1200">
                          <a:solidFill>
                            <a:srgbClr val="0070C0"/>
                          </a:solidFill>
                          <a:latin typeface="+mn-ea"/>
                          <a:ea typeface="+mn-ea"/>
                        </a:rPr>
                        <a:t>アプリから購入可能な企画乗車券の販売価格をピークに合わせて変動させるダイナミックプライシングの導入を行う。</a:t>
                      </a:r>
                      <a:endParaRPr kumimoji="1" lang="en-US" altLang="ja-JP" sz="12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17456341"/>
                  </a:ext>
                </a:extLst>
              </a:tr>
              <a:tr h="662877">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地域公共交通計画</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200">
                          <a:solidFill>
                            <a:srgbClr val="0070C0"/>
                          </a:solidFill>
                          <a:latin typeface="+mn-ea"/>
                          <a:ea typeface="+mn-ea"/>
                        </a:rPr>
                        <a:t>令和</a:t>
                      </a:r>
                      <a:r>
                        <a:rPr kumimoji="1" lang="en-US" altLang="ja-JP" sz="1200">
                          <a:solidFill>
                            <a:srgbClr val="0070C0"/>
                          </a:solidFill>
                          <a:latin typeface="+mn-ea"/>
                          <a:ea typeface="+mn-ea"/>
                        </a:rPr>
                        <a:t>5</a:t>
                      </a:r>
                      <a:r>
                        <a:rPr kumimoji="1" lang="ja-JP" altLang="en-US" sz="1200">
                          <a:solidFill>
                            <a:srgbClr val="0070C0"/>
                          </a:solidFill>
                          <a:latin typeface="+mn-ea"/>
                          <a:ea typeface="+mn-ea"/>
                        </a:rPr>
                        <a:t>年度に策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a:solidFill>
                            <a:srgbClr val="0070C0"/>
                          </a:solidFill>
                          <a:latin typeface="+mn-ea"/>
                          <a:ea typeface="+mn-ea"/>
                        </a:rPr>
                        <a:t>○○市地域公共交通計画では、都心部の渋滞緩和のためパークアンドバスライドを推進することとされている。これに基づき、本プロジェクトでは、新たに提供する</a:t>
                      </a:r>
                      <a:r>
                        <a:rPr kumimoji="1" lang="en-US" altLang="ja-JP" sz="1200" err="1">
                          <a:solidFill>
                            <a:srgbClr val="0070C0"/>
                          </a:solidFill>
                          <a:latin typeface="+mn-ea"/>
                          <a:ea typeface="+mn-ea"/>
                        </a:rPr>
                        <a:t>MaaS</a:t>
                      </a:r>
                      <a:r>
                        <a:rPr kumimoji="1" lang="ja-JP" altLang="en-US" sz="1200">
                          <a:solidFill>
                            <a:srgbClr val="0070C0"/>
                          </a:solidFill>
                          <a:latin typeface="+mn-ea"/>
                          <a:ea typeface="+mn-ea"/>
                        </a:rPr>
                        <a:t>アプリを用いて駐車場の満空情報の発信及び駐車券付きバス定期券の販売を行う。</a:t>
                      </a:r>
                      <a:endParaRPr kumimoji="1" lang="en-US" altLang="ja-JP" sz="12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166507"/>
                  </a:ext>
                </a:extLst>
              </a:tr>
              <a:tr h="662877">
                <a:tc>
                  <a:txBody>
                    <a:bodyPr/>
                    <a:lstStyle/>
                    <a:p>
                      <a:r>
                        <a:rPr kumimoji="1" lang="ja-JP" altLang="en-US" sz="1200">
                          <a:solidFill>
                            <a:srgbClr val="0070C0"/>
                          </a:solidFill>
                          <a:latin typeface="+mn-ea"/>
                          <a:ea typeface="+mn-ea"/>
                        </a:rPr>
                        <a:t>都市計画</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200">
                          <a:solidFill>
                            <a:srgbClr val="0070C0"/>
                          </a:solidFill>
                          <a:latin typeface="+mn-ea"/>
                          <a:ea typeface="+mn-ea"/>
                        </a:rPr>
                        <a:t>令和５年度に策定済</a:t>
                      </a:r>
                      <a:endParaRPr kumimoji="1" lang="ja-JP" sz="12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a:solidFill>
                          <a:schemeClr val="tx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0116814"/>
                  </a:ext>
                </a:extLst>
              </a:tr>
              <a:tr h="786937">
                <a:tc>
                  <a:txBody>
                    <a:bodyPr/>
                    <a:lstStyle/>
                    <a:p>
                      <a:r>
                        <a:rPr kumimoji="1" lang="ja-JP" altLang="en-US" sz="1200">
                          <a:solidFill>
                            <a:srgbClr val="0070C0"/>
                          </a:solidFill>
                          <a:latin typeface="+mn-ea"/>
                          <a:ea typeface="+mn-ea"/>
                        </a:rPr>
                        <a:t>立地適正化計画</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endParaRPr kumimoji="1" lang="ja-JP" sz="1200">
                        <a:solidFill>
                          <a:schemeClr val="tx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a:solidFill>
                          <a:schemeClr val="tx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891718"/>
                  </a:ext>
                </a:extLst>
              </a:tr>
              <a:tr h="662877">
                <a:tc>
                  <a:txBody>
                    <a:bodyPr/>
                    <a:lstStyle/>
                    <a:p>
                      <a:r>
                        <a:rPr kumimoji="1" lang="ja-JP" altLang="en-US" sz="1200">
                          <a:solidFill>
                            <a:srgbClr val="0070C0"/>
                          </a:solidFill>
                          <a:latin typeface="+mn-ea"/>
                          <a:ea typeface="+mn-ea"/>
                        </a:rPr>
                        <a:t>（その他の計画）</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endParaRPr kumimoji="1" lang="ja-JP" sz="1200">
                        <a:solidFill>
                          <a:schemeClr val="tx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200">
                        <a:solidFill>
                          <a:schemeClr val="tx1"/>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2274276"/>
                  </a:ext>
                </a:extLst>
              </a:tr>
            </a:tbl>
          </a:graphicData>
        </a:graphic>
      </p:graphicFrame>
    </p:spTree>
    <p:extLst>
      <p:ext uri="{BB962C8B-B14F-4D97-AF65-F5344CB8AC3E}">
        <p14:creationId xmlns:p14="http://schemas.microsoft.com/office/powerpoint/2010/main" val="27666615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Ⅳ.</a:t>
            </a:r>
            <a:r>
              <a:rPr lang="ja-JP" altLang="en-US"/>
              <a:t>政策連携</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1.</a:t>
            </a:r>
            <a:r>
              <a:rPr lang="ja-JP" altLang="en-US"/>
              <a:t> 実施内容の詳細</a:t>
            </a:r>
            <a:r>
              <a:rPr kumimoji="1" lang="ja-JP" altLang="en-US"/>
              <a:t>｜計画以外の政策連携</a:t>
            </a:r>
            <a:endParaRPr lang="ja-JP" altLang="en-US"/>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02400" y="1661738"/>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詳細</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190626"/>
            <a:ext cx="5761200" cy="4098207"/>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XX</a:t>
            </a:r>
            <a:r>
              <a:rPr lang="ja-JP" altLang="en-US" sz="1200">
                <a:solidFill>
                  <a:srgbClr val="0070C0"/>
                </a:solidFill>
                <a:latin typeface="BIZ UDPゴシック"/>
                <a:ea typeface="BIZ UDPゴシック"/>
              </a:rPr>
              <a:t>地域の交通空白を解消するため、取得したデータの分析結果を自治体及び交通事業者に提供し、以下を検討。</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a:t>
            </a:r>
            <a:r>
              <a:rPr lang="ja-JP" altLang="en-US" sz="1200">
                <a:solidFill>
                  <a:srgbClr val="0070C0"/>
                </a:solidFill>
                <a:latin typeface="BIZ UDPゴシック"/>
                <a:ea typeface="BIZ UDPゴシック"/>
              </a:rPr>
              <a:t>コミュニティバス</a:t>
            </a:r>
            <a:r>
              <a:rPr lang="en-US" altLang="ja-JP" sz="1200">
                <a:solidFill>
                  <a:srgbClr val="0070C0"/>
                </a:solidFill>
                <a:latin typeface="BIZ UDPゴシック"/>
                <a:ea typeface="BIZ UDPゴシック"/>
              </a:rPr>
              <a:t>】</a:t>
            </a: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運行計画</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ダイヤ改修</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AI</a:t>
            </a:r>
            <a:r>
              <a:rPr lang="ja-JP" altLang="en-US" sz="1200">
                <a:solidFill>
                  <a:srgbClr val="0070C0"/>
                </a:solidFill>
                <a:latin typeface="BIZ UDPゴシック"/>
                <a:ea typeface="BIZ UDPゴシック"/>
              </a:rPr>
              <a:t>オンデマンド</a:t>
            </a:r>
            <a:r>
              <a:rPr lang="en-US" altLang="ja-JP" sz="1200">
                <a:solidFill>
                  <a:srgbClr val="0070C0"/>
                </a:solidFill>
                <a:latin typeface="BIZ UDPゴシック"/>
                <a:ea typeface="BIZ UDPゴシック"/>
              </a:rPr>
              <a:t>】</a:t>
            </a: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路線バス赤字路線への</a:t>
            </a:r>
            <a:r>
              <a:rPr lang="en-US" altLang="ja-JP" sz="1200">
                <a:solidFill>
                  <a:srgbClr val="0070C0"/>
                </a:solidFill>
                <a:latin typeface="BIZ UDPゴシック"/>
                <a:ea typeface="BIZ UDPゴシック"/>
              </a:rPr>
              <a:t>AI</a:t>
            </a:r>
            <a:r>
              <a:rPr lang="ja-JP" altLang="en-US" sz="1200">
                <a:solidFill>
                  <a:srgbClr val="0070C0"/>
                </a:solidFill>
                <a:latin typeface="BIZ UDPゴシック"/>
                <a:ea typeface="BIZ UDPゴシック"/>
              </a:rPr>
              <a:t>オンデマンド交通の導入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300779" y="4311099"/>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交通モード単位で、どのように政策と連携するか記載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2680873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13D425D-4833-5C45-A720-ECEB95C590D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513D425D-4833-5C45-A720-ECEB95C590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43C330CB-8A4D-F4A2-AFFC-48CA4FB9C719}"/>
              </a:ext>
            </a:extLst>
          </p:cNvPr>
          <p:cNvSpPr>
            <a:spLocks noGrp="1"/>
          </p:cNvSpPr>
          <p:nvPr>
            <p:ph type="body" sz="quarter" idx="4294967295"/>
          </p:nvPr>
        </p:nvSpPr>
        <p:spPr>
          <a:xfrm>
            <a:off x="300779" y="1134673"/>
            <a:ext cx="11376000" cy="323165"/>
          </a:xfrm>
        </p:spPr>
        <p:txBody>
          <a:bodyPr>
            <a:normAutofit fontScale="92500" lnSpcReduction="2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18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テキスト プレースホルダー 2">
            <a:extLst>
              <a:ext uri="{FF2B5EF4-FFF2-40B4-BE49-F238E27FC236}">
                <a16:creationId xmlns:a16="http://schemas.microsoft.com/office/drawing/2014/main" id="{6247E137-868B-539C-2D6E-DC37708CAC30}"/>
              </a:ext>
            </a:extLst>
          </p:cNvPr>
          <p:cNvSpPr>
            <a:spLocks noGrp="1"/>
          </p:cNvSpPr>
          <p:nvPr>
            <p:ph type="body" sz="quarter" idx="36"/>
          </p:nvPr>
        </p:nvSpPr>
        <p:spPr/>
        <p:txBody>
          <a:bodyPr/>
          <a:lstStyle/>
          <a:p>
            <a:r>
              <a:rPr lang="en-US" altLang="ja-JP"/>
              <a:t>Ⅳ.</a:t>
            </a:r>
            <a:r>
              <a:rPr lang="ja-JP" altLang="en-US"/>
              <a:t>政策連携</a:t>
            </a:r>
          </a:p>
        </p:txBody>
      </p:sp>
      <p:sp>
        <p:nvSpPr>
          <p:cNvPr id="4" name="タイトル 3">
            <a:extLst>
              <a:ext uri="{FF2B5EF4-FFF2-40B4-BE49-F238E27FC236}">
                <a16:creationId xmlns:a16="http://schemas.microsoft.com/office/drawing/2014/main" id="{2C3BBDD6-C18E-A8D5-D35C-ABB97297C5DD}"/>
              </a:ext>
            </a:extLst>
          </p:cNvPr>
          <p:cNvSpPr>
            <a:spLocks noGrp="1"/>
          </p:cNvSpPr>
          <p:nvPr>
            <p:ph type="title"/>
          </p:nvPr>
        </p:nvSpPr>
        <p:spPr/>
        <p:txBody>
          <a:bodyPr vert="horz"/>
          <a:lstStyle/>
          <a:p>
            <a:r>
              <a:rPr kumimoji="1" lang="ja-JP" altLang="en-US"/>
              <a:t>２</a:t>
            </a:r>
            <a:r>
              <a:rPr kumimoji="1" lang="en-US" altLang="ja-JP"/>
              <a:t>.</a:t>
            </a:r>
            <a:r>
              <a:rPr lang="ja-JP" altLang="en-US"/>
              <a:t>事業の推進体制</a:t>
            </a:r>
            <a:endParaRPr kumimoji="1" lang="ja-JP" altLang="en-US"/>
          </a:p>
        </p:txBody>
      </p:sp>
      <p:graphicFrame>
        <p:nvGraphicFramePr>
          <p:cNvPr id="6" name="表 7">
            <a:extLst>
              <a:ext uri="{FF2B5EF4-FFF2-40B4-BE49-F238E27FC236}">
                <a16:creationId xmlns:a16="http://schemas.microsoft.com/office/drawing/2014/main" id="{1AC735CC-12F1-C6D2-FB98-42B302ECAD5B}"/>
              </a:ext>
            </a:extLst>
          </p:cNvPr>
          <p:cNvGraphicFramePr>
            <a:graphicFrameLocks noGrp="1"/>
          </p:cNvGraphicFramePr>
          <p:nvPr>
            <p:extLst>
              <p:ext uri="{D42A27DB-BD31-4B8C-83A1-F6EECF244321}">
                <p14:modId xmlns:p14="http://schemas.microsoft.com/office/powerpoint/2010/main" val="3477279758"/>
              </p:ext>
            </p:extLst>
          </p:nvPr>
        </p:nvGraphicFramePr>
        <p:xfrm>
          <a:off x="300779" y="1847524"/>
          <a:ext cx="11604626" cy="2141385"/>
        </p:xfrm>
        <a:graphic>
          <a:graphicData uri="http://schemas.openxmlformats.org/drawingml/2006/table">
            <a:tbl>
              <a:tblPr>
                <a:tableStyleId>{5C22544A-7EE6-4342-B048-85BDC9FD1C3A}</a:tableStyleId>
              </a:tblPr>
              <a:tblGrid>
                <a:gridCol w="5807500">
                  <a:extLst>
                    <a:ext uri="{9D8B030D-6E8A-4147-A177-3AD203B41FA5}">
                      <a16:colId xmlns:a16="http://schemas.microsoft.com/office/drawing/2014/main" val="564283603"/>
                    </a:ext>
                  </a:extLst>
                </a:gridCol>
                <a:gridCol w="5797126">
                  <a:extLst>
                    <a:ext uri="{9D8B030D-6E8A-4147-A177-3AD203B41FA5}">
                      <a16:colId xmlns:a16="http://schemas.microsoft.com/office/drawing/2014/main" val="1942113200"/>
                    </a:ext>
                  </a:extLst>
                </a:gridCol>
              </a:tblGrid>
              <a:tr h="404025">
                <a:tc>
                  <a:txBody>
                    <a:bodyPr/>
                    <a:lstStyle/>
                    <a:p>
                      <a:r>
                        <a:rPr kumimoji="1" lang="ja-JP" altLang="en-US" sz="1400" b="1">
                          <a:latin typeface="+mn-ea"/>
                          <a:ea typeface="+mn-ea"/>
                        </a:rPr>
                        <a:t>関係者（名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400" b="1">
                          <a:latin typeface="+mn-ea"/>
                          <a:ea typeface="+mn-ea"/>
                        </a:rPr>
                        <a:t>役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434340">
                <a:tc>
                  <a:txBody>
                    <a:bodyPr/>
                    <a:lstStyle/>
                    <a:p>
                      <a:r>
                        <a:rPr kumimoji="1" lang="en-US" altLang="ja-JP" sz="1400">
                          <a:solidFill>
                            <a:srgbClr val="0070C0"/>
                          </a:solidFill>
                          <a:latin typeface="+mn-ea"/>
                          <a:ea typeface="+mn-ea"/>
                        </a:rPr>
                        <a:t>AA</a:t>
                      </a:r>
                      <a:r>
                        <a:rPr kumimoji="1" lang="ja-JP" altLang="en-US" sz="140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全体統括</a:t>
                      </a:r>
                      <a:endParaRPr kumimoji="1" lang="en-US" altLang="ja-JP"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a:solidFill>
                            <a:srgbClr val="0070C0"/>
                          </a:solidFill>
                          <a:latin typeface="+mn-ea"/>
                          <a:ea typeface="+mn-ea"/>
                        </a:rPr>
                        <a:t>BB</a:t>
                      </a:r>
                      <a:r>
                        <a:rPr kumimoji="1" lang="ja-JP" altLang="en-US" sz="1400">
                          <a:solidFill>
                            <a:srgbClr val="0070C0"/>
                          </a:solidFill>
                          <a:latin typeface="+mn-ea"/>
                          <a:ea typeface="+mn-ea"/>
                        </a:rPr>
                        <a:t>市（交通企画課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地域交通計画の改訂作業</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434340">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bl>
          </a:graphicData>
        </a:graphic>
      </p:graphicFrame>
      <p:sp>
        <p:nvSpPr>
          <p:cNvPr id="7" name="テキスト ボックス 6">
            <a:extLst>
              <a:ext uri="{FF2B5EF4-FFF2-40B4-BE49-F238E27FC236}">
                <a16:creationId xmlns:a16="http://schemas.microsoft.com/office/drawing/2014/main" id="{22EDA371-0AEA-5966-0D9B-D47542A057F7}"/>
              </a:ext>
            </a:extLst>
          </p:cNvPr>
          <p:cNvSpPr txBox="1"/>
          <p:nvPr/>
        </p:nvSpPr>
        <p:spPr>
          <a:xfrm>
            <a:off x="2920785" y="3841565"/>
            <a:ext cx="6135987" cy="107405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kern="0">
                <a:solidFill>
                  <a:srgbClr val="FFFFFF"/>
                </a:solidFill>
              </a:rPr>
              <a:t>政策</a:t>
            </a:r>
            <a:r>
              <a:rPr kumimoji="0" lang="ja-JP" altLang="en-US" sz="1400" b="0" i="0" u="none" strike="noStrike" kern="0" cap="none" spc="0" normalizeH="0" baseline="0" noProof="0">
                <a:ln>
                  <a:noFill/>
                </a:ln>
                <a:solidFill>
                  <a:srgbClr val="FFFFFF"/>
                </a:solidFill>
                <a:effectLst/>
                <a:uLnTx/>
                <a:uFillTx/>
              </a:rPr>
              <a:t>連携領域に関与する関係者を網羅的に特定し、役割を明確にしてください。​</a:t>
            </a:r>
          </a:p>
        </p:txBody>
      </p:sp>
    </p:spTree>
    <p:extLst>
      <p:ext uri="{BB962C8B-B14F-4D97-AF65-F5344CB8AC3E}">
        <p14:creationId xmlns:p14="http://schemas.microsoft.com/office/powerpoint/2010/main" val="30097453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31" name="図 30">
            <a:extLst>
              <a:ext uri="{FF2B5EF4-FFF2-40B4-BE49-F238E27FC236}">
                <a16:creationId xmlns:a16="http://schemas.microsoft.com/office/drawing/2014/main" id="{16020430-00B1-287F-A924-BAA06D233495}"/>
              </a:ext>
            </a:extLst>
          </p:cNvPr>
          <p:cNvPicPr>
            <a:picLocks noChangeAspect="1"/>
          </p:cNvPicPr>
          <p:nvPr/>
        </p:nvPicPr>
        <p:blipFill>
          <a:blip r:embed="rId3"/>
          <a:stretch>
            <a:fillRect/>
          </a:stretch>
        </p:blipFill>
        <p:spPr>
          <a:xfrm>
            <a:off x="2077459" y="1489767"/>
            <a:ext cx="6519604" cy="4925102"/>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a:xfrm>
            <a:off x="300779" y="215626"/>
            <a:ext cx="11376000" cy="415498"/>
          </a:xfrm>
        </p:spPr>
        <p:txBody>
          <a:bodyPr/>
          <a:lstStyle/>
          <a:p>
            <a:r>
              <a:rPr lang="en-US" altLang="ja-JP"/>
              <a:t>Ⅳ.</a:t>
            </a:r>
            <a:r>
              <a:rPr lang="ja-JP" altLang="en-US"/>
              <a:t>政策連携</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３</a:t>
            </a:r>
            <a:r>
              <a:rPr lang="en-US" altLang="ja-JP"/>
              <a:t>.</a:t>
            </a:r>
            <a:r>
              <a:rPr lang="ja-JP" altLang="en-US"/>
              <a:t>アーキテクチャ全体図</a:t>
            </a:r>
            <a:r>
              <a:rPr lang="en-US" altLang="ja-JP" sz="2400"/>
              <a:t>-</a:t>
            </a:r>
            <a:r>
              <a:rPr lang="ja-JP" altLang="en-US" sz="2400"/>
              <a:t>システムアーキテクチャ図</a:t>
            </a:r>
            <a:r>
              <a:rPr lang="en-US" altLang="ja-JP" sz="2400"/>
              <a:t>-</a:t>
            </a:r>
            <a:endParaRPr lang="ja-JP" altLang="en-US" sz="2800"/>
          </a:p>
        </p:txBody>
      </p:sp>
      <p:sp>
        <p:nvSpPr>
          <p:cNvPr id="4" name="テキスト ボックス 3">
            <a:extLst>
              <a:ext uri="{FF2B5EF4-FFF2-40B4-BE49-F238E27FC236}">
                <a16:creationId xmlns:a16="http://schemas.microsoft.com/office/drawing/2014/main" id="{2D0F773D-7F31-6F9D-4700-F8F75C3164F8}"/>
              </a:ext>
            </a:extLst>
          </p:cNvPr>
          <p:cNvSpPr txBox="1"/>
          <p:nvPr/>
        </p:nvSpPr>
        <p:spPr>
          <a:xfrm>
            <a:off x="2920785" y="2759484"/>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該当あれば</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の構造を視覚的に示し、各コンポーネントの相互関係を明確にするため、システム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機能モジュールとそのインターフェスを処理フローに従って定義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要件定義を見据え、必要な機能モジュールの定義・分割と</a:t>
            </a:r>
            <a:r>
              <a:rPr kumimoji="0" lang="en-US" altLang="ja-JP" sz="1400" b="0" i="0" u="none" strike="noStrike" kern="0" cap="none" spc="0" normalizeH="0" baseline="0" noProof="0">
                <a:ln>
                  <a:noFill/>
                </a:ln>
                <a:solidFill>
                  <a:srgbClr val="FFFFFF"/>
                </a:solidFill>
                <a:effectLst/>
                <a:uLnTx/>
                <a:uFillTx/>
              </a:rPr>
              <a:t>ID</a:t>
            </a:r>
            <a:r>
              <a:rPr kumimoji="0" lang="ja-JP" altLang="en-US" sz="1400" b="0" i="0" u="none" strike="noStrike" kern="0" cap="none" spc="0" normalizeH="0" baseline="0" noProof="0">
                <a:ln>
                  <a:noFill/>
                </a:ln>
                <a:solidFill>
                  <a:srgbClr val="FFFFFF"/>
                </a:solidFill>
                <a:effectLst/>
                <a:uLnTx/>
                <a:uFillTx/>
              </a:rPr>
              <a:t>付与、フルスクラッチ、</a:t>
            </a:r>
            <a:r>
              <a:rPr kumimoji="0" lang="en-US" altLang="ja-JP" sz="1400" b="0" i="0" u="none" strike="noStrike" kern="0" cap="none" spc="0" normalizeH="0" baseline="0" noProof="0">
                <a:ln>
                  <a:noFill/>
                </a:ln>
                <a:solidFill>
                  <a:srgbClr val="FFFFFF"/>
                </a:solidFill>
                <a:effectLst/>
                <a:uLnTx/>
                <a:uFillTx/>
              </a:rPr>
              <a:t>SaaS</a:t>
            </a:r>
            <a:r>
              <a:rPr kumimoji="0" lang="ja-JP" altLang="en-US" sz="1400" b="0" i="0" u="none" strike="noStrike" kern="0" cap="none" spc="0" normalizeH="0" baseline="0" noProof="0">
                <a:ln>
                  <a:noFill/>
                </a:ln>
                <a:solidFill>
                  <a:srgbClr val="FFFFFF"/>
                </a:solidFill>
                <a:effectLst/>
                <a:uLnTx/>
                <a:uFillTx/>
              </a:rPr>
              <a:t>利用、外部</a:t>
            </a:r>
            <a:r>
              <a:rPr kumimoji="0" lang="en-US" altLang="ja-JP" sz="1400" b="0" i="0" u="none" strike="noStrike" kern="0" cap="none" spc="0" normalizeH="0" baseline="0" noProof="0">
                <a:ln>
                  <a:noFill/>
                </a:ln>
                <a:solidFill>
                  <a:srgbClr val="FFFFFF"/>
                </a:solidFill>
                <a:effectLst/>
                <a:uLnTx/>
                <a:uFillTx/>
              </a:rPr>
              <a:t>API</a:t>
            </a:r>
            <a:r>
              <a:rPr kumimoji="0" lang="ja-JP" altLang="en-US" sz="1400" b="0" i="0" u="none" strike="noStrike" kern="0" cap="none" spc="0" normalizeH="0" baseline="0" noProof="0">
                <a:ln>
                  <a:noFill/>
                </a:ln>
                <a:solidFill>
                  <a:srgbClr val="FFFFFF"/>
                </a:solidFill>
                <a:effectLst/>
                <a:uLnTx/>
                <a:uFillTx/>
              </a:rPr>
              <a:t>利用などの区別など、可能な限り詳細な粒度で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右下の凡例を参考に作成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利用及び開発を行わない場合は、その旨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grpSp>
        <p:nvGrpSpPr>
          <p:cNvPr id="7" name="グループ化 6">
            <a:extLst>
              <a:ext uri="{FF2B5EF4-FFF2-40B4-BE49-F238E27FC236}">
                <a16:creationId xmlns:a16="http://schemas.microsoft.com/office/drawing/2014/main" id="{52002093-DF50-FA02-BA5F-6BBF146BCA66}"/>
              </a:ext>
            </a:extLst>
          </p:cNvPr>
          <p:cNvGrpSpPr/>
          <p:nvPr/>
        </p:nvGrpSpPr>
        <p:grpSpPr>
          <a:xfrm>
            <a:off x="10081737" y="5038356"/>
            <a:ext cx="1630886" cy="1264098"/>
            <a:chOff x="10291234" y="5263193"/>
            <a:chExt cx="1530502" cy="1186290"/>
          </a:xfrm>
        </p:grpSpPr>
        <p:sp>
          <p:nvSpPr>
            <p:cNvPr id="8" name="四角形: 角を丸くする 7">
              <a:extLst>
                <a:ext uri="{FF2B5EF4-FFF2-40B4-BE49-F238E27FC236}">
                  <a16:creationId xmlns:a16="http://schemas.microsoft.com/office/drawing/2014/main" id="{FC1AB3A4-9382-A032-5903-9A510E8475E3}"/>
                </a:ext>
              </a:extLst>
            </p:cNvPr>
            <p:cNvSpPr/>
            <p:nvPr/>
          </p:nvSpPr>
          <p:spPr>
            <a:xfrm>
              <a:off x="10291234" y="5263193"/>
              <a:ext cx="1530502" cy="1186290"/>
            </a:xfrm>
            <a:prstGeom prst="roundRect">
              <a:avLst>
                <a:gd name="adj" fmla="val 3180"/>
              </a:avLst>
            </a:prstGeom>
            <a:noFill/>
            <a:ln w="12700" cap="flat" cmpd="sng" algn="ctr">
              <a:solidFill>
                <a:srgbClr val="636163"/>
              </a:solid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nvGrpSpPr>
            <p:cNvPr id="10" name="グループ化 9">
              <a:extLst>
                <a:ext uri="{FF2B5EF4-FFF2-40B4-BE49-F238E27FC236}">
                  <a16:creationId xmlns:a16="http://schemas.microsoft.com/office/drawing/2014/main" id="{B738998B-D1C7-4DA0-CFF5-9A123E597911}"/>
                </a:ext>
              </a:extLst>
            </p:cNvPr>
            <p:cNvGrpSpPr/>
            <p:nvPr/>
          </p:nvGrpSpPr>
          <p:grpSpPr>
            <a:xfrm>
              <a:off x="10446248" y="5791146"/>
              <a:ext cx="1327938" cy="260466"/>
              <a:chOff x="10692611" y="5304251"/>
              <a:chExt cx="1327938" cy="260466"/>
            </a:xfrm>
          </p:grpSpPr>
          <p:pic>
            <p:nvPicPr>
              <p:cNvPr id="20" name="Picture 2">
                <a:extLst>
                  <a:ext uri="{FF2B5EF4-FFF2-40B4-BE49-F238E27FC236}">
                    <a16:creationId xmlns:a16="http://schemas.microsoft.com/office/drawing/2014/main" id="{5F251E6C-56B2-4EEE-259F-0A6F4F938D4F}"/>
                  </a:ext>
                </a:extLst>
              </p:cNvPr>
              <p:cNvPicPr>
                <a:picLocks noChangeAspect="1" noChangeArrowheads="1"/>
              </p:cNvPicPr>
              <p:nvPr/>
            </p:nvPicPr>
            <p:blipFill>
              <a:blip r:embed="rId6">
                <a:extLst>
                  <a:ext uri="{96DAC541-7B7A-43D3-8B79-37D633B846F1}">
                    <asvg:svgBlip xmlns:asvg="http://schemas.microsoft.com/office/drawing/2016/SVG/main" r:embed="rId7"/>
                  </a:ext>
                </a:extLst>
              </a:blip>
              <a:srcRect l="271" r="271"/>
              <a:stretch/>
            </p:blipFill>
            <p:spPr bwMode="auto">
              <a:xfrm>
                <a:off x="10692611" y="5304251"/>
                <a:ext cx="259054" cy="260466"/>
              </a:xfrm>
              <a:prstGeom prst="rect">
                <a:avLst/>
              </a:prstGeom>
              <a:noFill/>
            </p:spPr>
          </p:pic>
          <p:sp>
            <p:nvSpPr>
              <p:cNvPr id="21" name="テキスト ボックス 20">
                <a:extLst>
                  <a:ext uri="{FF2B5EF4-FFF2-40B4-BE49-F238E27FC236}">
                    <a16:creationId xmlns:a16="http://schemas.microsoft.com/office/drawing/2014/main" id="{2795B796-42AA-2A86-F5EC-F78EB5494350}"/>
                  </a:ext>
                </a:extLst>
              </p:cNvPr>
              <p:cNvSpPr txBox="1"/>
              <p:nvPr/>
            </p:nvSpPr>
            <p:spPr>
              <a:xfrm>
                <a:off x="11006912" y="5350898"/>
                <a:ext cx="1013637"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システム</a:t>
                </a:r>
                <a:r>
                  <a:rPr kumimoji="0" lang="en-US" altLang="ja-JP" sz="800" kern="0">
                    <a:solidFill>
                      <a:srgbClr val="000000"/>
                    </a:solidFill>
                    <a:latin typeface="Noto Sans CJK JP"/>
                  </a:rPr>
                  <a:t>/</a:t>
                </a:r>
                <a:r>
                  <a:rPr kumimoji="0" lang="ja-JP" altLang="en-US" sz="800" kern="0">
                    <a:solidFill>
                      <a:srgbClr val="000000"/>
                    </a:solidFill>
                    <a:latin typeface="Noto Sans CJK JP"/>
                  </a:rPr>
                  <a:t>ライブラリ</a:t>
                </a:r>
                <a:r>
                  <a:rPr kumimoji="0" lang="en-US" altLang="ja-JP" sz="800" kern="0">
                    <a:solidFill>
                      <a:srgbClr val="000000"/>
                    </a:solidFill>
                    <a:latin typeface="Noto Sans CJK JP"/>
                  </a:rPr>
                  <a:t>/SaaS</a:t>
                </a:r>
              </a:p>
            </p:txBody>
          </p:sp>
        </p:grpSp>
        <p:grpSp>
          <p:nvGrpSpPr>
            <p:cNvPr id="11" name="グループ化 10">
              <a:extLst>
                <a:ext uri="{FF2B5EF4-FFF2-40B4-BE49-F238E27FC236}">
                  <a16:creationId xmlns:a16="http://schemas.microsoft.com/office/drawing/2014/main" id="{F9A3E8B6-D4F7-9975-8B59-D2F396C06F28}"/>
                </a:ext>
              </a:extLst>
            </p:cNvPr>
            <p:cNvGrpSpPr/>
            <p:nvPr/>
          </p:nvGrpSpPr>
          <p:grpSpPr>
            <a:xfrm>
              <a:off x="10446248" y="6114053"/>
              <a:ext cx="1145906" cy="260466"/>
              <a:chOff x="10692611" y="5591252"/>
              <a:chExt cx="1145906" cy="260466"/>
            </a:xfrm>
          </p:grpSpPr>
          <p:pic>
            <p:nvPicPr>
              <p:cNvPr id="18" name="Picture 2">
                <a:extLst>
                  <a:ext uri="{FF2B5EF4-FFF2-40B4-BE49-F238E27FC236}">
                    <a16:creationId xmlns:a16="http://schemas.microsoft.com/office/drawing/2014/main" id="{2507B095-8B76-5E1D-3144-5AC3E998E4FB}"/>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l="271" r="271"/>
              <a:stretch/>
            </p:blipFill>
            <p:spPr bwMode="auto">
              <a:xfrm>
                <a:off x="10692611" y="5591252"/>
                <a:ext cx="259054" cy="260466"/>
              </a:xfrm>
              <a:prstGeom prst="rect">
                <a:avLst/>
              </a:prstGeom>
              <a:noFill/>
              <a:extLst>
                <a:ext uri="{909E8E84-426E-40DD-AFC4-6F175D3DCCD1}">
                  <a14:hiddenFill xmlns:a14="http://schemas.microsoft.com/office/drawing/2010/main">
                    <a:solidFill>
                      <a:srgbClr val="FFFFFF"/>
                    </a:solidFill>
                  </a14:hiddenFill>
                </a:ext>
              </a:extLst>
            </p:spPr>
          </p:pic>
          <p:sp>
            <p:nvSpPr>
              <p:cNvPr id="19" name="テキスト ボックス 18">
                <a:extLst>
                  <a:ext uri="{FF2B5EF4-FFF2-40B4-BE49-F238E27FC236}">
                    <a16:creationId xmlns:a16="http://schemas.microsoft.com/office/drawing/2014/main" id="{46CA9831-E830-18A4-36D3-B1CB18F4532A}"/>
                  </a:ext>
                </a:extLst>
              </p:cNvPr>
              <p:cNvSpPr txBox="1"/>
              <p:nvPr/>
            </p:nvSpPr>
            <p:spPr>
              <a:xfrm>
                <a:off x="11006913" y="5637899"/>
                <a:ext cx="831604" cy="175245"/>
              </a:xfrm>
              <a:prstGeom prst="rect">
                <a:avLst/>
              </a:prstGeom>
              <a:noFill/>
            </p:spPr>
            <p:txBody>
              <a:bodyPr wrap="square" lIns="36000" tIns="0" rIns="36000" bIns="0" rtlCol="0" anchor="ctr">
                <a:noAutofit/>
              </a:bodyPr>
              <a:lstStyle/>
              <a:p>
                <a:pPr>
                  <a:defRPr/>
                </a:pPr>
                <a:r>
                  <a:rPr kumimoji="0" lang="ja-JP" altLang="en-US" sz="800" kern="0">
                    <a:solidFill>
                      <a:srgbClr val="000000"/>
                    </a:solidFill>
                    <a:latin typeface="Noto Sans CJK JP"/>
                  </a:rPr>
                  <a:t>アルゴリズム</a:t>
                </a:r>
                <a:endParaRPr kumimoji="0" lang="en-US" altLang="ja-JP" sz="800" kern="0">
                  <a:solidFill>
                    <a:srgbClr val="000000"/>
                  </a:solidFill>
                  <a:latin typeface="Noto Sans CJK JP"/>
                </a:endParaRPr>
              </a:p>
            </p:txBody>
          </p:sp>
        </p:grpSp>
        <p:grpSp>
          <p:nvGrpSpPr>
            <p:cNvPr id="12" name="グループ化 11">
              <a:extLst>
                <a:ext uri="{FF2B5EF4-FFF2-40B4-BE49-F238E27FC236}">
                  <a16:creationId xmlns:a16="http://schemas.microsoft.com/office/drawing/2014/main" id="{F1638528-25FC-34FB-615D-AC43812FAD07}"/>
                </a:ext>
              </a:extLst>
            </p:cNvPr>
            <p:cNvGrpSpPr/>
            <p:nvPr/>
          </p:nvGrpSpPr>
          <p:grpSpPr>
            <a:xfrm>
              <a:off x="10451931" y="5553460"/>
              <a:ext cx="1336838" cy="175245"/>
              <a:chOff x="10698295" y="5102471"/>
              <a:chExt cx="1604126" cy="175245"/>
            </a:xfrm>
          </p:grpSpPr>
          <p:sp>
            <p:nvSpPr>
              <p:cNvPr id="16" name="テキスト ボックス 15">
                <a:extLst>
                  <a:ext uri="{FF2B5EF4-FFF2-40B4-BE49-F238E27FC236}">
                    <a16:creationId xmlns:a16="http://schemas.microsoft.com/office/drawing/2014/main" id="{47DA8D64-CEC9-1F56-B9E9-35C546FFCD9E}"/>
                  </a:ext>
                </a:extLst>
              </p:cNvPr>
              <p:cNvSpPr txBox="1"/>
              <p:nvPr/>
            </p:nvSpPr>
            <p:spPr>
              <a:xfrm>
                <a:off x="11098283" y="5102471"/>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7EBE9A"/>
                    </a:solidFill>
                    <a:latin typeface="Noto Sans CJK JP"/>
                  </a:rPr>
                  <a:t>フルスクラッチ開発</a:t>
                </a:r>
                <a:endParaRPr kumimoji="0" lang="en-US" altLang="ja-JP" sz="800" kern="0">
                  <a:solidFill>
                    <a:srgbClr val="7EBE9A"/>
                  </a:solidFill>
                  <a:latin typeface="Noto Sans CJK JP"/>
                </a:endParaRPr>
              </a:p>
            </p:txBody>
          </p:sp>
          <p:sp>
            <p:nvSpPr>
              <p:cNvPr id="17" name="四角形: 角を丸くする 16">
                <a:extLst>
                  <a:ext uri="{FF2B5EF4-FFF2-40B4-BE49-F238E27FC236}">
                    <a16:creationId xmlns:a16="http://schemas.microsoft.com/office/drawing/2014/main" id="{2C56FA59-6C77-7FC1-AD1B-BBB66647627D}"/>
                  </a:ext>
                </a:extLst>
              </p:cNvPr>
              <p:cNvSpPr/>
              <p:nvPr/>
            </p:nvSpPr>
            <p:spPr>
              <a:xfrm>
                <a:off x="10698295" y="5164955"/>
                <a:ext cx="247686" cy="75595"/>
              </a:xfrm>
              <a:prstGeom prst="roundRect">
                <a:avLst/>
              </a:prstGeom>
              <a:solidFill>
                <a:srgbClr val="7EBE9A"/>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nvGrpSpPr>
            <p:cNvPr id="13" name="グループ化 12">
              <a:extLst>
                <a:ext uri="{FF2B5EF4-FFF2-40B4-BE49-F238E27FC236}">
                  <a16:creationId xmlns:a16="http://schemas.microsoft.com/office/drawing/2014/main" id="{0C48BC36-F017-A7FD-EFE5-3DD062E75EDB}"/>
                </a:ext>
              </a:extLst>
            </p:cNvPr>
            <p:cNvGrpSpPr/>
            <p:nvPr/>
          </p:nvGrpSpPr>
          <p:grpSpPr>
            <a:xfrm>
              <a:off x="10451932" y="5315774"/>
              <a:ext cx="1317183" cy="175245"/>
              <a:chOff x="10698295" y="4792973"/>
              <a:chExt cx="1580541" cy="175245"/>
            </a:xfrm>
          </p:grpSpPr>
          <p:sp>
            <p:nvSpPr>
              <p:cNvPr id="14" name="テキスト ボックス 13">
                <a:extLst>
                  <a:ext uri="{FF2B5EF4-FFF2-40B4-BE49-F238E27FC236}">
                    <a16:creationId xmlns:a16="http://schemas.microsoft.com/office/drawing/2014/main" id="{5C0D0E8C-3811-F6B0-69BB-69EE7E33FC74}"/>
                  </a:ext>
                </a:extLst>
              </p:cNvPr>
              <p:cNvSpPr txBox="1"/>
              <p:nvPr/>
            </p:nvSpPr>
            <p:spPr>
              <a:xfrm>
                <a:off x="11074698" y="4792973"/>
                <a:ext cx="1204138" cy="175245"/>
              </a:xfrm>
              <a:prstGeom prst="rect">
                <a:avLst/>
              </a:prstGeom>
              <a:noFill/>
            </p:spPr>
            <p:txBody>
              <a:bodyPr wrap="square" lIns="36000" tIns="0" rIns="36000" bIns="0" rtlCol="0" anchor="ctr">
                <a:noAutofit/>
              </a:bodyPr>
              <a:lstStyle/>
              <a:p>
                <a:pPr>
                  <a:defRPr/>
                </a:pPr>
                <a:r>
                  <a:rPr kumimoji="0" lang="ja-JP" altLang="en-US" sz="800" kern="0">
                    <a:solidFill>
                      <a:srgbClr val="F3817B"/>
                    </a:solidFill>
                    <a:latin typeface="Noto Sans CJK JP"/>
                  </a:rPr>
                  <a:t>既存モジュールの改修</a:t>
                </a:r>
                <a:endParaRPr kumimoji="0" lang="en-US" altLang="ja-JP" sz="800" kern="0">
                  <a:solidFill>
                    <a:srgbClr val="F3817B"/>
                  </a:solidFill>
                  <a:latin typeface="Noto Sans CJK JP"/>
                </a:endParaRPr>
              </a:p>
            </p:txBody>
          </p:sp>
          <p:sp>
            <p:nvSpPr>
              <p:cNvPr id="15" name="四角形: 角を丸くする 14">
                <a:extLst>
                  <a:ext uri="{FF2B5EF4-FFF2-40B4-BE49-F238E27FC236}">
                    <a16:creationId xmlns:a16="http://schemas.microsoft.com/office/drawing/2014/main" id="{96FB319F-2503-4EE3-8CBC-47A4CDE48CA8}"/>
                  </a:ext>
                </a:extLst>
              </p:cNvPr>
              <p:cNvSpPr/>
              <p:nvPr/>
            </p:nvSpPr>
            <p:spPr>
              <a:xfrm>
                <a:off x="10698295" y="4848448"/>
                <a:ext cx="247686" cy="75595"/>
              </a:xfrm>
              <a:prstGeom prst="roundRect">
                <a:avLst/>
              </a:prstGeom>
              <a:solidFill>
                <a:srgbClr val="F3817B"/>
              </a:solidFill>
              <a:ln w="25400" cap="flat" cmpd="sng" algn="ctr">
                <a:noFill/>
                <a:prstDash val="solid"/>
              </a:ln>
              <a:effectLst/>
            </p:spPr>
            <p:txBody>
              <a:bodyPr rtlCol="0" anchor="ctr"/>
              <a:lstStyle/>
              <a:p>
                <a:pPr algn="ctr">
                  <a:defRPr/>
                </a:pPr>
                <a:endParaRPr kumimoji="0" lang="ja-JP" altLang="en-US" sz="2400" kern="0">
                  <a:solidFill>
                    <a:srgbClr val="FFFFFF"/>
                  </a:solidFill>
                  <a:latin typeface="Noto Sans CJK JP"/>
                </a:endParaRPr>
              </a:p>
            </p:txBody>
          </p:sp>
        </p:grpSp>
      </p:grpSp>
    </p:spTree>
    <p:extLst>
      <p:ext uri="{BB962C8B-B14F-4D97-AF65-F5344CB8AC3E}">
        <p14:creationId xmlns:p14="http://schemas.microsoft.com/office/powerpoint/2010/main" val="134381434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235315-9C48-DA83-F90B-A60269B5EF7B}"/>
            </a:ext>
          </a:extLst>
        </p:cNvPr>
        <p:cNvGrpSpPr/>
        <p:nvPr/>
      </p:nvGrpSpPr>
      <p:grpSpPr>
        <a:xfrm>
          <a:off x="0" y="0"/>
          <a:ext cx="0" cy="0"/>
          <a:chOff x="0" y="0"/>
          <a:chExt cx="0" cy="0"/>
        </a:xfrm>
      </p:grpSpPr>
      <p:pic>
        <p:nvPicPr>
          <p:cNvPr id="14" name="図 13">
            <a:extLst>
              <a:ext uri="{FF2B5EF4-FFF2-40B4-BE49-F238E27FC236}">
                <a16:creationId xmlns:a16="http://schemas.microsoft.com/office/drawing/2014/main" id="{14F881AA-A9DD-5D4C-6B41-DC64E37C5F31}"/>
              </a:ext>
            </a:extLst>
          </p:cNvPr>
          <p:cNvPicPr>
            <a:picLocks noChangeAspect="1"/>
          </p:cNvPicPr>
          <p:nvPr/>
        </p:nvPicPr>
        <p:blipFill>
          <a:blip r:embed="rId3"/>
          <a:stretch>
            <a:fillRect/>
          </a:stretch>
        </p:blipFill>
        <p:spPr>
          <a:xfrm>
            <a:off x="1527382" y="1582517"/>
            <a:ext cx="9137236" cy="3692966"/>
          </a:xfrm>
          <a:prstGeom prst="rect">
            <a:avLst/>
          </a:prstGeom>
        </p:spPr>
      </p:pic>
      <p:graphicFrame>
        <p:nvGraphicFramePr>
          <p:cNvPr id="5" name="オブジェクト 4" hidden="1">
            <a:extLst>
              <a:ext uri="{FF2B5EF4-FFF2-40B4-BE49-F238E27FC236}">
                <a16:creationId xmlns:a16="http://schemas.microsoft.com/office/drawing/2014/main" id="{84E354F3-1957-AAC3-B43F-BEDAC47C5BC8}"/>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84E354F3-1957-AAC3-B43F-BEDAC47C5BC8}"/>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6" name="テキスト プレースホルダー 5">
            <a:extLst>
              <a:ext uri="{FF2B5EF4-FFF2-40B4-BE49-F238E27FC236}">
                <a16:creationId xmlns:a16="http://schemas.microsoft.com/office/drawing/2014/main" id="{71206BDE-1A08-08E6-655E-57D44EBA924B}"/>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2" name="テキスト プレースホルダー 1">
            <a:extLst>
              <a:ext uri="{FF2B5EF4-FFF2-40B4-BE49-F238E27FC236}">
                <a16:creationId xmlns:a16="http://schemas.microsoft.com/office/drawing/2014/main" id="{CBF10691-58CC-75D5-EA23-B36D933D90D3}"/>
              </a:ext>
            </a:extLst>
          </p:cNvPr>
          <p:cNvSpPr>
            <a:spLocks noGrp="1"/>
          </p:cNvSpPr>
          <p:nvPr>
            <p:ph type="body" sz="quarter" idx="36"/>
          </p:nvPr>
        </p:nvSpPr>
        <p:spPr/>
        <p:txBody>
          <a:bodyPr/>
          <a:lstStyle/>
          <a:p>
            <a:r>
              <a:rPr lang="en-US" altLang="ja-JP"/>
              <a:t>Ⅳ.</a:t>
            </a:r>
            <a:r>
              <a:rPr lang="ja-JP" altLang="en-US"/>
              <a:t>政策連携</a:t>
            </a:r>
          </a:p>
        </p:txBody>
      </p:sp>
      <p:sp>
        <p:nvSpPr>
          <p:cNvPr id="9" name="タイトル 8">
            <a:extLst>
              <a:ext uri="{FF2B5EF4-FFF2-40B4-BE49-F238E27FC236}">
                <a16:creationId xmlns:a16="http://schemas.microsoft.com/office/drawing/2014/main" id="{F7DA7227-3724-60C8-1F06-5A8A2F4AF1F8}"/>
              </a:ext>
            </a:extLst>
          </p:cNvPr>
          <p:cNvSpPr>
            <a:spLocks noGrp="1"/>
          </p:cNvSpPr>
          <p:nvPr>
            <p:ph type="title"/>
          </p:nvPr>
        </p:nvSpPr>
        <p:spPr/>
        <p:txBody>
          <a:bodyPr vert="horz"/>
          <a:lstStyle/>
          <a:p>
            <a:r>
              <a:rPr lang="ja-JP" altLang="en-US"/>
              <a:t>４</a:t>
            </a:r>
            <a:r>
              <a:rPr lang="en-US" altLang="ja-JP"/>
              <a:t>.</a:t>
            </a:r>
            <a:r>
              <a:rPr lang="ja-JP" altLang="en-US"/>
              <a:t> ハードウェアアーキテクチャ</a:t>
            </a:r>
            <a:endParaRPr lang="ja-JP" altLang="en-US" sz="2800"/>
          </a:p>
        </p:txBody>
      </p:sp>
      <p:sp>
        <p:nvSpPr>
          <p:cNvPr id="7" name="テキスト ボックス 6">
            <a:extLst>
              <a:ext uri="{FF2B5EF4-FFF2-40B4-BE49-F238E27FC236}">
                <a16:creationId xmlns:a16="http://schemas.microsoft.com/office/drawing/2014/main" id="{753EDDE2-9BD8-2942-AFF5-CB0966A2B583}"/>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a:spcBef>
                <a:spcPts val="300"/>
              </a:spcBef>
              <a:defRPr/>
            </a:pPr>
            <a:r>
              <a:rPr kumimoji="0" lang="en-US" altLang="ja-JP" sz="1400" b="0" i="0" u="none" strike="noStrike" kern="0" cap="none" spc="0" normalizeH="0" baseline="0" noProof="0">
                <a:ln>
                  <a:noFill/>
                </a:ln>
                <a:solidFill>
                  <a:srgbClr val="FFFFFF"/>
                </a:solidFill>
                <a:effectLst/>
                <a:uLnTx/>
                <a:uFillTx/>
              </a:rPr>
              <a:t>※</a:t>
            </a:r>
            <a:r>
              <a:rPr kumimoji="0" lang="ja-JP" altLang="en-US" sz="1400" b="0" i="0" u="none" strike="noStrike" kern="0" cap="none" spc="0" normalizeH="0" baseline="0" noProof="0">
                <a:ln>
                  <a:noFill/>
                </a:ln>
                <a:solidFill>
                  <a:srgbClr val="FFFFFF"/>
                </a:solidFill>
                <a:effectLst/>
                <a:uLnTx/>
                <a:uFillTx/>
              </a:rPr>
              <a:t>該当あれば</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システム全体において稼働するデバイスやインフラを把握するため、ハードウェアアーキテクチャを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特に</a:t>
            </a:r>
            <a:r>
              <a:rPr kumimoji="0" lang="en-US" altLang="ja-JP" sz="1400" b="0" i="0" u="none" strike="noStrike" kern="0" cap="none" spc="0" normalizeH="0" baseline="0" noProof="0">
                <a:ln>
                  <a:noFill/>
                </a:ln>
                <a:solidFill>
                  <a:srgbClr val="FFFFFF"/>
                </a:solidFill>
                <a:effectLst/>
                <a:uLnTx/>
                <a:uFillTx/>
              </a:rPr>
              <a:t>IaaS</a:t>
            </a:r>
            <a:r>
              <a:rPr kumimoji="0" lang="ja-JP" altLang="en-US" sz="1400" b="0" i="0" u="none" strike="noStrike" kern="0" cap="none" spc="0" normalizeH="0" baseline="0" noProof="0">
                <a:ln>
                  <a:noFill/>
                </a:ln>
                <a:solidFill>
                  <a:srgbClr val="FFFFFF"/>
                </a:solidFill>
                <a:effectLst/>
                <a:uLnTx/>
                <a:uFillTx/>
              </a:rPr>
              <a:t>や</a:t>
            </a:r>
            <a:r>
              <a:rPr kumimoji="0" lang="en-US" altLang="ja-JP" sz="1400" b="0" i="0" u="none" strike="noStrike" kern="0" cap="none" spc="0" normalizeH="0" baseline="0" noProof="0">
                <a:ln>
                  <a:noFill/>
                </a:ln>
                <a:solidFill>
                  <a:srgbClr val="FFFFFF"/>
                </a:solidFill>
                <a:effectLst/>
                <a:uLnTx/>
                <a:uFillTx/>
              </a:rPr>
              <a:t>PaaS</a:t>
            </a:r>
            <a:r>
              <a:rPr kumimoji="0" lang="ja-JP" altLang="en-US" sz="1400" b="0" i="0" u="none" strike="noStrike" kern="0" cap="none" spc="0" normalizeH="0" baseline="0" noProof="0">
                <a:ln>
                  <a:noFill/>
                </a:ln>
                <a:solidFill>
                  <a:srgbClr val="FFFFFF"/>
                </a:solidFill>
                <a:effectLst/>
                <a:uLnTx/>
                <a:uFillTx/>
              </a:rPr>
              <a:t>など外部クラウドサーバを利用する場合、利用するコンポーネント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デバイス（改札機や認証端末など）と接続する場合などは、デバイスの製品名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また画像はサンプルです。提出時に削除してください。</a:t>
            </a:r>
          </a:p>
        </p:txBody>
      </p:sp>
    </p:spTree>
    <p:extLst>
      <p:ext uri="{BB962C8B-B14F-4D97-AF65-F5344CB8AC3E}">
        <p14:creationId xmlns:p14="http://schemas.microsoft.com/office/powerpoint/2010/main" val="15757856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9" name="正方形/長方形 8">
            <a:extLst>
              <a:ext uri="{FF2B5EF4-FFF2-40B4-BE49-F238E27FC236}">
                <a16:creationId xmlns:a16="http://schemas.microsoft.com/office/drawing/2014/main" id="{67FD600D-F712-D335-9DCD-5DDA57077E60}"/>
              </a:ext>
            </a:extLst>
          </p:cNvPr>
          <p:cNvSpPr/>
          <p:nvPr/>
        </p:nvSpPr>
        <p:spPr>
          <a:xfrm>
            <a:off x="7864732" y="1190303"/>
            <a:ext cx="4162427" cy="1021052"/>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3" name="正方形/長方形 2">
            <a:extLst>
              <a:ext uri="{FF2B5EF4-FFF2-40B4-BE49-F238E27FC236}">
                <a16:creationId xmlns:a16="http://schemas.microsoft.com/office/drawing/2014/main" id="{0128F88E-0CFC-C9DE-09E4-7F63FBD1B017}"/>
              </a:ext>
            </a:extLst>
          </p:cNvPr>
          <p:cNvSpPr/>
          <p:nvPr/>
        </p:nvSpPr>
        <p:spPr>
          <a:xfrm>
            <a:off x="150389" y="1286401"/>
            <a:ext cx="11876770" cy="5232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a:solidFill>
                  <a:srgbClr val="000000"/>
                </a:solidFill>
                <a:latin typeface="BIZ UDPゴシック"/>
                <a:ea typeface="BIZ UDPゴシック"/>
              </a:rPr>
              <a:t>KPI</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サービス全体像</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実証仮説</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スコープ詳細　</a:t>
            </a:r>
            <a:endParaRPr lang="en-US" altLang="ja-JP" sz="160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a:solidFill>
                  <a:srgbClr val="000000"/>
                </a:solidFill>
                <a:latin typeface="BIZ UDPゴシック"/>
                <a:ea typeface="BIZ UDPゴシック"/>
              </a:rPr>
              <a:t>データ活用の</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政策連携</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施内容の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スケジュール（</a:t>
            </a:r>
            <a:r>
              <a:rPr lang="en-US" altLang="ja-JP" sz="1600">
                <a:solidFill>
                  <a:srgbClr val="000000"/>
                </a:solidFill>
                <a:latin typeface="BIZ UDPゴシック"/>
                <a:ea typeface="BIZ UDPゴシック"/>
              </a:rPr>
              <a:t>WBS</a:t>
            </a:r>
            <a:r>
              <a:rPr lang="ja-JP" altLang="en-US" sz="1600">
                <a:solidFill>
                  <a:srgbClr val="000000"/>
                </a:solidFill>
                <a:latin typeface="BIZ UDPゴシック"/>
                <a:ea typeface="BIZ UDPゴシック"/>
              </a:rPr>
              <a:t>ガントチャー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プロジェクトのフロー</a:t>
            </a:r>
            <a:endParaRPr lang="en-US" altLang="ja-JP" sz="160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成果物</a:t>
            </a: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8726849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18A896CF-A1FA-6401-E928-F0D6723FDAA4}"/>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テキスト プレースホルダー 2">
            <a:extLst>
              <a:ext uri="{FF2B5EF4-FFF2-40B4-BE49-F238E27FC236}">
                <a16:creationId xmlns:a16="http://schemas.microsoft.com/office/drawing/2014/main" id="{70780FBB-7DBC-40F0-B7E0-775409B1875A}"/>
              </a:ext>
            </a:extLst>
          </p:cNvPr>
          <p:cNvSpPr>
            <a:spLocks noGrp="1"/>
          </p:cNvSpPr>
          <p:nvPr>
            <p:ph type="body" sz="quarter" idx="36"/>
          </p:nvPr>
        </p:nvSpPr>
        <p:spPr/>
        <p:txBody>
          <a:bodyPr/>
          <a:lstStyle/>
          <a:p>
            <a:r>
              <a:rPr lang="en-US" altLang="ja-JP"/>
              <a:t>Ⅴ.</a:t>
            </a:r>
            <a:r>
              <a:rPr lang="ja-JP" altLang="en-US"/>
              <a:t>スケジュール</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１</a:t>
            </a:r>
            <a:r>
              <a:rPr lang="en-US" altLang="ja-JP"/>
              <a:t>.</a:t>
            </a:r>
            <a:r>
              <a:rPr lang="ja-JP" altLang="en-US"/>
              <a:t>スケジュール（</a:t>
            </a:r>
            <a:r>
              <a:rPr lang="en-US" altLang="ja-JP"/>
              <a:t>WBS</a:t>
            </a:r>
            <a:r>
              <a:rPr lang="ja-JP" altLang="en-US"/>
              <a:t>ガントチャート）</a:t>
            </a:r>
          </a:p>
        </p:txBody>
      </p:sp>
      <p:pic>
        <p:nvPicPr>
          <p:cNvPr id="2" name="図 1">
            <a:extLst>
              <a:ext uri="{FF2B5EF4-FFF2-40B4-BE49-F238E27FC236}">
                <a16:creationId xmlns:a16="http://schemas.microsoft.com/office/drawing/2014/main" id="{C73CE7FB-87DE-3BC3-10E0-D337B38D128B}"/>
              </a:ext>
            </a:extLst>
          </p:cNvPr>
          <p:cNvPicPr>
            <a:picLocks noChangeAspect="1"/>
          </p:cNvPicPr>
          <p:nvPr/>
        </p:nvPicPr>
        <p:blipFill>
          <a:blip r:embed="rId5"/>
          <a:stretch>
            <a:fillRect/>
          </a:stretch>
        </p:blipFill>
        <p:spPr>
          <a:xfrm>
            <a:off x="951652" y="1489766"/>
            <a:ext cx="10288695" cy="4870476"/>
          </a:xfrm>
          <a:prstGeom prst="rect">
            <a:avLst/>
          </a:prstGeom>
          <a:ln>
            <a:solidFill>
              <a:schemeClr val="tx1"/>
            </a:solidFill>
          </a:ln>
        </p:spPr>
      </p:pic>
      <p:sp>
        <p:nvSpPr>
          <p:cNvPr id="4" name="テキスト ボックス 3">
            <a:extLst>
              <a:ext uri="{FF2B5EF4-FFF2-40B4-BE49-F238E27FC236}">
                <a16:creationId xmlns:a16="http://schemas.microsoft.com/office/drawing/2014/main" id="{09E2DAED-892F-EDC5-EDA1-39E5F22DCA70}"/>
              </a:ext>
            </a:extLst>
          </p:cNvPr>
          <p:cNvSpPr txBox="1"/>
          <p:nvPr/>
        </p:nvSpPr>
        <p:spPr>
          <a:xfrm>
            <a:off x="3028005" y="3429000"/>
            <a:ext cx="6135987" cy="924844"/>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証のタイムラインを設定し、各フェーズの期間を明確に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別紙</a:t>
            </a:r>
            <a:r>
              <a:rPr kumimoji="0" lang="en-US" altLang="ja-JP" sz="1400" b="0" i="0" u="none" strike="noStrike" kern="0" cap="none" spc="0" normalizeH="0" baseline="0" noProof="0">
                <a:ln>
                  <a:noFill/>
                </a:ln>
                <a:solidFill>
                  <a:srgbClr val="FFFFFF"/>
                </a:solidFill>
                <a:effectLst/>
                <a:uLnTx/>
                <a:uFillTx/>
              </a:rPr>
              <a:t>WBS</a:t>
            </a:r>
            <a:r>
              <a:rPr kumimoji="0" lang="ja-JP" altLang="en-US" sz="1400" b="0" i="0" u="none" strike="noStrike" kern="0" cap="none" spc="0" normalizeH="0" baseline="0" noProof="0">
                <a:ln>
                  <a:noFill/>
                </a:ln>
                <a:solidFill>
                  <a:srgbClr val="FFFFFF"/>
                </a:solidFill>
                <a:effectLst/>
                <a:uLnTx/>
                <a:uFillTx/>
              </a:rPr>
              <a:t>・ガントチャートを転記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画像はサンプルです。提出時に削除してください。</a:t>
            </a:r>
          </a:p>
        </p:txBody>
      </p:sp>
    </p:spTree>
    <p:extLst>
      <p:ext uri="{BB962C8B-B14F-4D97-AF65-F5344CB8AC3E}">
        <p14:creationId xmlns:p14="http://schemas.microsoft.com/office/powerpoint/2010/main" val="163114210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グループ化 11">
            <a:extLst>
              <a:ext uri="{FF2B5EF4-FFF2-40B4-BE49-F238E27FC236}">
                <a16:creationId xmlns:a16="http://schemas.microsoft.com/office/drawing/2014/main" id="{DE9A25B3-25A2-B5BF-14C4-27AA8D366DE2}"/>
              </a:ext>
            </a:extLst>
          </p:cNvPr>
          <p:cNvGrpSpPr/>
          <p:nvPr/>
        </p:nvGrpSpPr>
        <p:grpSpPr>
          <a:xfrm>
            <a:off x="292100" y="2162320"/>
            <a:ext cx="1348014" cy="3520950"/>
            <a:chOff x="292100" y="2000740"/>
            <a:chExt cx="2175378" cy="3520950"/>
          </a:xfrm>
        </p:grpSpPr>
        <p:sp>
          <p:nvSpPr>
            <p:cNvPr id="4" name="フローチャート: 他ページ結合子 3">
              <a:extLst>
                <a:ext uri="{FF2B5EF4-FFF2-40B4-BE49-F238E27FC236}">
                  <a16:creationId xmlns:a16="http://schemas.microsoft.com/office/drawing/2014/main" id="{6F71EB31-C9B7-4098-9EFB-8216961CCBDC}"/>
                </a:ext>
              </a:extLst>
            </p:cNvPr>
            <p:cNvSpPr/>
            <p:nvPr/>
          </p:nvSpPr>
          <p:spPr bwMode="gray">
            <a:xfrm>
              <a:off x="293129" y="3442341"/>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データ取得・クレンジング</a:t>
              </a:r>
            </a:p>
          </p:txBody>
        </p:sp>
        <p:sp>
          <p:nvSpPr>
            <p:cNvPr id="8" name="フローチャート: 他ページ結合子 7">
              <a:extLst>
                <a:ext uri="{FF2B5EF4-FFF2-40B4-BE49-F238E27FC236}">
                  <a16:creationId xmlns:a16="http://schemas.microsoft.com/office/drawing/2014/main" id="{9B252D3D-6288-96C4-6851-3CB5CABE93B0}"/>
                </a:ext>
              </a:extLst>
            </p:cNvPr>
            <p:cNvSpPr/>
            <p:nvPr/>
          </p:nvSpPr>
          <p:spPr bwMode="gray">
            <a:xfrm>
              <a:off x="292100" y="4903735"/>
              <a:ext cx="2174349" cy="61795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実証フェーズ</a:t>
              </a:r>
            </a:p>
          </p:txBody>
        </p:sp>
        <p:sp>
          <p:nvSpPr>
            <p:cNvPr id="14" name="フローチャート: 他ページ結合子 13">
              <a:extLst>
                <a:ext uri="{FF2B5EF4-FFF2-40B4-BE49-F238E27FC236}">
                  <a16:creationId xmlns:a16="http://schemas.microsoft.com/office/drawing/2014/main" id="{5BC8482B-CF2B-219A-8F08-419E3A5FC47F}"/>
                </a:ext>
              </a:extLst>
            </p:cNvPr>
            <p:cNvSpPr/>
            <p:nvPr/>
          </p:nvSpPr>
          <p:spPr bwMode="gray">
            <a:xfrm>
              <a:off x="293129" y="4164527"/>
              <a:ext cx="2174349" cy="620442"/>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開発・テスト</a:t>
              </a:r>
            </a:p>
          </p:txBody>
        </p:sp>
        <p:sp>
          <p:nvSpPr>
            <p:cNvPr id="17" name="フローチャート: 他ページ結合子 16">
              <a:extLst>
                <a:ext uri="{FF2B5EF4-FFF2-40B4-BE49-F238E27FC236}">
                  <a16:creationId xmlns:a16="http://schemas.microsoft.com/office/drawing/2014/main" id="{C9C43BC8-810D-E426-4335-300BCA945BC0}"/>
                </a:ext>
              </a:extLst>
            </p:cNvPr>
            <p:cNvSpPr/>
            <p:nvPr/>
          </p:nvSpPr>
          <p:spPr bwMode="gray">
            <a:xfrm>
              <a:off x="293129" y="2720154"/>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データべース設計フェーズ</a:t>
              </a:r>
            </a:p>
          </p:txBody>
        </p:sp>
        <p:sp>
          <p:nvSpPr>
            <p:cNvPr id="20" name="フローチャート: 他ページ結合子 19">
              <a:extLst>
                <a:ext uri="{FF2B5EF4-FFF2-40B4-BE49-F238E27FC236}">
                  <a16:creationId xmlns:a16="http://schemas.microsoft.com/office/drawing/2014/main" id="{B5AB1C34-EB45-F138-564F-B61D792CEA4E}"/>
                </a:ext>
              </a:extLst>
            </p:cNvPr>
            <p:cNvSpPr/>
            <p:nvPr/>
          </p:nvSpPr>
          <p:spPr bwMode="gray">
            <a:xfrm>
              <a:off x="293129" y="2000740"/>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計画・要件定義</a:t>
              </a:r>
              <a:endParaRPr kumimoji="1" lang="en-US" altLang="ja-JP" sz="1400">
                <a:solidFill>
                  <a:srgbClr val="0070C0"/>
                </a:solidFill>
                <a:latin typeface="+mn-ea"/>
              </a:endParaRPr>
            </a:p>
            <a:p>
              <a:pPr algn="ctr">
                <a:spcBef>
                  <a:spcPts val="0"/>
                </a:spcBef>
                <a:spcAft>
                  <a:spcPts val="300"/>
                </a:spcAft>
              </a:pPr>
              <a:r>
                <a:rPr kumimoji="1" lang="ja-JP" altLang="en-US" sz="1400">
                  <a:solidFill>
                    <a:srgbClr val="0070C0"/>
                  </a:solidFill>
                  <a:latin typeface="+mn-ea"/>
                </a:rPr>
                <a:t>フェーズ</a:t>
              </a:r>
              <a:endParaRPr kumimoji="1" lang="en-US" altLang="ja-JP" sz="1400">
                <a:solidFill>
                  <a:srgbClr val="0070C0"/>
                </a:solidFill>
                <a:latin typeface="+mn-ea"/>
              </a:endParaRPr>
            </a:p>
          </p:txBody>
        </p:sp>
      </p:grpSp>
      <p:grpSp>
        <p:nvGrpSpPr>
          <p:cNvPr id="10" name="グループ化 9">
            <a:extLst>
              <a:ext uri="{FF2B5EF4-FFF2-40B4-BE49-F238E27FC236}">
                <a16:creationId xmlns:a16="http://schemas.microsoft.com/office/drawing/2014/main" id="{FBAF55BB-E4B0-AE23-D5D2-827B5EBA3E3C}"/>
              </a:ext>
            </a:extLst>
          </p:cNvPr>
          <p:cNvGrpSpPr/>
          <p:nvPr/>
        </p:nvGrpSpPr>
        <p:grpSpPr>
          <a:xfrm>
            <a:off x="1755589" y="2164810"/>
            <a:ext cx="2250353" cy="3666311"/>
            <a:chOff x="2644038" y="2003230"/>
            <a:chExt cx="9243161" cy="3666311"/>
          </a:xfrm>
        </p:grpSpPr>
        <p:sp>
          <p:nvSpPr>
            <p:cNvPr id="11" name="正方形/長方形 10">
              <a:extLst>
                <a:ext uri="{FF2B5EF4-FFF2-40B4-BE49-F238E27FC236}">
                  <a16:creationId xmlns:a16="http://schemas.microsoft.com/office/drawing/2014/main" id="{27E0FB5C-67EE-F750-E74B-80FE4B6806FF}"/>
                </a:ext>
              </a:extLst>
            </p:cNvPr>
            <p:cNvSpPr/>
            <p:nvPr/>
          </p:nvSpPr>
          <p:spPr bwMode="gray">
            <a:xfrm>
              <a:off x="2644044" y="344483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交通事業者からデータを収集し、システム投入可能な状態に成型</a:t>
              </a:r>
            </a:p>
          </p:txBody>
        </p:sp>
        <p:sp>
          <p:nvSpPr>
            <p:cNvPr id="13" name="正方形/長方形 12">
              <a:extLst>
                <a:ext uri="{FF2B5EF4-FFF2-40B4-BE49-F238E27FC236}">
                  <a16:creationId xmlns:a16="http://schemas.microsoft.com/office/drawing/2014/main" id="{3132866A-947F-A81C-0025-F0AF7AFAF788}"/>
                </a:ext>
              </a:extLst>
            </p:cNvPr>
            <p:cNvSpPr/>
            <p:nvPr/>
          </p:nvSpPr>
          <p:spPr bwMode="gray">
            <a:xfrm>
              <a:off x="2677953" y="4903735"/>
              <a:ext cx="9209246" cy="617956"/>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18836" indent="-218836">
                <a:buChar char="•"/>
              </a:pPr>
              <a:r>
                <a:rPr lang="ja-JP" altLang="en-US" sz="1200">
                  <a:solidFill>
                    <a:srgbClr val="0070C0"/>
                  </a:solidFill>
                  <a:latin typeface="+mn-ea"/>
                </a:rPr>
                <a:t>システム検証、ユーザーフィードバックを基に修正・改善</a:t>
              </a:r>
              <a:endParaRPr lang="en-US" altLang="ja-JP" sz="1200">
                <a:solidFill>
                  <a:srgbClr val="0070C0"/>
                </a:solidFill>
                <a:latin typeface="+mn-ea"/>
              </a:endParaRPr>
            </a:p>
          </p:txBody>
        </p:sp>
        <p:sp>
          <p:nvSpPr>
            <p:cNvPr id="15" name="正方形/長方形 14">
              <a:extLst>
                <a:ext uri="{FF2B5EF4-FFF2-40B4-BE49-F238E27FC236}">
                  <a16:creationId xmlns:a16="http://schemas.microsoft.com/office/drawing/2014/main" id="{FB604A90-B7E0-C24B-4479-27FB7F6C9AF9}"/>
                </a:ext>
              </a:extLst>
            </p:cNvPr>
            <p:cNvSpPr/>
            <p:nvPr/>
          </p:nvSpPr>
          <p:spPr bwMode="gray">
            <a:xfrm>
              <a:off x="2654753" y="416827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開発及びテストを実施</a:t>
              </a:r>
            </a:p>
          </p:txBody>
        </p:sp>
        <p:grpSp>
          <p:nvGrpSpPr>
            <p:cNvPr id="16" name="グループ化 15">
              <a:extLst>
                <a:ext uri="{FF2B5EF4-FFF2-40B4-BE49-F238E27FC236}">
                  <a16:creationId xmlns:a16="http://schemas.microsoft.com/office/drawing/2014/main" id="{08B3324E-91C1-4874-3F35-2817C2801105}"/>
                </a:ext>
              </a:extLst>
            </p:cNvPr>
            <p:cNvGrpSpPr/>
            <p:nvPr/>
          </p:nvGrpSpPr>
          <p:grpSpPr>
            <a:xfrm>
              <a:off x="2644038" y="4164527"/>
              <a:ext cx="9237138" cy="1505014"/>
              <a:chOff x="2641069" y="3515465"/>
              <a:chExt cx="9248531" cy="1505014"/>
            </a:xfrm>
          </p:grpSpPr>
          <p:cxnSp>
            <p:nvCxnSpPr>
              <p:cNvPr id="23" name="直線コネクタ 22">
                <a:extLst>
                  <a:ext uri="{FF2B5EF4-FFF2-40B4-BE49-F238E27FC236}">
                    <a16:creationId xmlns:a16="http://schemas.microsoft.com/office/drawing/2014/main" id="{90614D4C-6FFB-7009-BDCA-A3CC64705602}"/>
                  </a:ext>
                </a:extLst>
              </p:cNvPr>
              <p:cNvCxnSpPr/>
              <p:nvPr/>
            </p:nvCxnSpPr>
            <p:spPr>
              <a:xfrm>
                <a:off x="2641069" y="4119919"/>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1E32557E-13C3-FCE9-37B7-ED182EA3FD19}"/>
                  </a:ext>
                </a:extLst>
              </p:cNvPr>
              <p:cNvCxnSpPr/>
              <p:nvPr/>
            </p:nvCxnSpPr>
            <p:spPr>
              <a:xfrm>
                <a:off x="2668997" y="3515465"/>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3D365C3-7B6C-C540-3B17-4657D3E45C3A}"/>
                  </a:ext>
                </a:extLst>
              </p:cNvPr>
              <p:cNvCxnSpPr/>
              <p:nvPr/>
            </p:nvCxnSpPr>
            <p:spPr>
              <a:xfrm>
                <a:off x="2668997" y="5020479"/>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grpSp>
        <p:sp>
          <p:nvSpPr>
            <p:cNvPr id="18" name="正方形/長方形 17">
              <a:extLst>
                <a:ext uri="{FF2B5EF4-FFF2-40B4-BE49-F238E27FC236}">
                  <a16:creationId xmlns:a16="http://schemas.microsoft.com/office/drawing/2014/main" id="{0947CAEC-1669-C017-095F-FAE30144149E}"/>
                </a:ext>
              </a:extLst>
            </p:cNvPr>
            <p:cNvSpPr/>
            <p:nvPr/>
          </p:nvSpPr>
          <p:spPr bwMode="gray">
            <a:xfrm>
              <a:off x="2647735" y="2718901"/>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データ分析に必要なデータベース設計</a:t>
              </a:r>
              <a:endParaRPr kumimoji="1" lang="en-US" altLang="ja-JP" sz="1200">
                <a:solidFill>
                  <a:srgbClr val="0070C0"/>
                </a:solidFill>
                <a:latin typeface="+mn-ea"/>
              </a:endParaRPr>
            </a:p>
          </p:txBody>
        </p:sp>
        <p:cxnSp>
          <p:nvCxnSpPr>
            <p:cNvPr id="19" name="直線コネクタ 18">
              <a:extLst>
                <a:ext uri="{FF2B5EF4-FFF2-40B4-BE49-F238E27FC236}">
                  <a16:creationId xmlns:a16="http://schemas.microsoft.com/office/drawing/2014/main" id="{E7C7F916-235D-983C-D6F4-0BA1A1C6781E}"/>
                </a:ext>
              </a:extLst>
            </p:cNvPr>
            <p:cNvCxnSpPr/>
            <p:nvPr/>
          </p:nvCxnSpPr>
          <p:spPr>
            <a:xfrm>
              <a:off x="2655781" y="3442341"/>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90FE5543-3C4B-40E6-C0AB-E10A0C3BC1C2}"/>
                </a:ext>
              </a:extLst>
            </p:cNvPr>
            <p:cNvCxnSpPr/>
            <p:nvPr/>
          </p:nvCxnSpPr>
          <p:spPr>
            <a:xfrm>
              <a:off x="2647735" y="2720154"/>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9E9C4C6D-62EF-6870-EF03-ACBF62431744}"/>
                </a:ext>
              </a:extLst>
            </p:cNvPr>
            <p:cNvSpPr/>
            <p:nvPr/>
          </p:nvSpPr>
          <p:spPr bwMode="gray">
            <a:xfrm>
              <a:off x="2644043" y="2003230"/>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の目的と範囲を定義</a:t>
              </a:r>
              <a:endParaRPr kumimoji="1" lang="en-US" altLang="ja-JP" sz="1200">
                <a:solidFill>
                  <a:srgbClr val="0070C0"/>
                </a:solidFill>
                <a:latin typeface="+mn-ea"/>
              </a:endParaRPr>
            </a:p>
            <a:p>
              <a:pPr marL="203200" indent="-203200">
                <a:spcBef>
                  <a:spcPts val="0"/>
                </a:spcBef>
                <a:spcAft>
                  <a:spcPts val="300"/>
                </a:spcAft>
                <a:buChar char="•"/>
              </a:pPr>
              <a:r>
                <a:rPr kumimoji="1" lang="ja-JP" altLang="en-US" sz="1200">
                  <a:solidFill>
                    <a:srgbClr val="0070C0"/>
                  </a:solidFill>
                  <a:latin typeface="+mn-ea"/>
                </a:rPr>
                <a:t>必要な要件を収集・分析</a:t>
              </a:r>
            </a:p>
          </p:txBody>
        </p:sp>
      </p:grpSp>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Ⅴ.</a:t>
            </a:r>
            <a:r>
              <a:rPr lang="ja-JP" altLang="en-US"/>
              <a:t>スケジュール</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プロジェクトのフロー</a:t>
            </a:r>
            <a:r>
              <a:rPr lang="en-US" altLang="ja-JP"/>
              <a:t>	</a:t>
            </a:r>
            <a:endParaRPr lang="ja-JP" altLang="en-US"/>
          </a:p>
        </p:txBody>
      </p:sp>
      <p:grpSp>
        <p:nvGrpSpPr>
          <p:cNvPr id="62" name="グループ化 61">
            <a:extLst>
              <a:ext uri="{FF2B5EF4-FFF2-40B4-BE49-F238E27FC236}">
                <a16:creationId xmlns:a16="http://schemas.microsoft.com/office/drawing/2014/main" id="{32148F1B-F2CD-569D-6055-4366DB65509B}"/>
              </a:ext>
            </a:extLst>
          </p:cNvPr>
          <p:cNvGrpSpPr/>
          <p:nvPr/>
        </p:nvGrpSpPr>
        <p:grpSpPr>
          <a:xfrm>
            <a:off x="4225471" y="2162320"/>
            <a:ext cx="1348014" cy="3520950"/>
            <a:chOff x="292100" y="2000740"/>
            <a:chExt cx="2175378" cy="3520950"/>
          </a:xfrm>
        </p:grpSpPr>
        <p:sp>
          <p:nvSpPr>
            <p:cNvPr id="63" name="フローチャート: 他ページ結合子 62">
              <a:extLst>
                <a:ext uri="{FF2B5EF4-FFF2-40B4-BE49-F238E27FC236}">
                  <a16:creationId xmlns:a16="http://schemas.microsoft.com/office/drawing/2014/main" id="{A2DD071A-0195-2A3C-E9A9-9816FA37D9AC}"/>
                </a:ext>
              </a:extLst>
            </p:cNvPr>
            <p:cNvSpPr/>
            <p:nvPr/>
          </p:nvSpPr>
          <p:spPr bwMode="gray">
            <a:xfrm>
              <a:off x="293129" y="3442341"/>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開発</a:t>
              </a:r>
            </a:p>
          </p:txBody>
        </p:sp>
        <p:sp>
          <p:nvSpPr>
            <p:cNvPr id="64" name="フローチャート: 他ページ結合子 63">
              <a:extLst>
                <a:ext uri="{FF2B5EF4-FFF2-40B4-BE49-F238E27FC236}">
                  <a16:creationId xmlns:a16="http://schemas.microsoft.com/office/drawing/2014/main" id="{28FBAFC8-996E-0183-6007-B849C0563E70}"/>
                </a:ext>
              </a:extLst>
            </p:cNvPr>
            <p:cNvSpPr/>
            <p:nvPr/>
          </p:nvSpPr>
          <p:spPr bwMode="gray">
            <a:xfrm>
              <a:off x="292100" y="4903735"/>
              <a:ext cx="2174349" cy="617955"/>
            </a:xfrm>
            <a:prstGeom prst="flowChartOffpageConnector">
              <a:avLst/>
            </a:prstGeom>
            <a:noFill/>
            <a:ln w="6350">
              <a:solidFill>
                <a:schemeClr val="tx1"/>
              </a:solidFill>
              <a:miter lim="800000"/>
              <a:headEnd/>
              <a:tailEnd/>
            </a:ln>
            <a:effectLst/>
          </p:spPr>
          <p:txBody>
            <a:bodyPr vert="horz" wrap="non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実証フェーズ</a:t>
              </a:r>
            </a:p>
          </p:txBody>
        </p:sp>
        <p:sp>
          <p:nvSpPr>
            <p:cNvPr id="65" name="フローチャート: 他ページ結合子 64">
              <a:extLst>
                <a:ext uri="{FF2B5EF4-FFF2-40B4-BE49-F238E27FC236}">
                  <a16:creationId xmlns:a16="http://schemas.microsoft.com/office/drawing/2014/main" id="{57E669E2-341F-5DE9-FC08-5F8B104ABB91}"/>
                </a:ext>
              </a:extLst>
            </p:cNvPr>
            <p:cNvSpPr/>
            <p:nvPr/>
          </p:nvSpPr>
          <p:spPr bwMode="gray">
            <a:xfrm>
              <a:off x="293129" y="4164527"/>
              <a:ext cx="2174349" cy="620442"/>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テストと導入フェーズ</a:t>
              </a:r>
            </a:p>
          </p:txBody>
        </p:sp>
        <p:sp>
          <p:nvSpPr>
            <p:cNvPr id="66" name="フローチャート: 他ページ結合子 65">
              <a:extLst>
                <a:ext uri="{FF2B5EF4-FFF2-40B4-BE49-F238E27FC236}">
                  <a16:creationId xmlns:a16="http://schemas.microsoft.com/office/drawing/2014/main" id="{54572A44-0063-17F4-A674-86C0FB7C73F2}"/>
                </a:ext>
              </a:extLst>
            </p:cNvPr>
            <p:cNvSpPr/>
            <p:nvPr/>
          </p:nvSpPr>
          <p:spPr bwMode="gray">
            <a:xfrm>
              <a:off x="293129" y="2720154"/>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en-US" altLang="ja-JP" sz="1400">
                  <a:solidFill>
                    <a:srgbClr val="0070C0"/>
                  </a:solidFill>
                  <a:latin typeface="+mn-ea"/>
                </a:rPr>
                <a:t>UI/UX</a:t>
              </a:r>
              <a:r>
                <a:rPr kumimoji="1" lang="ja-JP" altLang="en-US" sz="1400">
                  <a:solidFill>
                    <a:srgbClr val="0070C0"/>
                  </a:solidFill>
                  <a:latin typeface="+mn-ea"/>
                </a:rPr>
                <a:t>設計</a:t>
              </a:r>
            </a:p>
          </p:txBody>
        </p:sp>
        <p:sp>
          <p:nvSpPr>
            <p:cNvPr id="67" name="フローチャート: 他ページ結合子 66">
              <a:extLst>
                <a:ext uri="{FF2B5EF4-FFF2-40B4-BE49-F238E27FC236}">
                  <a16:creationId xmlns:a16="http://schemas.microsoft.com/office/drawing/2014/main" id="{6AC2A3AA-E327-22E1-E253-51EC5732E01C}"/>
                </a:ext>
              </a:extLst>
            </p:cNvPr>
            <p:cNvSpPr/>
            <p:nvPr/>
          </p:nvSpPr>
          <p:spPr bwMode="gray">
            <a:xfrm>
              <a:off x="293129" y="2000740"/>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計画・要件定義</a:t>
              </a:r>
              <a:endParaRPr kumimoji="1" lang="en-US" altLang="ja-JP" sz="1400">
                <a:solidFill>
                  <a:srgbClr val="0070C0"/>
                </a:solidFill>
                <a:latin typeface="+mn-ea"/>
              </a:endParaRPr>
            </a:p>
            <a:p>
              <a:pPr algn="ctr">
                <a:spcBef>
                  <a:spcPts val="0"/>
                </a:spcBef>
                <a:spcAft>
                  <a:spcPts val="300"/>
                </a:spcAft>
              </a:pPr>
              <a:r>
                <a:rPr kumimoji="1" lang="ja-JP" altLang="en-US" sz="1400">
                  <a:solidFill>
                    <a:srgbClr val="0070C0"/>
                  </a:solidFill>
                  <a:latin typeface="+mn-ea"/>
                </a:rPr>
                <a:t>フェーズ</a:t>
              </a:r>
              <a:endParaRPr kumimoji="1" lang="en-US" altLang="ja-JP" sz="1400">
                <a:solidFill>
                  <a:srgbClr val="0070C0"/>
                </a:solidFill>
                <a:latin typeface="+mn-ea"/>
              </a:endParaRPr>
            </a:p>
          </p:txBody>
        </p:sp>
      </p:grpSp>
      <p:grpSp>
        <p:nvGrpSpPr>
          <p:cNvPr id="68" name="グループ化 67">
            <a:extLst>
              <a:ext uri="{FF2B5EF4-FFF2-40B4-BE49-F238E27FC236}">
                <a16:creationId xmlns:a16="http://schemas.microsoft.com/office/drawing/2014/main" id="{EC9AA473-ED0E-44FE-78A7-001C26A58BF8}"/>
              </a:ext>
            </a:extLst>
          </p:cNvPr>
          <p:cNvGrpSpPr/>
          <p:nvPr/>
        </p:nvGrpSpPr>
        <p:grpSpPr>
          <a:xfrm>
            <a:off x="5688960" y="2164810"/>
            <a:ext cx="2250353" cy="3666311"/>
            <a:chOff x="2644038" y="2003230"/>
            <a:chExt cx="9243161" cy="3666311"/>
          </a:xfrm>
        </p:grpSpPr>
        <p:sp>
          <p:nvSpPr>
            <p:cNvPr id="69" name="正方形/長方形 68">
              <a:extLst>
                <a:ext uri="{FF2B5EF4-FFF2-40B4-BE49-F238E27FC236}">
                  <a16:creationId xmlns:a16="http://schemas.microsoft.com/office/drawing/2014/main" id="{7358E1F9-D900-FAEE-E5D4-01EE75FB2849}"/>
                </a:ext>
              </a:extLst>
            </p:cNvPr>
            <p:cNvSpPr/>
            <p:nvPr/>
          </p:nvSpPr>
          <p:spPr bwMode="gray">
            <a:xfrm>
              <a:off x="2644044" y="344483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設計に基づいてシステムをコーディング・プログラム開発</a:t>
              </a:r>
            </a:p>
          </p:txBody>
        </p:sp>
        <p:sp>
          <p:nvSpPr>
            <p:cNvPr id="70" name="正方形/長方形 69">
              <a:extLst>
                <a:ext uri="{FF2B5EF4-FFF2-40B4-BE49-F238E27FC236}">
                  <a16:creationId xmlns:a16="http://schemas.microsoft.com/office/drawing/2014/main" id="{7A915EC5-6A47-E264-150F-DEF03C43B909}"/>
                </a:ext>
              </a:extLst>
            </p:cNvPr>
            <p:cNvSpPr/>
            <p:nvPr/>
          </p:nvSpPr>
          <p:spPr bwMode="gray">
            <a:xfrm>
              <a:off x="2677953" y="4903735"/>
              <a:ext cx="9209246" cy="617956"/>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18836" indent="-218836">
                <a:buChar char="•"/>
              </a:pPr>
              <a:r>
                <a:rPr lang="ja-JP" altLang="en-US" sz="1200">
                  <a:solidFill>
                    <a:srgbClr val="0070C0"/>
                  </a:solidFill>
                  <a:latin typeface="+mn-ea"/>
                </a:rPr>
                <a:t>システム検証、ユーザーフィードバックを基に修正・改善</a:t>
              </a:r>
              <a:endParaRPr lang="en-US" altLang="ja-JP" sz="1200">
                <a:solidFill>
                  <a:srgbClr val="0070C0"/>
                </a:solidFill>
                <a:latin typeface="+mn-ea"/>
              </a:endParaRPr>
            </a:p>
          </p:txBody>
        </p:sp>
        <p:sp>
          <p:nvSpPr>
            <p:cNvPr id="71" name="正方形/長方形 70">
              <a:extLst>
                <a:ext uri="{FF2B5EF4-FFF2-40B4-BE49-F238E27FC236}">
                  <a16:creationId xmlns:a16="http://schemas.microsoft.com/office/drawing/2014/main" id="{165F6F7B-4849-9CE4-9B86-5DADDC407858}"/>
                </a:ext>
              </a:extLst>
            </p:cNvPr>
            <p:cNvSpPr/>
            <p:nvPr/>
          </p:nvSpPr>
          <p:spPr bwMode="gray">
            <a:xfrm>
              <a:off x="2654753" y="416827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システム全体のテストの実施、導入</a:t>
              </a:r>
            </a:p>
          </p:txBody>
        </p:sp>
        <p:grpSp>
          <p:nvGrpSpPr>
            <p:cNvPr id="72" name="グループ化 71">
              <a:extLst>
                <a:ext uri="{FF2B5EF4-FFF2-40B4-BE49-F238E27FC236}">
                  <a16:creationId xmlns:a16="http://schemas.microsoft.com/office/drawing/2014/main" id="{F98FC4B4-907B-9AB1-5E5E-D7CE049F6B9B}"/>
                </a:ext>
              </a:extLst>
            </p:cNvPr>
            <p:cNvGrpSpPr/>
            <p:nvPr/>
          </p:nvGrpSpPr>
          <p:grpSpPr>
            <a:xfrm>
              <a:off x="2644038" y="4164527"/>
              <a:ext cx="9237138" cy="1505014"/>
              <a:chOff x="2641069" y="3515465"/>
              <a:chExt cx="9248531" cy="1505014"/>
            </a:xfrm>
          </p:grpSpPr>
          <p:cxnSp>
            <p:nvCxnSpPr>
              <p:cNvPr id="77" name="直線コネクタ 76">
                <a:extLst>
                  <a:ext uri="{FF2B5EF4-FFF2-40B4-BE49-F238E27FC236}">
                    <a16:creationId xmlns:a16="http://schemas.microsoft.com/office/drawing/2014/main" id="{AA056350-8AC9-2713-7475-13ABC01B4F40}"/>
                  </a:ext>
                </a:extLst>
              </p:cNvPr>
              <p:cNvCxnSpPr/>
              <p:nvPr/>
            </p:nvCxnSpPr>
            <p:spPr>
              <a:xfrm>
                <a:off x="2641069" y="3515465"/>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78" name="直線コネクタ 77">
                <a:extLst>
                  <a:ext uri="{FF2B5EF4-FFF2-40B4-BE49-F238E27FC236}">
                    <a16:creationId xmlns:a16="http://schemas.microsoft.com/office/drawing/2014/main" id="{A7255239-15B9-7B60-9EC2-7D4BB58554F7}"/>
                  </a:ext>
                </a:extLst>
              </p:cNvPr>
              <p:cNvCxnSpPr/>
              <p:nvPr/>
            </p:nvCxnSpPr>
            <p:spPr>
              <a:xfrm>
                <a:off x="2668997" y="4135907"/>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EE91379F-71AC-4602-1EC0-EF8B33894B55}"/>
                  </a:ext>
                </a:extLst>
              </p:cNvPr>
              <p:cNvCxnSpPr/>
              <p:nvPr/>
            </p:nvCxnSpPr>
            <p:spPr>
              <a:xfrm>
                <a:off x="2641069" y="5020479"/>
                <a:ext cx="9220603"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grpSp>
        <p:sp>
          <p:nvSpPr>
            <p:cNvPr id="73" name="正方形/長方形 72">
              <a:extLst>
                <a:ext uri="{FF2B5EF4-FFF2-40B4-BE49-F238E27FC236}">
                  <a16:creationId xmlns:a16="http://schemas.microsoft.com/office/drawing/2014/main" id="{A1182C33-73BA-46AF-E45C-70818F73D3ED}"/>
                </a:ext>
              </a:extLst>
            </p:cNvPr>
            <p:cNvSpPr/>
            <p:nvPr/>
          </p:nvSpPr>
          <p:spPr bwMode="gray">
            <a:xfrm>
              <a:off x="2647735" y="2718901"/>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目的及び要件定義を踏まえた基本設計</a:t>
              </a:r>
              <a:endParaRPr kumimoji="1" lang="en-US" altLang="ja-JP" sz="1200">
                <a:solidFill>
                  <a:srgbClr val="0070C0"/>
                </a:solidFill>
                <a:latin typeface="+mn-ea"/>
              </a:endParaRPr>
            </a:p>
          </p:txBody>
        </p:sp>
        <p:cxnSp>
          <p:nvCxnSpPr>
            <p:cNvPr id="74" name="直線コネクタ 73">
              <a:extLst>
                <a:ext uri="{FF2B5EF4-FFF2-40B4-BE49-F238E27FC236}">
                  <a16:creationId xmlns:a16="http://schemas.microsoft.com/office/drawing/2014/main" id="{57FBA4DE-5E28-8287-B2DE-80DD15394B58}"/>
                </a:ext>
              </a:extLst>
            </p:cNvPr>
            <p:cNvCxnSpPr/>
            <p:nvPr/>
          </p:nvCxnSpPr>
          <p:spPr>
            <a:xfrm>
              <a:off x="2655781" y="3442341"/>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75" name="直線コネクタ 74">
              <a:extLst>
                <a:ext uri="{FF2B5EF4-FFF2-40B4-BE49-F238E27FC236}">
                  <a16:creationId xmlns:a16="http://schemas.microsoft.com/office/drawing/2014/main" id="{C77E21F4-C95D-6353-C439-E1C005A04274}"/>
                </a:ext>
              </a:extLst>
            </p:cNvPr>
            <p:cNvCxnSpPr/>
            <p:nvPr/>
          </p:nvCxnSpPr>
          <p:spPr>
            <a:xfrm>
              <a:off x="2647735" y="2720154"/>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76" name="正方形/長方形 75">
              <a:extLst>
                <a:ext uri="{FF2B5EF4-FFF2-40B4-BE49-F238E27FC236}">
                  <a16:creationId xmlns:a16="http://schemas.microsoft.com/office/drawing/2014/main" id="{5CDBB21D-8256-9E2D-F47A-638BA24F5F38}"/>
                </a:ext>
              </a:extLst>
            </p:cNvPr>
            <p:cNvSpPr/>
            <p:nvPr/>
          </p:nvSpPr>
          <p:spPr bwMode="gray">
            <a:xfrm>
              <a:off x="2644043" y="2003230"/>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プロジェクトの目的と範囲を定義</a:t>
              </a:r>
              <a:endParaRPr kumimoji="1" lang="en-US" altLang="ja-JP" sz="1200">
                <a:solidFill>
                  <a:srgbClr val="0070C0"/>
                </a:solidFill>
                <a:latin typeface="+mn-ea"/>
              </a:endParaRPr>
            </a:p>
            <a:p>
              <a:pPr marL="203200" indent="-203200">
                <a:spcBef>
                  <a:spcPts val="0"/>
                </a:spcBef>
                <a:spcAft>
                  <a:spcPts val="300"/>
                </a:spcAft>
                <a:buChar char="•"/>
              </a:pPr>
              <a:r>
                <a:rPr kumimoji="1" lang="ja-JP" altLang="en-US" sz="1200">
                  <a:solidFill>
                    <a:srgbClr val="0070C0"/>
                  </a:solidFill>
                  <a:latin typeface="+mn-ea"/>
                </a:rPr>
                <a:t>必要な要件を収集・分析</a:t>
              </a:r>
            </a:p>
          </p:txBody>
        </p:sp>
      </p:grpSp>
      <p:grpSp>
        <p:nvGrpSpPr>
          <p:cNvPr id="80" name="グループ化 79">
            <a:extLst>
              <a:ext uri="{FF2B5EF4-FFF2-40B4-BE49-F238E27FC236}">
                <a16:creationId xmlns:a16="http://schemas.microsoft.com/office/drawing/2014/main" id="{72475D61-7C98-64F9-5265-E5444D31E86A}"/>
              </a:ext>
            </a:extLst>
          </p:cNvPr>
          <p:cNvGrpSpPr/>
          <p:nvPr/>
        </p:nvGrpSpPr>
        <p:grpSpPr>
          <a:xfrm>
            <a:off x="8072395" y="2162320"/>
            <a:ext cx="1347376" cy="2784229"/>
            <a:chOff x="293129" y="2000740"/>
            <a:chExt cx="2174349" cy="2784229"/>
          </a:xfrm>
        </p:grpSpPr>
        <p:sp>
          <p:nvSpPr>
            <p:cNvPr id="81" name="フローチャート: 他ページ結合子 80">
              <a:extLst>
                <a:ext uri="{FF2B5EF4-FFF2-40B4-BE49-F238E27FC236}">
                  <a16:creationId xmlns:a16="http://schemas.microsoft.com/office/drawing/2014/main" id="{8AFA2A95-0A68-5666-F467-EF21BDC88A70}"/>
                </a:ext>
              </a:extLst>
            </p:cNvPr>
            <p:cNvSpPr/>
            <p:nvPr/>
          </p:nvSpPr>
          <p:spPr bwMode="gray">
            <a:xfrm>
              <a:off x="293129" y="3442341"/>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関係者調整</a:t>
              </a:r>
            </a:p>
          </p:txBody>
        </p:sp>
        <p:sp>
          <p:nvSpPr>
            <p:cNvPr id="83" name="フローチャート: 他ページ結合子 82">
              <a:extLst>
                <a:ext uri="{FF2B5EF4-FFF2-40B4-BE49-F238E27FC236}">
                  <a16:creationId xmlns:a16="http://schemas.microsoft.com/office/drawing/2014/main" id="{69F23CBD-6543-7D9D-3CFC-2AACB5B6B755}"/>
                </a:ext>
              </a:extLst>
            </p:cNvPr>
            <p:cNvSpPr/>
            <p:nvPr/>
          </p:nvSpPr>
          <p:spPr bwMode="gray">
            <a:xfrm>
              <a:off x="293129" y="4164527"/>
              <a:ext cx="2174349" cy="620442"/>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200">
                  <a:solidFill>
                    <a:srgbClr val="0070C0"/>
                  </a:solidFill>
                  <a:latin typeface="+mn-ea"/>
                </a:rPr>
                <a:t>地域公共交通協議会への提案</a:t>
              </a:r>
            </a:p>
          </p:txBody>
        </p:sp>
        <p:sp>
          <p:nvSpPr>
            <p:cNvPr id="84" name="フローチャート: 他ページ結合子 83">
              <a:extLst>
                <a:ext uri="{FF2B5EF4-FFF2-40B4-BE49-F238E27FC236}">
                  <a16:creationId xmlns:a16="http://schemas.microsoft.com/office/drawing/2014/main" id="{9197490C-72EA-94C9-06C1-E9F805BB8059}"/>
                </a:ext>
              </a:extLst>
            </p:cNvPr>
            <p:cNvSpPr/>
            <p:nvPr/>
          </p:nvSpPr>
          <p:spPr bwMode="gray">
            <a:xfrm>
              <a:off x="293129" y="2720154"/>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solidFill>
                    <a:srgbClr val="0070C0"/>
                  </a:solidFill>
                  <a:latin typeface="+mn-ea"/>
                </a:rPr>
                <a:t>データ分析システムとの連携</a:t>
              </a:r>
            </a:p>
          </p:txBody>
        </p:sp>
        <p:sp>
          <p:nvSpPr>
            <p:cNvPr id="85" name="フローチャート: 他ページ結合子 84">
              <a:extLst>
                <a:ext uri="{FF2B5EF4-FFF2-40B4-BE49-F238E27FC236}">
                  <a16:creationId xmlns:a16="http://schemas.microsoft.com/office/drawing/2014/main" id="{6A3CA049-1026-4F94-4A3D-446552F57538}"/>
                </a:ext>
              </a:extLst>
            </p:cNvPr>
            <p:cNvSpPr/>
            <p:nvPr/>
          </p:nvSpPr>
          <p:spPr bwMode="gray">
            <a:xfrm>
              <a:off x="293129" y="2000740"/>
              <a:ext cx="2174349" cy="620443"/>
            </a:xfrm>
            <a:prstGeom prst="flowChartOffpageConnector">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lang="ja-JP" altLang="en-US" sz="1400">
                  <a:solidFill>
                    <a:srgbClr val="0070C0"/>
                  </a:solidFill>
                  <a:latin typeface="+mn-ea"/>
                </a:rPr>
                <a:t>ニーズ調査</a:t>
              </a:r>
              <a:endParaRPr kumimoji="1" lang="en-US" altLang="ja-JP" sz="1400">
                <a:solidFill>
                  <a:srgbClr val="0070C0"/>
                </a:solidFill>
                <a:latin typeface="+mn-ea"/>
              </a:endParaRPr>
            </a:p>
          </p:txBody>
        </p:sp>
      </p:grpSp>
      <p:grpSp>
        <p:nvGrpSpPr>
          <p:cNvPr id="86" name="グループ化 85">
            <a:extLst>
              <a:ext uri="{FF2B5EF4-FFF2-40B4-BE49-F238E27FC236}">
                <a16:creationId xmlns:a16="http://schemas.microsoft.com/office/drawing/2014/main" id="{DA4A3C24-040A-3EFC-BA3E-412B0C9D6C6E}"/>
              </a:ext>
            </a:extLst>
          </p:cNvPr>
          <p:cNvGrpSpPr/>
          <p:nvPr/>
        </p:nvGrpSpPr>
        <p:grpSpPr>
          <a:xfrm>
            <a:off x="9535248" y="2164810"/>
            <a:ext cx="2320502" cy="2931546"/>
            <a:chOff x="2644043" y="2003230"/>
            <a:chExt cx="9531294" cy="2931546"/>
          </a:xfrm>
        </p:grpSpPr>
        <p:sp>
          <p:nvSpPr>
            <p:cNvPr id="87" name="正方形/長方形 86">
              <a:extLst>
                <a:ext uri="{FF2B5EF4-FFF2-40B4-BE49-F238E27FC236}">
                  <a16:creationId xmlns:a16="http://schemas.microsoft.com/office/drawing/2014/main" id="{1E702FFE-EC5B-59C1-0867-10C3A49EC422}"/>
                </a:ext>
              </a:extLst>
            </p:cNvPr>
            <p:cNvSpPr/>
            <p:nvPr/>
          </p:nvSpPr>
          <p:spPr bwMode="gray">
            <a:xfrm>
              <a:off x="2644044" y="344483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データ分析結果をレポート化し、自治体関係者と協議</a:t>
              </a:r>
            </a:p>
          </p:txBody>
        </p:sp>
        <p:sp>
          <p:nvSpPr>
            <p:cNvPr id="89" name="正方形/長方形 88">
              <a:extLst>
                <a:ext uri="{FF2B5EF4-FFF2-40B4-BE49-F238E27FC236}">
                  <a16:creationId xmlns:a16="http://schemas.microsoft.com/office/drawing/2014/main" id="{0E60EBF1-9844-4160-B79F-D64343B948C5}"/>
                </a:ext>
              </a:extLst>
            </p:cNvPr>
            <p:cNvSpPr/>
            <p:nvPr/>
          </p:nvSpPr>
          <p:spPr bwMode="gray">
            <a:xfrm>
              <a:off x="2654753" y="4168270"/>
              <a:ext cx="9209246" cy="617954"/>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データ分析レポートを整理したうえで、年度末に開催される協議会へ提出・説明</a:t>
              </a:r>
            </a:p>
          </p:txBody>
        </p:sp>
        <p:grpSp>
          <p:nvGrpSpPr>
            <p:cNvPr id="90" name="グループ化 89">
              <a:extLst>
                <a:ext uri="{FF2B5EF4-FFF2-40B4-BE49-F238E27FC236}">
                  <a16:creationId xmlns:a16="http://schemas.microsoft.com/office/drawing/2014/main" id="{9789092A-ADF8-8875-D849-6AA2B3E73981}"/>
                </a:ext>
              </a:extLst>
            </p:cNvPr>
            <p:cNvGrpSpPr/>
            <p:nvPr/>
          </p:nvGrpSpPr>
          <p:grpSpPr>
            <a:xfrm>
              <a:off x="2671927" y="4084896"/>
              <a:ext cx="9503410" cy="849880"/>
              <a:chOff x="2668993" y="3435834"/>
              <a:chExt cx="9515132" cy="849880"/>
            </a:xfrm>
          </p:grpSpPr>
          <p:cxnSp>
            <p:nvCxnSpPr>
              <p:cNvPr id="95" name="直線コネクタ 94">
                <a:extLst>
                  <a:ext uri="{FF2B5EF4-FFF2-40B4-BE49-F238E27FC236}">
                    <a16:creationId xmlns:a16="http://schemas.microsoft.com/office/drawing/2014/main" id="{37BBD476-5CFC-0C07-085C-79CB28D8A685}"/>
                  </a:ext>
                </a:extLst>
              </p:cNvPr>
              <p:cNvCxnSpPr/>
              <p:nvPr/>
            </p:nvCxnSpPr>
            <p:spPr>
              <a:xfrm>
                <a:off x="2668993" y="3435834"/>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96" name="直線コネクタ 95">
                <a:extLst>
                  <a:ext uri="{FF2B5EF4-FFF2-40B4-BE49-F238E27FC236}">
                    <a16:creationId xmlns:a16="http://schemas.microsoft.com/office/drawing/2014/main" id="{5B8E2E58-6B75-5B68-38A9-844858570D7C}"/>
                  </a:ext>
                </a:extLst>
              </p:cNvPr>
              <p:cNvCxnSpPr/>
              <p:nvPr/>
            </p:nvCxnSpPr>
            <p:spPr>
              <a:xfrm>
                <a:off x="2963518" y="4285714"/>
                <a:ext cx="9220607"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grpSp>
        <p:sp>
          <p:nvSpPr>
            <p:cNvPr id="91" name="正方形/長方形 90">
              <a:extLst>
                <a:ext uri="{FF2B5EF4-FFF2-40B4-BE49-F238E27FC236}">
                  <a16:creationId xmlns:a16="http://schemas.microsoft.com/office/drawing/2014/main" id="{4188C613-274B-CF4D-1B81-721EC623362D}"/>
                </a:ext>
              </a:extLst>
            </p:cNvPr>
            <p:cNvSpPr/>
            <p:nvPr/>
          </p:nvSpPr>
          <p:spPr bwMode="gray">
            <a:xfrm>
              <a:off x="2647735" y="2718901"/>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必要な要件を整理し、データ分析システムの設計へフィードバック</a:t>
              </a:r>
              <a:endParaRPr kumimoji="1" lang="en-US" altLang="ja-JP" sz="1200">
                <a:solidFill>
                  <a:srgbClr val="0070C0"/>
                </a:solidFill>
                <a:latin typeface="+mn-ea"/>
              </a:endParaRPr>
            </a:p>
          </p:txBody>
        </p:sp>
        <p:cxnSp>
          <p:nvCxnSpPr>
            <p:cNvPr id="92" name="直線コネクタ 91">
              <a:extLst>
                <a:ext uri="{FF2B5EF4-FFF2-40B4-BE49-F238E27FC236}">
                  <a16:creationId xmlns:a16="http://schemas.microsoft.com/office/drawing/2014/main" id="{E92BC827-EABE-6102-3C7D-9A6036F7D40E}"/>
                </a:ext>
              </a:extLst>
            </p:cNvPr>
            <p:cNvCxnSpPr/>
            <p:nvPr/>
          </p:nvCxnSpPr>
          <p:spPr>
            <a:xfrm>
              <a:off x="2655781" y="3442341"/>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cxnSp>
          <p:nvCxnSpPr>
            <p:cNvPr id="93" name="直線コネクタ 92">
              <a:extLst>
                <a:ext uri="{FF2B5EF4-FFF2-40B4-BE49-F238E27FC236}">
                  <a16:creationId xmlns:a16="http://schemas.microsoft.com/office/drawing/2014/main" id="{9BF2E7B7-F075-9744-A33B-137B00ABC96D}"/>
                </a:ext>
              </a:extLst>
            </p:cNvPr>
            <p:cNvCxnSpPr/>
            <p:nvPr/>
          </p:nvCxnSpPr>
          <p:spPr>
            <a:xfrm>
              <a:off x="2647735" y="2720154"/>
              <a:ext cx="9209246" cy="0"/>
            </a:xfrm>
            <a:prstGeom prst="line">
              <a:avLst/>
            </a:prstGeom>
            <a:ln w="6350">
              <a:solidFill>
                <a:srgbClr val="919191"/>
              </a:solidFill>
              <a:prstDash val="dash"/>
            </a:ln>
          </p:spPr>
          <p:style>
            <a:lnRef idx="1">
              <a:schemeClr val="accent1"/>
            </a:lnRef>
            <a:fillRef idx="0">
              <a:schemeClr val="accent1"/>
            </a:fillRef>
            <a:effectRef idx="0">
              <a:schemeClr val="accent1"/>
            </a:effectRef>
            <a:fontRef idx="minor">
              <a:schemeClr val="tx1"/>
            </a:fontRef>
          </p:style>
        </p:cxnSp>
        <p:sp>
          <p:nvSpPr>
            <p:cNvPr id="94" name="正方形/長方形 93">
              <a:extLst>
                <a:ext uri="{FF2B5EF4-FFF2-40B4-BE49-F238E27FC236}">
                  <a16:creationId xmlns:a16="http://schemas.microsoft.com/office/drawing/2014/main" id="{4AA2B181-3ED9-1C50-DDE8-63B29F94C261}"/>
                </a:ext>
              </a:extLst>
            </p:cNvPr>
            <p:cNvSpPr/>
            <p:nvPr/>
          </p:nvSpPr>
          <p:spPr bwMode="gray">
            <a:xfrm>
              <a:off x="2644043" y="2003230"/>
              <a:ext cx="9209246" cy="617953"/>
            </a:xfrm>
            <a:prstGeom prst="rect">
              <a:avLst/>
            </a:prstGeom>
            <a:noFill/>
            <a:ln w="6350">
              <a:noFill/>
              <a:miter lim="800000"/>
              <a:headEnd/>
              <a:tailEnd/>
            </a:ln>
            <a:effectLst/>
          </p:spPr>
          <p:txBody>
            <a:bodyPr vert="horz" wrap="square" lIns="72000" tIns="72000" rIns="72000" bIns="72000" numCol="1" rtlCol="0" anchor="t" anchorCtr="0" compatLnSpc="1">
              <a:prstTxWarp prst="textNoShape">
                <a:avLst/>
              </a:prstTxWarp>
              <a:noAutofit/>
            </a:bodyPr>
            <a:lstStyle/>
            <a:p>
              <a:pPr marL="203200" indent="-203200">
                <a:spcBef>
                  <a:spcPts val="0"/>
                </a:spcBef>
                <a:spcAft>
                  <a:spcPts val="300"/>
                </a:spcAft>
                <a:buChar char="•"/>
              </a:pPr>
              <a:r>
                <a:rPr kumimoji="1" lang="ja-JP" altLang="en-US" sz="1200">
                  <a:solidFill>
                    <a:srgbClr val="0070C0"/>
                  </a:solidFill>
                  <a:latin typeface="+mn-ea"/>
                </a:rPr>
                <a:t>地域公共交通計画の改定に向けたデータ分析ニーズの聞き取り、整理</a:t>
              </a:r>
            </a:p>
          </p:txBody>
        </p:sp>
      </p:grpSp>
      <p:sp>
        <p:nvSpPr>
          <p:cNvPr id="98" name="四角形: 角を丸くする 97">
            <a:extLst>
              <a:ext uri="{FF2B5EF4-FFF2-40B4-BE49-F238E27FC236}">
                <a16:creationId xmlns:a16="http://schemas.microsoft.com/office/drawing/2014/main" id="{F96A4FAA-8BC6-ACDA-9A48-2C955E618C39}"/>
              </a:ext>
            </a:extLst>
          </p:cNvPr>
          <p:cNvSpPr/>
          <p:nvPr/>
        </p:nvSpPr>
        <p:spPr bwMode="gray">
          <a:xfrm>
            <a:off x="300778" y="1794094"/>
            <a:ext cx="3783993" cy="241273"/>
          </a:xfrm>
          <a:prstGeom prst="roundRect">
            <a:avLst>
              <a:gd name="adj" fmla="val 3836"/>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lang="ja-JP" altLang="en-US" sz="1400">
                <a:latin typeface="+mn-ea"/>
              </a:rPr>
              <a:t>モビリティデータの取得と活用</a:t>
            </a:r>
          </a:p>
        </p:txBody>
      </p:sp>
      <p:sp>
        <p:nvSpPr>
          <p:cNvPr id="99" name="四角形: 角を丸くする 98">
            <a:extLst>
              <a:ext uri="{FF2B5EF4-FFF2-40B4-BE49-F238E27FC236}">
                <a16:creationId xmlns:a16="http://schemas.microsoft.com/office/drawing/2014/main" id="{677FBB95-C85F-129E-221F-CCED023067AB}"/>
              </a:ext>
            </a:extLst>
          </p:cNvPr>
          <p:cNvSpPr/>
          <p:nvPr/>
        </p:nvSpPr>
        <p:spPr bwMode="gray">
          <a:xfrm>
            <a:off x="4225471" y="1794094"/>
            <a:ext cx="3783993" cy="241273"/>
          </a:xfrm>
          <a:prstGeom prst="roundRect">
            <a:avLst>
              <a:gd name="adj" fmla="val 3836"/>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latin typeface="+mn-ea"/>
              </a:rPr>
              <a:t>交通サービスの高度化</a:t>
            </a:r>
            <a:endParaRPr kumimoji="1" lang="en-US" altLang="ja-JP" sz="1400">
              <a:latin typeface="+mn-ea"/>
            </a:endParaRPr>
          </a:p>
        </p:txBody>
      </p:sp>
      <p:sp>
        <p:nvSpPr>
          <p:cNvPr id="100" name="四角形: 角を丸くする 99">
            <a:extLst>
              <a:ext uri="{FF2B5EF4-FFF2-40B4-BE49-F238E27FC236}">
                <a16:creationId xmlns:a16="http://schemas.microsoft.com/office/drawing/2014/main" id="{792ED3B5-00B5-1B9D-E8C7-7E30A7FC9B67}"/>
              </a:ext>
            </a:extLst>
          </p:cNvPr>
          <p:cNvSpPr/>
          <p:nvPr/>
        </p:nvSpPr>
        <p:spPr bwMode="gray">
          <a:xfrm>
            <a:off x="8071757" y="1794094"/>
            <a:ext cx="3783993" cy="241273"/>
          </a:xfrm>
          <a:prstGeom prst="roundRect">
            <a:avLst>
              <a:gd name="adj" fmla="val 3836"/>
            </a:avLst>
          </a:prstGeom>
          <a:noFill/>
          <a:ln w="6350">
            <a:solidFill>
              <a:schemeClr val="tx1"/>
            </a:solidFill>
            <a:miter lim="800000"/>
            <a:headEnd/>
            <a:tailEnd/>
          </a:ln>
          <a:effectLst/>
        </p:spPr>
        <p:txBody>
          <a:bodyPr vert="horz" wrap="square" lIns="72000" tIns="72000" rIns="72000" bIns="72000" numCol="1" rtlCol="0" anchor="ctr" anchorCtr="0" compatLnSpc="1">
            <a:prstTxWarp prst="textNoShape">
              <a:avLst/>
            </a:prstTxWarp>
            <a:noAutofit/>
          </a:bodyPr>
          <a:lstStyle/>
          <a:p>
            <a:pPr algn="ctr">
              <a:spcBef>
                <a:spcPts val="0"/>
              </a:spcBef>
              <a:spcAft>
                <a:spcPts val="300"/>
              </a:spcAft>
            </a:pPr>
            <a:r>
              <a:rPr kumimoji="1" lang="ja-JP" altLang="en-US" sz="1400">
                <a:latin typeface="+mn-ea"/>
              </a:rPr>
              <a:t>政策連携</a:t>
            </a:r>
          </a:p>
        </p:txBody>
      </p:sp>
      <p:sp>
        <p:nvSpPr>
          <p:cNvPr id="101" name="テキスト ボックス 100">
            <a:extLst>
              <a:ext uri="{FF2B5EF4-FFF2-40B4-BE49-F238E27FC236}">
                <a16:creationId xmlns:a16="http://schemas.microsoft.com/office/drawing/2014/main" id="{E1C966D4-D0DE-6EFA-035B-F40658EB06CF}"/>
              </a:ext>
            </a:extLst>
          </p:cNvPr>
          <p:cNvSpPr txBox="1"/>
          <p:nvPr/>
        </p:nvSpPr>
        <p:spPr>
          <a:xfrm>
            <a:off x="3049473" y="3498434"/>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en-US" altLang="ja-JP" sz="1400" b="0" i="0" u="none" strike="noStrike" kern="0" cap="none" spc="0" normalizeH="0" baseline="0" noProof="0">
                <a:ln>
                  <a:noFill/>
                </a:ln>
                <a:solidFill>
                  <a:srgbClr val="FFFFFF"/>
                </a:solidFill>
                <a:effectLst/>
                <a:uLnTx/>
                <a:uFillTx/>
              </a:rPr>
              <a:t>WBS/</a:t>
            </a:r>
            <a:r>
              <a:rPr kumimoji="0" lang="ja-JP" altLang="en-US" sz="1400" b="0" i="0" u="none" strike="noStrike" kern="0" cap="none" spc="0" normalizeH="0" baseline="0" noProof="0">
                <a:ln>
                  <a:noFill/>
                </a:ln>
                <a:solidFill>
                  <a:srgbClr val="FFFFFF"/>
                </a:solidFill>
                <a:effectLst/>
                <a:uLnTx/>
                <a:uFillTx/>
              </a:rPr>
              <a:t>ガントをベースとして、大きなマイルストン単位でプロジェクトの進め方をフロー化してください。</a:t>
            </a:r>
          </a:p>
        </p:txBody>
      </p:sp>
    </p:spTree>
    <p:extLst>
      <p:ext uri="{BB962C8B-B14F-4D97-AF65-F5344CB8AC3E}">
        <p14:creationId xmlns:p14="http://schemas.microsoft.com/office/powerpoint/2010/main" val="280781546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BBE9D25-4DE5-46EE-8FED-CB8ED36E5506}"/>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99" imgH="499" progId="TCLayout.ActiveDocument.1">
                  <p:embed/>
                </p:oleObj>
              </mc:Choice>
              <mc:Fallback>
                <p:oleObj name="think-cell スライド" r:id="rId4" imgW="499" imgH="499" progId="TCLayout.ActiveDocument.1">
                  <p:embed/>
                  <p:pic>
                    <p:nvPicPr>
                      <p:cNvPr id="8" name="オブジェクト 7" hidden="1">
                        <a:extLst>
                          <a:ext uri="{FF2B5EF4-FFF2-40B4-BE49-F238E27FC236}">
                            <a16:creationId xmlns:a16="http://schemas.microsoft.com/office/drawing/2014/main" id="{1BBE9D25-4DE5-46EE-8FED-CB8ED36E5506}"/>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9" name="正方形/長方形 8">
            <a:extLst>
              <a:ext uri="{FF2B5EF4-FFF2-40B4-BE49-F238E27FC236}">
                <a16:creationId xmlns:a16="http://schemas.microsoft.com/office/drawing/2014/main" id="{67FD600D-F712-D335-9DCD-5DDA57077E60}"/>
              </a:ext>
            </a:extLst>
          </p:cNvPr>
          <p:cNvSpPr/>
          <p:nvPr/>
        </p:nvSpPr>
        <p:spPr>
          <a:xfrm>
            <a:off x="7771425" y="2142026"/>
            <a:ext cx="4013137" cy="202875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600">
              <a:solidFill>
                <a:schemeClr val="tx1"/>
              </a:solidFill>
            </a:endParaRPr>
          </a:p>
        </p:txBody>
      </p:sp>
      <p:sp>
        <p:nvSpPr>
          <p:cNvPr id="11" name="テキスト プレースホルダー 10">
            <a:extLst>
              <a:ext uri="{FF2B5EF4-FFF2-40B4-BE49-F238E27FC236}">
                <a16:creationId xmlns:a16="http://schemas.microsoft.com/office/drawing/2014/main" id="{D6B57F77-6747-8345-B97F-B6205C839C6A}"/>
              </a:ext>
            </a:extLst>
          </p:cNvPr>
          <p:cNvSpPr>
            <a:spLocks noGrp="1"/>
          </p:cNvSpPr>
          <p:nvPr>
            <p:ph type="body" sz="quarter" idx="36"/>
          </p:nvPr>
        </p:nvSpPr>
        <p:spPr/>
        <p:txBody>
          <a:bodyPr/>
          <a:lstStyle/>
          <a:p>
            <a:endParaRPr lang="ja-JP" altLang="en-US"/>
          </a:p>
        </p:txBody>
      </p:sp>
      <p:sp>
        <p:nvSpPr>
          <p:cNvPr id="2" name="タイトル 1">
            <a:extLst>
              <a:ext uri="{FF2B5EF4-FFF2-40B4-BE49-F238E27FC236}">
                <a16:creationId xmlns:a16="http://schemas.microsoft.com/office/drawing/2014/main" id="{05AAEBB6-71D6-4253-80ED-017092C77AD9}"/>
              </a:ext>
            </a:extLst>
          </p:cNvPr>
          <p:cNvSpPr>
            <a:spLocks noGrp="1"/>
          </p:cNvSpPr>
          <p:nvPr>
            <p:ph type="title"/>
          </p:nvPr>
        </p:nvSpPr>
        <p:spPr/>
        <p:txBody>
          <a:bodyPr vert="horz"/>
          <a:lstStyle/>
          <a:p>
            <a:r>
              <a:rPr kumimoji="1" lang="ja-JP" altLang="en-US"/>
              <a:t>目次</a:t>
            </a:r>
          </a:p>
        </p:txBody>
      </p:sp>
      <p:sp>
        <p:nvSpPr>
          <p:cNvPr id="3" name="正方形/長方形 2">
            <a:extLst>
              <a:ext uri="{FF2B5EF4-FFF2-40B4-BE49-F238E27FC236}">
                <a16:creationId xmlns:a16="http://schemas.microsoft.com/office/drawing/2014/main" id="{20BEFCF4-A9A5-91FB-27D9-A73C26BE4928}"/>
              </a:ext>
            </a:extLst>
          </p:cNvPr>
          <p:cNvSpPr/>
          <p:nvPr/>
        </p:nvSpPr>
        <p:spPr>
          <a:xfrm>
            <a:off x="150389" y="1286401"/>
            <a:ext cx="11876770" cy="52327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numCol="3" rtlCol="0" anchor="t"/>
          <a:lstStyle/>
          <a:p>
            <a:pPr marL="342900" indent="-342900">
              <a:buFont typeface="+mj-lt"/>
              <a:buAutoNum type="romanU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のビジ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解決すべき社会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創出価値</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課題解決のアプローチ</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en-US" altLang="ja-JP" sz="1600">
                <a:solidFill>
                  <a:srgbClr val="000000"/>
                </a:solidFill>
                <a:latin typeface="BIZ UDPゴシック"/>
                <a:ea typeface="BIZ UDPゴシック"/>
              </a:rPr>
              <a:t>KPI</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想定事業機会</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中長期的な展開</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交通サービスの高度化</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サービス全体像</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実証仮説</a:t>
            </a:r>
            <a:endParaRPr lang="en-US" altLang="ja-JP" sz="1600">
              <a:solidFill>
                <a:srgbClr val="000000"/>
              </a:solidFill>
              <a:latin typeface="BIZ UDPゴシック"/>
              <a:ea typeface="BIZ UDPゴシック"/>
            </a:endParaRPr>
          </a:p>
          <a:p>
            <a:pPr marL="800100" lvl="1" indent="-342900">
              <a:buFont typeface="+mj-lt"/>
              <a:buAutoNum type="arabicPeriod"/>
              <a:defRPr/>
            </a:pPr>
            <a:r>
              <a:rPr lang="ja-JP" altLang="en-US" sz="1600">
                <a:solidFill>
                  <a:srgbClr val="000000"/>
                </a:solidFill>
                <a:latin typeface="BIZ UDPゴシック"/>
                <a:ea typeface="BIZ UDPゴシック"/>
              </a:rPr>
              <a:t>スコープ詳細　</a:t>
            </a:r>
            <a:endParaRPr lang="en-US" altLang="ja-JP" sz="1600">
              <a:solidFill>
                <a:srgbClr val="000000"/>
              </a:solidFill>
              <a:latin typeface="BIZ UDPゴシック"/>
              <a:ea typeface="BIZ UDPゴシック"/>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プロジェクト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モビリティデータの取得と活用</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lang="ja-JP" altLang="en-US" sz="1600">
                <a:solidFill>
                  <a:srgbClr val="000000"/>
                </a:solidFill>
                <a:latin typeface="BIZ UDPゴシック"/>
                <a:ea typeface="BIZ UDPゴシック"/>
              </a:rPr>
              <a:t>データ活用の</a:t>
            </a: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全体像</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証仮説</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コープ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データ活用実施エリア</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技術要素</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利用するデータ一覧</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ユーザインターフェース</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政策連携</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実施内容の詳細</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事業の推進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アーキテクチャ全体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ハードウェアアーキテクチャ</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US" altLang="ja-JP" sz="1600">
              <a:solidFill>
                <a:srgbClr val="000000"/>
              </a:solidFill>
              <a:latin typeface="BIZ UDPゴシック"/>
              <a:ea typeface="BIZ UDPゴシック"/>
            </a:endParaRPr>
          </a:p>
          <a:p>
            <a:pPr marL="800100" marR="0" lvl="1"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スケジュール</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スケジュール（</a:t>
            </a:r>
            <a:r>
              <a:rPr lang="en-US" altLang="ja-JP" sz="1600">
                <a:solidFill>
                  <a:srgbClr val="000000"/>
                </a:solidFill>
                <a:latin typeface="BIZ UDPゴシック"/>
                <a:ea typeface="BIZ UDPゴシック"/>
              </a:rPr>
              <a:t>WBS</a:t>
            </a:r>
            <a:r>
              <a:rPr lang="ja-JP" altLang="en-US" sz="1600">
                <a:solidFill>
                  <a:srgbClr val="000000"/>
                </a:solidFill>
                <a:latin typeface="BIZ UDPゴシック"/>
                <a:ea typeface="BIZ UDPゴシック"/>
              </a:rPr>
              <a:t>ガントチャー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プロジェクトのフロー</a:t>
            </a:r>
            <a:endParaRPr lang="en-US" altLang="ja-JP" sz="1600">
              <a:solidFill>
                <a:srgbClr val="000000"/>
              </a:solidFill>
              <a:latin typeface="BIZ UDPゴシック"/>
              <a:ea typeface="BIZ UDPゴシック"/>
            </a:endParaRPr>
          </a:p>
          <a:p>
            <a:pPr marL="800100" lvl="1" indent="-342900">
              <a:buFont typeface="+mj-lt"/>
              <a:buAutoNum type="arabicPeriod"/>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romanUcPeriod"/>
              <a:tabLst/>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マネジメント計画</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リスク・課題</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スト</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リソース（プロジェクト実施体制）</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コミュニケーション</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kumimoji="1" lang="ja-JP" altLang="en-US" sz="1600" b="0" i="0" u="none" strike="noStrike" kern="1200" cap="none" spc="0" normalizeH="0" baseline="0" noProof="0">
                <a:ln>
                  <a:noFill/>
                </a:ln>
                <a:solidFill>
                  <a:srgbClr val="000000"/>
                </a:solidFill>
                <a:effectLst/>
                <a:uLnTx/>
                <a:uFillTx/>
                <a:latin typeface="BIZ UDPゴシック"/>
                <a:ea typeface="BIZ UDPゴシック"/>
                <a:cs typeface="+mn-cs"/>
              </a:rPr>
              <a:t>品質</a:t>
            </a: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L="800100" lvl="1" indent="-342900">
              <a:buFont typeface="+mj-lt"/>
              <a:buAutoNum type="arabicPeriod"/>
              <a:defRPr/>
            </a:pPr>
            <a:r>
              <a:rPr lang="ja-JP" altLang="en-US" sz="1600">
                <a:solidFill>
                  <a:srgbClr val="000000"/>
                </a:solidFill>
                <a:latin typeface="BIZ UDPゴシック"/>
                <a:ea typeface="BIZ UDPゴシック"/>
              </a:rPr>
              <a:t>成果物</a:t>
            </a:r>
            <a:endParaRPr lang="en-US" altLang="ja-JP" sz="1600">
              <a:solidFill>
                <a:srgbClr val="000000"/>
              </a:solidFill>
              <a:latin typeface="BIZ UDPゴシック"/>
              <a:ea typeface="BIZ UDPゴシック"/>
            </a:endParaRPr>
          </a:p>
          <a:p>
            <a:pPr lvl="1">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a:p>
            <a:pPr marR="0" lvl="2" algn="l" defTabSz="914400" rtl="0" eaLnBrk="1" fontAlgn="auto" latinLnBrk="0" hangingPunct="1">
              <a:lnSpc>
                <a:spcPct val="100000"/>
              </a:lnSpc>
              <a:spcBef>
                <a:spcPts val="0"/>
              </a:spcBef>
              <a:spcAft>
                <a:spcPts val="0"/>
              </a:spcAft>
              <a:buClrTx/>
              <a:buSzTx/>
              <a:tabLst/>
              <a:defRPr/>
            </a:pPr>
            <a:endParaRPr kumimoji="1" lang="en-US" altLang="ja-JP" sz="1600" b="0" i="0" u="none" strike="noStrike" kern="1200" cap="none" spc="0" normalizeH="0" baseline="0" noProof="0">
              <a:ln>
                <a:noFill/>
              </a:ln>
              <a:solidFill>
                <a:srgbClr val="000000"/>
              </a:solidFill>
              <a:effectLst/>
              <a:uLnTx/>
              <a:uFillTx/>
              <a:latin typeface="BIZ UDPゴシック"/>
              <a:ea typeface="BIZ UDPゴシック"/>
              <a:cs typeface="+mn-cs"/>
            </a:endParaRPr>
          </a:p>
        </p:txBody>
      </p:sp>
    </p:spTree>
    <p:extLst>
      <p:ext uri="{BB962C8B-B14F-4D97-AF65-F5344CB8AC3E}">
        <p14:creationId xmlns:p14="http://schemas.microsoft.com/office/powerpoint/2010/main" val="37045624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4AA7A839-18DF-4E64-8C75-214FAE9014E7}"/>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２</a:t>
            </a:r>
            <a:r>
              <a:rPr lang="en-US" altLang="ja-JP"/>
              <a:t>.</a:t>
            </a:r>
            <a:r>
              <a:rPr lang="ja-JP" altLang="en-US"/>
              <a:t>創出価値</a:t>
            </a:r>
          </a:p>
        </p:txBody>
      </p:sp>
      <p:grpSp>
        <p:nvGrpSpPr>
          <p:cNvPr id="3" name="グループ化 2">
            <a:extLst>
              <a:ext uri="{FF2B5EF4-FFF2-40B4-BE49-F238E27FC236}">
                <a16:creationId xmlns:a16="http://schemas.microsoft.com/office/drawing/2014/main" id="{1BE8033C-A7B3-5961-A594-9CD86954FA2B}"/>
              </a:ext>
            </a:extLst>
          </p:cNvPr>
          <p:cNvGrpSpPr/>
          <p:nvPr/>
        </p:nvGrpSpPr>
        <p:grpSpPr>
          <a:xfrm>
            <a:off x="302400" y="1611491"/>
            <a:ext cx="11587200" cy="309600"/>
            <a:chOff x="302400" y="1990800"/>
            <a:chExt cx="11587200" cy="309600"/>
          </a:xfrm>
        </p:grpSpPr>
        <p:grpSp>
          <p:nvGrpSpPr>
            <p:cNvPr id="4" name="PanelGroup1">
              <a:extLst>
                <a:ext uri="{FF2B5EF4-FFF2-40B4-BE49-F238E27FC236}">
                  <a16:creationId xmlns:a16="http://schemas.microsoft.com/office/drawing/2014/main" id="{7812F0ED-4843-A988-DB74-685513EF3A17}"/>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F11E7E97-245A-D7F7-36C0-68CB910C05C1}"/>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実現したい価値・目指す世界</a:t>
                </a:r>
              </a:p>
            </p:txBody>
          </p:sp>
          <p:cxnSp>
            <p:nvCxnSpPr>
              <p:cNvPr id="13" name="直線矢印コネクタ 12">
                <a:extLst>
                  <a:ext uri="{FF2B5EF4-FFF2-40B4-BE49-F238E27FC236}">
                    <a16:creationId xmlns:a16="http://schemas.microsoft.com/office/drawing/2014/main" id="{F9D827AE-7DB6-8B95-3FEA-062DF43E1AE4}"/>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8" name="PanelGroup2">
              <a:extLst>
                <a:ext uri="{FF2B5EF4-FFF2-40B4-BE49-F238E27FC236}">
                  <a16:creationId xmlns:a16="http://schemas.microsoft.com/office/drawing/2014/main" id="{C9F4060C-6E60-74B0-BA37-DFFB7605BE81}"/>
                </a:ext>
              </a:extLst>
            </p:cNvPr>
            <p:cNvGrpSpPr/>
            <p:nvPr/>
          </p:nvGrpSpPr>
          <p:grpSpPr>
            <a:xfrm>
              <a:off x="6128400" y="1990800"/>
              <a:ext cx="5761200" cy="309600"/>
              <a:chOff x="6128400" y="1990800"/>
              <a:chExt cx="5761200" cy="309600"/>
            </a:xfrm>
          </p:grpSpPr>
          <p:sp>
            <p:nvSpPr>
              <p:cNvPr id="10" name="正方形/長方形 9">
                <a:extLst>
                  <a:ext uri="{FF2B5EF4-FFF2-40B4-BE49-F238E27FC236}">
                    <a16:creationId xmlns:a16="http://schemas.microsoft.com/office/drawing/2014/main" id="{C62006B4-6E2D-0E4F-98BD-E04EC6E6BBB0}"/>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1" name="直線矢印コネクタ 10">
                <a:extLst>
                  <a:ext uri="{FF2B5EF4-FFF2-40B4-BE49-F238E27FC236}">
                    <a16:creationId xmlns:a16="http://schemas.microsoft.com/office/drawing/2014/main" id="{64B5E149-669F-4D0F-12C5-3052CD24513C}"/>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4" name="正方形/長方形 13">
            <a:extLst>
              <a:ext uri="{FF2B5EF4-FFF2-40B4-BE49-F238E27FC236}">
                <a16:creationId xmlns:a16="http://schemas.microsoft.com/office/drawing/2014/main" id="{B9F3B646-3966-B82B-45E7-9F03CD875178}"/>
              </a:ext>
            </a:extLst>
          </p:cNvPr>
          <p:cNvSpPr/>
          <p:nvPr/>
        </p:nvSpPr>
        <p:spPr>
          <a:xfrm>
            <a:off x="300778" y="1921091"/>
            <a:ext cx="5761199" cy="43487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2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の導入により、シームレスな公共交通利用を実現することで、市民の行動変化を促し、「持続可能」な公共交通を実現することで、自動車利用から公共交通利用への転換を実現する。</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交通事業者との連携したお得で使いやすいデジタルチケットを企画、提供することで、利用者の利便性や利用頻度を向上させ、交通ネットワークの持続可能性向上を目指す。</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en-US" altLang="ja-JP" sz="1200" b="0" i="0" u="none" strike="noStrike" kern="1200" cap="none" spc="0" normalizeH="0" baseline="0" noProof="0" err="1">
                <a:ln>
                  <a:noFill/>
                </a:ln>
                <a:solidFill>
                  <a:srgbClr val="0070C0"/>
                </a:solidFill>
                <a:effectLst/>
                <a:uLnTx/>
                <a:uFillTx/>
                <a:latin typeface="BIZ UDPゴシック"/>
                <a:ea typeface="BIZ UDPゴシック"/>
                <a:cs typeface="+mn-cs"/>
              </a:rPr>
              <a:t>MaaS</a:t>
            </a: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アプリから収集したデータを分析できる環境を構築することで、利用実績に基づいた効果的な交通再編、地域公共交通計画の改定に活用する。</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a:p>
            <a:pPr marR="0" lvl="0" algn="l" defTabSz="914400" rtl="0" eaLnBrk="1" fontAlgn="auto" latinLnBrk="0" hangingPunct="1">
              <a:lnSpc>
                <a:spcPct val="100000"/>
              </a:lnSpc>
              <a:spcBef>
                <a:spcPts val="0"/>
              </a:spcBef>
              <a:spcAft>
                <a:spcPts val="0"/>
              </a:spcAft>
              <a:buClrTx/>
              <a:buSzTx/>
              <a:tabLst/>
              <a:defRPr/>
            </a:pPr>
            <a:endParaRPr lang="en-US" altLang="ja-JP" sz="1200">
              <a:solidFill>
                <a:srgbClr val="0070C0"/>
              </a:solidFill>
              <a:latin typeface="BIZ UDPゴシック"/>
              <a:ea typeface="BIZ UDPゴシック"/>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市民の移動実態を</a:t>
            </a:r>
            <a:r>
              <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rPr>
              <a:t>OD</a:t>
            </a:r>
            <a:r>
              <a:rPr kumimoji="1" lang="ja-JP" altLang="en-US" sz="1200" b="0" i="0" u="none" strike="noStrike" kern="1200" cap="none" spc="0" normalizeH="0" baseline="0" noProof="0">
                <a:ln>
                  <a:noFill/>
                </a:ln>
                <a:solidFill>
                  <a:srgbClr val="0070C0"/>
                </a:solidFill>
                <a:effectLst/>
                <a:uLnTx/>
                <a:uFillTx/>
                <a:latin typeface="BIZ UDPゴシック"/>
                <a:ea typeface="BIZ UDPゴシック"/>
                <a:cs typeface="+mn-cs"/>
              </a:rPr>
              <a:t>データを取得することで可視化し、地域の実情にあった新たなモビリティへのモード転換の検討できる環境を構築する。</a:t>
            </a: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16" name="テキスト プレースホルダー 15">
            <a:extLst>
              <a:ext uri="{FF2B5EF4-FFF2-40B4-BE49-F238E27FC236}">
                <a16:creationId xmlns:a16="http://schemas.microsoft.com/office/drawing/2014/main" id="{E4DD4B8D-47E0-8296-7CF0-B8554AD1C112}"/>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7" name="テキスト ボックス 6">
            <a:extLst>
              <a:ext uri="{FF2B5EF4-FFF2-40B4-BE49-F238E27FC236}">
                <a16:creationId xmlns:a16="http://schemas.microsoft.com/office/drawing/2014/main" id="{92059B74-994D-07CA-F86B-836ED37BAD3F}"/>
              </a:ext>
            </a:extLst>
          </p:cNvPr>
          <p:cNvSpPr txBox="1"/>
          <p:nvPr/>
        </p:nvSpPr>
        <p:spPr>
          <a:xfrm>
            <a:off x="7253399" y="2901458"/>
            <a:ext cx="3511202" cy="282186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イメージビジュアルなどを掲載してください。</a:t>
            </a:r>
          </a:p>
        </p:txBody>
      </p:sp>
      <p:sp>
        <p:nvSpPr>
          <p:cNvPr id="17" name="テキスト ボックス 16">
            <a:extLst>
              <a:ext uri="{FF2B5EF4-FFF2-40B4-BE49-F238E27FC236}">
                <a16:creationId xmlns:a16="http://schemas.microsoft.com/office/drawing/2014/main" id="{06A9795E-0AF7-9AE1-FEDA-F367EEF9D749}"/>
              </a:ext>
            </a:extLst>
          </p:cNvPr>
          <p:cNvSpPr txBox="1"/>
          <p:nvPr/>
        </p:nvSpPr>
        <p:spPr>
          <a:xfrm>
            <a:off x="1390885" y="2933046"/>
            <a:ext cx="3511202" cy="282186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本プロジェクトにより業界・事業領域全体にもたらす価値と目指す世界について記載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課題解決が実現した先にどのような社会を目指すのか、といった観点で記載してください。​</a:t>
            </a:r>
          </a:p>
        </p:txBody>
      </p:sp>
    </p:spTree>
    <p:extLst>
      <p:ext uri="{BB962C8B-B14F-4D97-AF65-F5344CB8AC3E}">
        <p14:creationId xmlns:p14="http://schemas.microsoft.com/office/powerpoint/2010/main" val="26293550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A480D1FA-7A9C-69C0-2BC3-1E986E802FD3}"/>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lang="en-US" altLang="ja-JP"/>
              <a:t>1.</a:t>
            </a:r>
            <a:r>
              <a:rPr kumimoji="1" lang="ja-JP" altLang="en-US"/>
              <a:t>リスク・課題</a:t>
            </a:r>
          </a:p>
        </p:txBody>
      </p:sp>
      <p:graphicFrame>
        <p:nvGraphicFramePr>
          <p:cNvPr id="2" name="表 7">
            <a:extLst>
              <a:ext uri="{FF2B5EF4-FFF2-40B4-BE49-F238E27FC236}">
                <a16:creationId xmlns:a16="http://schemas.microsoft.com/office/drawing/2014/main" id="{160D2BC7-24B6-9403-A602-4F7ED4041F1F}"/>
              </a:ext>
            </a:extLst>
          </p:cNvPr>
          <p:cNvGraphicFramePr>
            <a:graphicFrameLocks noGrp="1"/>
          </p:cNvGraphicFramePr>
          <p:nvPr>
            <p:extLst>
              <p:ext uri="{D42A27DB-BD31-4B8C-83A1-F6EECF244321}">
                <p14:modId xmlns:p14="http://schemas.microsoft.com/office/powerpoint/2010/main" val="4208061289"/>
              </p:ext>
            </p:extLst>
          </p:nvPr>
        </p:nvGraphicFramePr>
        <p:xfrm>
          <a:off x="287978" y="2003913"/>
          <a:ext cx="11608748" cy="3810128"/>
        </p:xfrm>
        <a:graphic>
          <a:graphicData uri="http://schemas.openxmlformats.org/drawingml/2006/table">
            <a:tbl>
              <a:tblPr>
                <a:tableStyleId>{5C22544A-7EE6-4342-B048-85BDC9FD1C3A}</a:tableStyleId>
              </a:tblPr>
              <a:tblGrid>
                <a:gridCol w="1366651">
                  <a:extLst>
                    <a:ext uri="{9D8B030D-6E8A-4147-A177-3AD203B41FA5}">
                      <a16:colId xmlns:a16="http://schemas.microsoft.com/office/drawing/2014/main" val="564283603"/>
                    </a:ext>
                  </a:extLst>
                </a:gridCol>
                <a:gridCol w="3410857">
                  <a:extLst>
                    <a:ext uri="{9D8B030D-6E8A-4147-A177-3AD203B41FA5}">
                      <a16:colId xmlns:a16="http://schemas.microsoft.com/office/drawing/2014/main" val="1942113200"/>
                    </a:ext>
                  </a:extLst>
                </a:gridCol>
                <a:gridCol w="2873828">
                  <a:extLst>
                    <a:ext uri="{9D8B030D-6E8A-4147-A177-3AD203B41FA5}">
                      <a16:colId xmlns:a16="http://schemas.microsoft.com/office/drawing/2014/main" val="1555115935"/>
                    </a:ext>
                  </a:extLst>
                </a:gridCol>
                <a:gridCol w="3957412">
                  <a:extLst>
                    <a:ext uri="{9D8B030D-6E8A-4147-A177-3AD203B41FA5}">
                      <a16:colId xmlns:a16="http://schemas.microsoft.com/office/drawing/2014/main" val="3450795353"/>
                    </a:ext>
                  </a:extLst>
                </a:gridCol>
              </a:tblGrid>
              <a:tr h="0">
                <a:tc>
                  <a:txBody>
                    <a:bodyPr/>
                    <a:lstStyle/>
                    <a:p>
                      <a:r>
                        <a:rPr kumimoji="1" lang="ja-JP" altLang="en-US" sz="1400" b="1">
                          <a:latin typeface="+mn-ea"/>
                          <a:ea typeface="+mn-ea"/>
                        </a:rPr>
                        <a:t>分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kumimoji="1" lang="ja-JP" altLang="en-US" sz="1400" b="1">
                          <a:latin typeface="+mn-ea"/>
                          <a:ea typeface="+mn-ea"/>
                        </a:rPr>
                        <a:t>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kumimoji="1" lang="ja-JP" altLang="en-US" sz="1400" b="1">
                          <a:latin typeface="+mn-ea"/>
                          <a:ea typeface="+mn-ea"/>
                        </a:rPr>
                        <a:t>リスク評価</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r>
                        <a:rPr kumimoji="1" lang="ja-JP" altLang="en-US" sz="1400" b="1">
                          <a:latin typeface="+mn-ea"/>
                          <a:ea typeface="+mn-ea"/>
                        </a:rPr>
                        <a:t>対策・解決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19378519"/>
                  </a:ext>
                </a:extLst>
              </a:tr>
              <a:tr h="332169">
                <a:tc>
                  <a:txBody>
                    <a:bodyPr/>
                    <a:lstStyle/>
                    <a:p>
                      <a:r>
                        <a:rPr kumimoji="1" lang="ja-JP" altLang="en-US" sz="1400">
                          <a:solidFill>
                            <a:srgbClr val="0070C0"/>
                          </a:solidFill>
                          <a:latin typeface="+mn-ea"/>
                          <a:ea typeface="+mn-ea"/>
                        </a:rPr>
                        <a:t>例：技術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ja-JP" altLang="en-US" sz="1400">
                          <a:solidFill>
                            <a:srgbClr val="0070C0"/>
                          </a:solidFill>
                        </a:rPr>
                        <a:t>システムが利用者数の増加に対応できず、パフォーマンスが低下する</a:t>
                      </a: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高（サービスの質を著しく損な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ja-JP" altLang="en-US" sz="1400">
                          <a:solidFill>
                            <a:srgbClr val="0070C0"/>
                          </a:solidFill>
                        </a:rPr>
                        <a:t>負荷テストを通じてパフォーマンスを検証</a:t>
                      </a:r>
                      <a:endParaRPr kumimoji="1" lang="ja-JP" altLang="en-US" sz="140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3426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　　環境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悪天候により利用者が減少し、</a:t>
                      </a:r>
                      <a:r>
                        <a:rPr kumimoji="1" lang="en-US" altLang="ja-JP" sz="1400" err="1">
                          <a:solidFill>
                            <a:srgbClr val="0070C0"/>
                          </a:solidFill>
                          <a:latin typeface="+mn-ea"/>
                          <a:ea typeface="+mn-ea"/>
                        </a:rPr>
                        <a:t>MaaS</a:t>
                      </a:r>
                      <a:r>
                        <a:rPr kumimoji="1" lang="ja-JP" altLang="en-US" sz="1400">
                          <a:solidFill>
                            <a:srgbClr val="0070C0"/>
                          </a:solidFill>
                          <a:latin typeface="+mn-ea"/>
                          <a:ea typeface="+mn-ea"/>
                        </a:rPr>
                        <a:t>の効果が低下</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中（影響は一時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利用者への天候情報の提供と代替手段の案内</a:t>
                      </a:r>
                    </a:p>
                    <a:p>
                      <a:r>
                        <a:rPr kumimoji="1" lang="ja-JP" altLang="en-US" sz="1400">
                          <a:solidFill>
                            <a:srgbClr val="0070C0"/>
                          </a:solidFill>
                          <a:latin typeface="+mn-ea"/>
                          <a:ea typeface="+mn-ea"/>
                        </a:rPr>
                        <a:t>悪天候時のプロモーションやインセンティブを提供し、利用促進</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a:solidFill>
                            <a:srgbClr val="0070C0"/>
                          </a:solidFill>
                          <a:latin typeface="+mn-ea"/>
                          <a:ea typeface="+mn-ea"/>
                        </a:rPr>
                        <a:t>　　運用リスク</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システム障害やサーバーダウンによるサービス停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中（影響は大きが、頻度は低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400">
                          <a:solidFill>
                            <a:srgbClr val="0070C0"/>
                          </a:solidFill>
                          <a:latin typeface="+mn-ea"/>
                          <a:ea typeface="+mn-ea"/>
                        </a:rPr>
                        <a:t>定期的なシステムメンテナンスと監視</a:t>
                      </a:r>
                    </a:p>
                    <a:p>
                      <a:r>
                        <a:rPr kumimoji="1" lang="ja-JP" altLang="en-US" sz="1400">
                          <a:solidFill>
                            <a:srgbClr val="0070C0"/>
                          </a:solidFill>
                          <a:latin typeface="+mn-ea"/>
                          <a:ea typeface="+mn-ea"/>
                        </a:rPr>
                        <a:t>冗長化したサーバー構成</a:t>
                      </a:r>
                    </a:p>
                    <a:p>
                      <a:r>
                        <a:rPr kumimoji="1" lang="ja-JP" altLang="en-US" sz="1400">
                          <a:solidFill>
                            <a:srgbClr val="0070C0"/>
                          </a:solidFill>
                          <a:latin typeface="+mn-ea"/>
                          <a:ea typeface="+mn-ea"/>
                        </a:rPr>
                        <a:t>障害時の迅速な復旧手順の整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37532424"/>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94222439"/>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87642477"/>
                  </a:ext>
                </a:extLst>
              </a:tr>
              <a:tr h="3810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40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0134616"/>
                  </a:ext>
                </a:extLst>
              </a:tr>
            </a:tbl>
          </a:graphicData>
        </a:graphic>
      </p:graphicFrame>
      <p:sp>
        <p:nvSpPr>
          <p:cNvPr id="6" name="テキスト ボックス 5">
            <a:extLst>
              <a:ext uri="{FF2B5EF4-FFF2-40B4-BE49-F238E27FC236}">
                <a16:creationId xmlns:a16="http://schemas.microsoft.com/office/drawing/2014/main" id="{3436CB90-C2D8-4C71-8598-E7CDF6DA3EE9}"/>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における潜在的なリスクと現在の課題を特定し、それに対する対策を明確に記載してください。​</a:t>
            </a:r>
          </a:p>
        </p:txBody>
      </p:sp>
    </p:spTree>
    <p:extLst>
      <p:ext uri="{BB962C8B-B14F-4D97-AF65-F5344CB8AC3E}">
        <p14:creationId xmlns:p14="http://schemas.microsoft.com/office/powerpoint/2010/main" val="9363715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7">
            <a:extLst>
              <a:ext uri="{FF2B5EF4-FFF2-40B4-BE49-F238E27FC236}">
                <a16:creationId xmlns:a16="http://schemas.microsoft.com/office/drawing/2014/main" id="{D49F8818-13D5-031F-17C9-B075602B9F36}"/>
              </a:ext>
            </a:extLst>
          </p:cNvPr>
          <p:cNvGraphicFramePr>
            <a:graphicFrameLocks noGrp="1"/>
          </p:cNvGraphicFramePr>
          <p:nvPr>
            <p:extLst>
              <p:ext uri="{D42A27DB-BD31-4B8C-83A1-F6EECF244321}">
                <p14:modId xmlns:p14="http://schemas.microsoft.com/office/powerpoint/2010/main" val="2915783758"/>
              </p:ext>
            </p:extLst>
          </p:nvPr>
        </p:nvGraphicFramePr>
        <p:xfrm>
          <a:off x="292100" y="2133600"/>
          <a:ext cx="11595101" cy="2699520"/>
        </p:xfrm>
        <a:graphic>
          <a:graphicData uri="http://schemas.openxmlformats.org/drawingml/2006/table">
            <a:tbl>
              <a:tblPr>
                <a:tableStyleId>{5C22544A-7EE6-4342-B048-85BDC9FD1C3A}</a:tableStyleId>
              </a:tblPr>
              <a:tblGrid>
                <a:gridCol w="5798346">
                  <a:extLst>
                    <a:ext uri="{9D8B030D-6E8A-4147-A177-3AD203B41FA5}">
                      <a16:colId xmlns:a16="http://schemas.microsoft.com/office/drawing/2014/main" val="1942113200"/>
                    </a:ext>
                  </a:extLst>
                </a:gridCol>
                <a:gridCol w="5796755">
                  <a:extLst>
                    <a:ext uri="{9D8B030D-6E8A-4147-A177-3AD203B41FA5}">
                      <a16:colId xmlns:a16="http://schemas.microsoft.com/office/drawing/2014/main" val="1115002749"/>
                    </a:ext>
                  </a:extLst>
                </a:gridCol>
              </a:tblGrid>
              <a:tr h="336666">
                <a:tc>
                  <a:txBody>
                    <a:bodyPr/>
                    <a:lstStyle/>
                    <a:p>
                      <a:r>
                        <a:rPr kumimoji="1" lang="ja-JP" altLang="en-US" sz="1600" b="1">
                          <a:latin typeface="+mn-ea"/>
                          <a:ea typeface="+mn-ea"/>
                        </a:rPr>
                        <a:t>項目</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600" b="1">
                          <a:latin typeface="+mn-ea"/>
                          <a:ea typeface="+mn-ea"/>
                        </a:rPr>
                        <a:t>金額</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334771">
                <a:tc>
                  <a:txBody>
                    <a:bodyPr/>
                    <a:lstStyle/>
                    <a:p>
                      <a:pPr algn="l" fontAlgn="ctr"/>
                      <a:r>
                        <a:rPr lang="ja-JP" altLang="en-US" sz="1600" b="0" i="0" u="none" strike="noStrike">
                          <a:solidFill>
                            <a:srgbClr val="0070C0"/>
                          </a:solidFill>
                          <a:effectLst/>
                          <a:latin typeface="+mn-ea"/>
                          <a:ea typeface="+mn-ea"/>
                        </a:rPr>
                        <a:t>プロジェクト・ビジョンの定義</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334771">
                <a:tc>
                  <a:txBody>
                    <a:bodyPr/>
                    <a:lstStyle/>
                    <a:p>
                      <a:pPr algn="l" fontAlgn="ctr"/>
                      <a:r>
                        <a:rPr lang="ja-JP" altLang="en-US" sz="1600" b="0" i="0" u="none" strike="noStrike">
                          <a:solidFill>
                            <a:srgbClr val="0070C0"/>
                          </a:solidFill>
                          <a:effectLst/>
                          <a:latin typeface="+mn-ea"/>
                          <a:ea typeface="+mn-ea"/>
                        </a:rPr>
                        <a:t>プロジェクト・スコープの定義</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324254">
                <a:tc>
                  <a:txBody>
                    <a:bodyPr/>
                    <a:lstStyle/>
                    <a:p>
                      <a:pPr algn="l" fontAlgn="ctr"/>
                      <a:r>
                        <a:rPr lang="ja-JP" altLang="en-US" sz="1600" b="0" i="0" u="none" strike="noStrike">
                          <a:solidFill>
                            <a:srgbClr val="0070C0"/>
                          </a:solidFill>
                          <a:effectLst/>
                          <a:latin typeface="+mn-ea"/>
                          <a:ea typeface="+mn-ea"/>
                        </a:rPr>
                        <a:t>ドキュメンテーション等</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334771">
                <a:tc>
                  <a:txBody>
                    <a:bodyPr/>
                    <a:lstStyle/>
                    <a:p>
                      <a:pPr algn="l" fontAlgn="ctr"/>
                      <a:r>
                        <a:rPr lang="ja-JP" altLang="en-US" sz="1600" b="0" i="0" u="none" strike="noStrike">
                          <a:solidFill>
                            <a:srgbClr val="0070C0"/>
                          </a:solidFill>
                          <a:effectLst/>
                          <a:latin typeface="+mn-ea"/>
                          <a:ea typeface="+mn-ea"/>
                        </a:rPr>
                        <a:t>システム開発</a:t>
                      </a:r>
                      <a:r>
                        <a:rPr lang="en-US" altLang="ja-JP" sz="1600" b="0" i="0" u="none" strike="noStrike">
                          <a:solidFill>
                            <a:srgbClr val="0070C0"/>
                          </a:solidFill>
                          <a:effectLst/>
                          <a:latin typeface="+mn-ea"/>
                          <a:ea typeface="+mn-ea"/>
                        </a:rPr>
                        <a:t>XX</a:t>
                      </a:r>
                      <a:endParaRPr lang="ja-JP" altLang="en-US" sz="1600" b="0" i="0" u="none" strike="noStrike">
                        <a:solidFill>
                          <a:srgbClr val="0070C0"/>
                        </a:solidFill>
                        <a:effectLst/>
                        <a:latin typeface="+mn-ea"/>
                        <a:ea typeface="+mn-ea"/>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r h="334771">
                <a:tc>
                  <a:txBody>
                    <a:bodyPr/>
                    <a:lstStyle/>
                    <a:p>
                      <a:pPr algn="l" fontAlgn="ctr"/>
                      <a:r>
                        <a:rPr lang="ja-JP" altLang="en-US" sz="1600" b="0" i="0" u="none" strike="noStrike">
                          <a:solidFill>
                            <a:srgbClr val="0070C0"/>
                          </a:solidFill>
                          <a:effectLst/>
                          <a:latin typeface="+mn-ea"/>
                          <a:ea typeface="+mn-ea"/>
                        </a:rPr>
                        <a:t>端末購入</a:t>
                      </a:r>
                      <a:r>
                        <a:rPr lang="en-US" altLang="ja-JP" sz="1600" b="0" i="0" u="none" strike="noStrike">
                          <a:solidFill>
                            <a:srgbClr val="0070C0"/>
                          </a:solidFill>
                          <a:effectLst/>
                          <a:latin typeface="+mn-ea"/>
                          <a:ea typeface="+mn-ea"/>
                        </a:rPr>
                        <a:t>XXX</a:t>
                      </a:r>
                      <a:endParaRPr lang="ja-JP" altLang="en-US" sz="1600" b="0" i="0" u="none" strike="noStrike">
                        <a:solidFill>
                          <a:srgbClr val="0070C0"/>
                        </a:solidFill>
                        <a:effectLst/>
                        <a:latin typeface="+mn-ea"/>
                        <a:ea typeface="+mn-ea"/>
                      </a:endParaRP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r" defTabSz="742950" rtl="0" eaLnBrk="1" fontAlgn="ctr"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a:ln>
                            <a:noFill/>
                          </a:ln>
                          <a:solidFill>
                            <a:srgbClr val="0070C0"/>
                          </a:solidFill>
                          <a:effectLst/>
                          <a:uLnTx/>
                          <a:uFillTx/>
                          <a:latin typeface="BIZ UDPゴシック"/>
                          <a:ea typeface="BIZ UDPゴシック"/>
                          <a:cs typeface="+mn-cs"/>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35476472"/>
                  </a:ext>
                </a:extLst>
              </a:tr>
              <a:tr h="334771">
                <a:tc>
                  <a:txBody>
                    <a:bodyPr/>
                    <a:lstStyle/>
                    <a:p>
                      <a:pPr algn="l" fontAlgn="ctr"/>
                      <a:r>
                        <a:rPr lang="ja-JP" altLang="en-US" sz="1600" b="0" i="0" u="none" strike="noStrike">
                          <a:solidFill>
                            <a:srgbClr val="0070C0"/>
                          </a:solidFill>
                          <a:effectLst/>
                          <a:latin typeface="+mn-ea"/>
                          <a:ea typeface="+mn-ea"/>
                        </a:rPr>
                        <a:t>業務報告書の作成等</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ctr"/>
                      <a:r>
                        <a:rPr lang="en-US" altLang="ja-JP" sz="1600" b="0" i="0" u="none" strike="noStrike">
                          <a:solidFill>
                            <a:srgbClr val="0070C0"/>
                          </a:solidFill>
                          <a:effectLst/>
                          <a:latin typeface="+mn-ea"/>
                          <a:ea typeface="+mn-ea"/>
                        </a:rPr>
                        <a:t>00000</a:t>
                      </a:r>
                    </a:p>
                  </a:txBody>
                  <a:tcPr marL="90000" marR="90000" marT="46800" marB="468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9721819"/>
                  </a:ext>
                </a:extLst>
              </a:tr>
              <a:tr h="334771">
                <a:tc>
                  <a:txBody>
                    <a:bodyPr/>
                    <a:lstStyle/>
                    <a:p>
                      <a:r>
                        <a:rPr kumimoji="1" lang="ja-JP" altLang="en-US" sz="1600" b="1">
                          <a:latin typeface="+mn-ea"/>
                          <a:ea typeface="+mn-ea"/>
                        </a:rPr>
                        <a:t>合計</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1600" b="1">
                          <a:solidFill>
                            <a:srgbClr val="0070C0"/>
                          </a:solidFill>
                          <a:latin typeface="+mn-ea"/>
                          <a:ea typeface="+mn-ea"/>
                        </a:rPr>
                        <a:t>0000</a:t>
                      </a:r>
                    </a:p>
                  </a:txBody>
                  <a:tcPr marL="90000" marR="90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82910105"/>
                  </a:ext>
                </a:extLst>
              </a:tr>
            </a:tbl>
          </a:graphicData>
        </a:graphic>
      </p:graphicFrame>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ー 8">
            <a:extLst>
              <a:ext uri="{FF2B5EF4-FFF2-40B4-BE49-F238E27FC236}">
                <a16:creationId xmlns:a16="http://schemas.microsoft.com/office/drawing/2014/main" id="{A480D1FA-7A9C-69C0-2BC3-1E986E802FD3}"/>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lang="en-US" altLang="ja-JP"/>
              <a:t>2.</a:t>
            </a:r>
            <a:r>
              <a:rPr lang="ja-JP" altLang="en-US"/>
              <a:t>コスト</a:t>
            </a:r>
            <a:endParaRPr kumimoji="1" lang="ja-JP" altLang="en-US"/>
          </a:p>
        </p:txBody>
      </p:sp>
      <p:sp>
        <p:nvSpPr>
          <p:cNvPr id="2" name="テキスト ボックス 1">
            <a:extLst>
              <a:ext uri="{FF2B5EF4-FFF2-40B4-BE49-F238E27FC236}">
                <a16:creationId xmlns:a16="http://schemas.microsoft.com/office/drawing/2014/main" id="{C2B92959-466B-8EBF-B6C6-3BFCC839C237}"/>
              </a:ext>
            </a:extLst>
          </p:cNvPr>
          <p:cNvSpPr txBox="1"/>
          <p:nvPr/>
        </p:nvSpPr>
        <p:spPr>
          <a:xfrm>
            <a:off x="3083206" y="2820813"/>
            <a:ext cx="6135987" cy="2385668"/>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現在予定している補助事業の項目ごとの費用について記載してください。​</a:t>
            </a:r>
          </a:p>
        </p:txBody>
      </p:sp>
    </p:spTree>
    <p:extLst>
      <p:ext uri="{BB962C8B-B14F-4D97-AF65-F5344CB8AC3E}">
        <p14:creationId xmlns:p14="http://schemas.microsoft.com/office/powerpoint/2010/main" val="25741125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kumimoji="1" lang="ja-JP" altLang="en-US"/>
              <a:t>３</a:t>
            </a:r>
            <a:r>
              <a:rPr kumimoji="1" lang="en-US" altLang="ja-JP"/>
              <a:t>.</a:t>
            </a:r>
            <a:r>
              <a:rPr lang="ja-JP" altLang="en-US"/>
              <a:t>リソース</a:t>
            </a:r>
            <a:r>
              <a:rPr lang="en-US" altLang="ja-JP"/>
              <a:t>(</a:t>
            </a:r>
            <a:r>
              <a:rPr lang="ja-JP" altLang="en-US"/>
              <a:t>プロジェクト実施体制</a:t>
            </a:r>
            <a:r>
              <a:rPr lang="en-US" altLang="ja-JP"/>
              <a:t>)</a:t>
            </a:r>
            <a:r>
              <a:rPr lang="ja-JP" altLang="en-US"/>
              <a:t>（表）</a:t>
            </a:r>
            <a:endParaRPr kumimoji="1" lang="ja-JP" altLang="en-US"/>
          </a:p>
        </p:txBody>
      </p:sp>
      <p:graphicFrame>
        <p:nvGraphicFramePr>
          <p:cNvPr id="2" name="表 7">
            <a:extLst>
              <a:ext uri="{FF2B5EF4-FFF2-40B4-BE49-F238E27FC236}">
                <a16:creationId xmlns:a16="http://schemas.microsoft.com/office/drawing/2014/main" id="{D78F7A95-31FB-06D3-5B63-5BEDF8ABCBC0}"/>
              </a:ext>
            </a:extLst>
          </p:cNvPr>
          <p:cNvGraphicFramePr>
            <a:graphicFrameLocks noGrp="1"/>
          </p:cNvGraphicFramePr>
          <p:nvPr>
            <p:extLst>
              <p:ext uri="{D42A27DB-BD31-4B8C-83A1-F6EECF244321}">
                <p14:modId xmlns:p14="http://schemas.microsoft.com/office/powerpoint/2010/main" val="4122509256"/>
              </p:ext>
            </p:extLst>
          </p:nvPr>
        </p:nvGraphicFramePr>
        <p:xfrm>
          <a:off x="303211" y="1428943"/>
          <a:ext cx="11586389" cy="2514600"/>
        </p:xfrm>
        <a:graphic>
          <a:graphicData uri="http://schemas.openxmlformats.org/drawingml/2006/table">
            <a:tbl>
              <a:tblPr>
                <a:tableStyleId>{5C22544A-7EE6-4342-B048-85BDC9FD1C3A}</a:tableStyleId>
              </a:tblPr>
              <a:tblGrid>
                <a:gridCol w="2061858">
                  <a:extLst>
                    <a:ext uri="{9D8B030D-6E8A-4147-A177-3AD203B41FA5}">
                      <a16:colId xmlns:a16="http://schemas.microsoft.com/office/drawing/2014/main" val="1942113200"/>
                    </a:ext>
                  </a:extLst>
                </a:gridCol>
                <a:gridCol w="2150076">
                  <a:extLst>
                    <a:ext uri="{9D8B030D-6E8A-4147-A177-3AD203B41FA5}">
                      <a16:colId xmlns:a16="http://schemas.microsoft.com/office/drawing/2014/main" val="3914001273"/>
                    </a:ext>
                  </a:extLst>
                </a:gridCol>
                <a:gridCol w="1405063">
                  <a:extLst>
                    <a:ext uri="{9D8B030D-6E8A-4147-A177-3AD203B41FA5}">
                      <a16:colId xmlns:a16="http://schemas.microsoft.com/office/drawing/2014/main" val="2412381286"/>
                    </a:ext>
                  </a:extLst>
                </a:gridCol>
                <a:gridCol w="2182484">
                  <a:extLst>
                    <a:ext uri="{9D8B030D-6E8A-4147-A177-3AD203B41FA5}">
                      <a16:colId xmlns:a16="http://schemas.microsoft.com/office/drawing/2014/main" val="3406812435"/>
                    </a:ext>
                  </a:extLst>
                </a:gridCol>
                <a:gridCol w="1893714">
                  <a:extLst>
                    <a:ext uri="{9D8B030D-6E8A-4147-A177-3AD203B41FA5}">
                      <a16:colId xmlns:a16="http://schemas.microsoft.com/office/drawing/2014/main" val="3520855363"/>
                    </a:ext>
                  </a:extLst>
                </a:gridCol>
                <a:gridCol w="1893194">
                  <a:extLst>
                    <a:ext uri="{9D8B030D-6E8A-4147-A177-3AD203B41FA5}">
                      <a16:colId xmlns:a16="http://schemas.microsoft.com/office/drawing/2014/main" val="1115002749"/>
                    </a:ext>
                  </a:extLst>
                </a:gridCol>
              </a:tblGrid>
              <a:tr h="227986">
                <a:tc>
                  <a:txBody>
                    <a:bodyPr/>
                    <a:lstStyle/>
                    <a:p>
                      <a:r>
                        <a:rPr kumimoji="1" lang="ja-JP" altLang="en-US" sz="1050" b="1">
                          <a:latin typeface="+mn-ea"/>
                          <a:ea typeface="+mn-ea"/>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担当業務（事業者ご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部署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役職</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氏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latin typeface="+mn-ea"/>
                          <a:ea typeface="+mn-ea"/>
                        </a:rPr>
                        <a:t>担当業務（個人ごと）</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227986">
                <a:tc>
                  <a:txBody>
                    <a:bodyPr/>
                    <a:lstStyle/>
                    <a:p>
                      <a:r>
                        <a:rPr kumimoji="1" lang="en-US" altLang="ja-JP" sz="1050">
                          <a:solidFill>
                            <a:srgbClr val="0070C0"/>
                          </a:solidFill>
                          <a:latin typeface="+mn-ea"/>
                          <a:ea typeface="+mn-ea"/>
                        </a:rPr>
                        <a:t>AAA</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050">
                          <a:solidFill>
                            <a:srgbClr val="0070C0"/>
                          </a:solidFill>
                          <a:latin typeface="+mn-ea"/>
                          <a:ea typeface="+mn-ea"/>
                        </a:rPr>
                        <a:t>全体総括、企画運営</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614511"/>
                  </a:ext>
                </a:extLst>
              </a:tr>
              <a:tr h="227986">
                <a:tc>
                  <a:txBody>
                    <a:bodyPr/>
                    <a:lstStyle/>
                    <a:p>
                      <a:r>
                        <a:rPr kumimoji="1" lang="en-US" altLang="ja-JP" sz="1050">
                          <a:solidFill>
                            <a:srgbClr val="0070C0"/>
                          </a:solidFill>
                          <a:latin typeface="+mn-ea"/>
                          <a:ea typeface="+mn-ea"/>
                        </a:rPr>
                        <a:t>BBB</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en-US" altLang="ja-JP" sz="1050">
                          <a:solidFill>
                            <a:srgbClr val="0070C0"/>
                          </a:solidFill>
                          <a:latin typeface="+mn-ea"/>
                          <a:ea typeface="+mn-ea"/>
                        </a:rPr>
                        <a:t>MaaS</a:t>
                      </a:r>
                      <a:r>
                        <a:rPr kumimoji="1" lang="ja-JP" altLang="en-US" sz="1050">
                          <a:solidFill>
                            <a:srgbClr val="0070C0"/>
                          </a:solidFill>
                          <a:latin typeface="+mn-ea"/>
                          <a:ea typeface="+mn-ea"/>
                        </a:rPr>
                        <a:t>アプリ改修</a:t>
                      </a:r>
                      <a:endParaRPr kumimoji="1" 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0116814"/>
                  </a:ext>
                </a:extLst>
              </a:tr>
              <a:tr h="227986">
                <a:tc>
                  <a:txBody>
                    <a:bodyPr/>
                    <a:lstStyle/>
                    <a:p>
                      <a:r>
                        <a:rPr kumimoji="1" lang="en-US" altLang="ja-JP" sz="1050">
                          <a:solidFill>
                            <a:srgbClr val="0070C0"/>
                          </a:solidFill>
                          <a:latin typeface="+mn-ea"/>
                          <a:ea typeface="+mn-ea"/>
                        </a:rPr>
                        <a:t>CCC</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ja-JP" altLang="en-US" sz="1050">
                          <a:solidFill>
                            <a:srgbClr val="0070C0"/>
                          </a:solidFill>
                          <a:latin typeface="+mn-ea"/>
                          <a:ea typeface="+mn-ea"/>
                        </a:rPr>
                        <a:t>ダッシュボードシステム開発</a:t>
                      </a:r>
                      <a:endParaRPr kumimoji="1" lang="ja-JP" alt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5891718"/>
                  </a:ext>
                </a:extLst>
              </a:tr>
              <a:tr h="227986">
                <a:tc>
                  <a:txBody>
                    <a:bodyPr/>
                    <a:lstStyle/>
                    <a:p>
                      <a:r>
                        <a:rPr kumimoji="1" lang="en-US" altLang="ja-JP" sz="1050">
                          <a:solidFill>
                            <a:srgbClr val="0070C0"/>
                          </a:solidFill>
                          <a:latin typeface="+mn-ea"/>
                          <a:ea typeface="+mn-ea"/>
                        </a:rPr>
                        <a:t>DDD</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en-US" altLang="ja-JP" sz="1050">
                          <a:solidFill>
                            <a:srgbClr val="0070C0"/>
                          </a:solidFill>
                          <a:latin typeface="+mn-ea"/>
                          <a:ea typeface="+mn-ea"/>
                        </a:rPr>
                        <a:t>【</a:t>
                      </a:r>
                      <a:r>
                        <a:rPr kumimoji="1" lang="ja-JP" altLang="en-US" sz="1050">
                          <a:solidFill>
                            <a:srgbClr val="0070C0"/>
                          </a:solidFill>
                          <a:latin typeface="+mn-ea"/>
                          <a:ea typeface="+mn-ea"/>
                        </a:rPr>
                        <a:t>外部委託</a:t>
                      </a:r>
                      <a:r>
                        <a:rPr kumimoji="1" lang="en-US" altLang="ja-JP" sz="1050">
                          <a:solidFill>
                            <a:srgbClr val="0070C0"/>
                          </a:solidFill>
                          <a:latin typeface="+mn-ea"/>
                          <a:ea typeface="+mn-ea"/>
                        </a:rPr>
                        <a:t>】</a:t>
                      </a:r>
                      <a:r>
                        <a:rPr kumimoji="1" lang="ja-JP" altLang="en-US" sz="1050">
                          <a:solidFill>
                            <a:srgbClr val="0070C0"/>
                          </a:solidFill>
                          <a:latin typeface="+mn-ea"/>
                          <a:ea typeface="+mn-ea"/>
                        </a:rPr>
                        <a:t>プロモーション</a:t>
                      </a:r>
                      <a:endParaRPr kumimoji="1" 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32274276"/>
                  </a:ext>
                </a:extLst>
              </a:tr>
              <a:tr h="227986">
                <a:tc>
                  <a:txBody>
                    <a:bodyPr/>
                    <a:lstStyle/>
                    <a:p>
                      <a:r>
                        <a:rPr kumimoji="1" lang="en-US" altLang="ja-JP" sz="1050">
                          <a:solidFill>
                            <a:srgbClr val="0070C0"/>
                          </a:solidFill>
                          <a:latin typeface="+mn-ea"/>
                          <a:ea typeface="+mn-ea"/>
                        </a:rPr>
                        <a:t>EEE</a:t>
                      </a:r>
                      <a:r>
                        <a:rPr kumimoji="1" lang="ja-JP" altLang="en-US" sz="1050">
                          <a:solidFill>
                            <a:srgbClr val="0070C0"/>
                          </a:solidFill>
                          <a:latin typeface="+mn-ea"/>
                          <a:ea typeface="+mn-ea"/>
                        </a:rPr>
                        <a:t>株式会社</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r>
                        <a:rPr kumimoji="1" lang="en-US" altLang="ja-JP" sz="1050">
                          <a:solidFill>
                            <a:srgbClr val="0070C0"/>
                          </a:solidFill>
                          <a:latin typeface="+mn-ea"/>
                          <a:ea typeface="+mn-ea"/>
                        </a:rPr>
                        <a:t>QR</a:t>
                      </a:r>
                      <a:r>
                        <a:rPr kumimoji="1" lang="ja-JP" altLang="en-US" sz="1050">
                          <a:solidFill>
                            <a:srgbClr val="0070C0"/>
                          </a:solidFill>
                          <a:latin typeface="+mn-ea"/>
                          <a:ea typeface="+mn-ea"/>
                        </a:rPr>
                        <a:t>認証機器提供</a:t>
                      </a:r>
                      <a:endParaRPr kumimoji="1" lang="ja-JP" sz="1050">
                        <a:solidFill>
                          <a:srgbClr val="0070C0"/>
                        </a:solidFill>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36046752"/>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endParaRPr kumimoji="1" lang="ja-JP"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37819880"/>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lvl="0">
                        <a:buNone/>
                      </a:pPr>
                      <a:endParaRPr kumimoji="1" lang="ja-JP"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7318575"/>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4626523"/>
                  </a:ext>
                </a:extLst>
              </a:tr>
              <a:tr h="227986">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lang="ja-JP" altLang="ja-JP" sz="1050" b="0" i="0" u="none" strike="noStrike" noProof="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a:latin typeface="+mn-ea"/>
                        <a:ea typeface="+mn-ea"/>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8544468"/>
                  </a:ext>
                </a:extLst>
              </a:tr>
            </a:tbl>
          </a:graphicData>
        </a:graphic>
      </p:graphicFrame>
      <p:cxnSp>
        <p:nvCxnSpPr>
          <p:cNvPr id="10" name="直線矢印コネクタ 9">
            <a:extLst>
              <a:ext uri="{FF2B5EF4-FFF2-40B4-BE49-F238E27FC236}">
                <a16:creationId xmlns:a16="http://schemas.microsoft.com/office/drawing/2014/main" id="{6735B9E2-CEAA-B979-67C8-2554417B1CDE}"/>
              </a:ext>
            </a:extLst>
          </p:cNvPr>
          <p:cNvCxnSpPr/>
          <p:nvPr/>
        </p:nvCxnSpPr>
        <p:spPr>
          <a:xfrm>
            <a:off x="302400" y="1221926"/>
            <a:ext cx="11587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05C1BC80-6DE9-57F3-13C1-E4ECE8B12C3B}"/>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を実施するために必要なリソースとその体制を明確に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チーム構成と各メンバーの役割・責任を網羅的に記載してください。</a:t>
            </a: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外部リソースを利用する場合は、その旨を明確にしてください。</a:t>
            </a:r>
          </a:p>
        </p:txBody>
      </p:sp>
    </p:spTree>
    <p:extLst>
      <p:ext uri="{BB962C8B-B14F-4D97-AF65-F5344CB8AC3E}">
        <p14:creationId xmlns:p14="http://schemas.microsoft.com/office/powerpoint/2010/main" val="4396877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kumimoji="1" lang="en-US" altLang="ja-JP"/>
              <a:t>3.</a:t>
            </a:r>
            <a:r>
              <a:rPr lang="ja-JP" altLang="en-US"/>
              <a:t>リソース</a:t>
            </a:r>
            <a:r>
              <a:rPr lang="en-US" altLang="ja-JP"/>
              <a:t>(</a:t>
            </a:r>
            <a:r>
              <a:rPr lang="ja-JP" altLang="en-US"/>
              <a:t>プロジェクト実施体制</a:t>
            </a:r>
            <a:r>
              <a:rPr lang="en-US" altLang="ja-JP"/>
              <a:t>)</a:t>
            </a:r>
            <a:r>
              <a:rPr lang="ja-JP" altLang="en-US"/>
              <a:t>（図）</a:t>
            </a:r>
            <a:endParaRPr kumimoji="1" lang="ja-JP" altLang="en-US"/>
          </a:p>
        </p:txBody>
      </p:sp>
      <p:grpSp>
        <p:nvGrpSpPr>
          <p:cNvPr id="2" name="PanelGroup1">
            <a:extLst>
              <a:ext uri="{FF2B5EF4-FFF2-40B4-BE49-F238E27FC236}">
                <a16:creationId xmlns:a16="http://schemas.microsoft.com/office/drawing/2014/main" id="{372A3CF7-5B7A-0B5D-9138-971927D27558}"/>
              </a:ext>
            </a:extLst>
          </p:cNvPr>
          <p:cNvGrpSpPr/>
          <p:nvPr/>
        </p:nvGrpSpPr>
        <p:grpSpPr>
          <a:xfrm>
            <a:off x="302400" y="1219802"/>
            <a:ext cx="11587200" cy="309600"/>
            <a:chOff x="302400" y="1990800"/>
            <a:chExt cx="11587200" cy="309600"/>
          </a:xfrm>
        </p:grpSpPr>
        <p:sp>
          <p:nvSpPr>
            <p:cNvPr id="6" name="正方形/長方形 5">
              <a:extLst>
                <a:ext uri="{FF2B5EF4-FFF2-40B4-BE49-F238E27FC236}">
                  <a16:creationId xmlns:a16="http://schemas.microsoft.com/office/drawing/2014/main" id="{9FFD2353-EF62-BFA0-5B44-F7ABF536D584}"/>
                </a:ext>
              </a:extLst>
            </p:cNvPr>
            <p:cNvSpPr/>
            <p:nvPr/>
          </p:nvSpPr>
          <p:spPr>
            <a:xfrm>
              <a:off x="302400" y="1990800"/>
              <a:ext cx="11587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管理者・担当者の意思決定ライン</a:t>
              </a:r>
            </a:p>
          </p:txBody>
        </p:sp>
        <p:cxnSp>
          <p:nvCxnSpPr>
            <p:cNvPr id="7" name="直線矢印コネクタ 6">
              <a:extLst>
                <a:ext uri="{FF2B5EF4-FFF2-40B4-BE49-F238E27FC236}">
                  <a16:creationId xmlns:a16="http://schemas.microsoft.com/office/drawing/2014/main" id="{21A3E467-6F88-7859-37D3-00A944DAABE1}"/>
                </a:ext>
              </a:extLst>
            </p:cNvPr>
            <p:cNvCxnSpPr/>
            <p:nvPr/>
          </p:nvCxnSpPr>
          <p:spPr>
            <a:xfrm>
              <a:off x="302400" y="2300400"/>
              <a:ext cx="11587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Rectangle 75">
            <a:extLst>
              <a:ext uri="{FF2B5EF4-FFF2-40B4-BE49-F238E27FC236}">
                <a16:creationId xmlns:a16="http://schemas.microsoft.com/office/drawing/2014/main" id="{01D4BCA7-C89A-20E2-6428-C51A003E8B36}"/>
              </a:ext>
            </a:extLst>
          </p:cNvPr>
          <p:cNvSpPr>
            <a:spLocks noChangeArrowheads="1"/>
          </p:cNvSpPr>
          <p:nvPr/>
        </p:nvSpPr>
        <p:spPr bwMode="gray">
          <a:xfrm>
            <a:off x="1853937" y="1921717"/>
            <a:ext cx="1400677" cy="52372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Rectangle 5">
            <a:extLst>
              <a:ext uri="{FF2B5EF4-FFF2-40B4-BE49-F238E27FC236}">
                <a16:creationId xmlns:a16="http://schemas.microsoft.com/office/drawing/2014/main" id="{C6836692-CDAE-C475-A8B0-1602682A1D72}"/>
              </a:ext>
            </a:extLst>
          </p:cNvPr>
          <p:cNvSpPr>
            <a:spLocks noChangeArrowheads="1"/>
          </p:cNvSpPr>
          <p:nvPr/>
        </p:nvSpPr>
        <p:spPr bwMode="gray">
          <a:xfrm>
            <a:off x="1853936" y="166431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全体管理者</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Rectangle 75">
            <a:extLst>
              <a:ext uri="{FF2B5EF4-FFF2-40B4-BE49-F238E27FC236}">
                <a16:creationId xmlns:a16="http://schemas.microsoft.com/office/drawing/2014/main" id="{F671E48A-0AEB-34DC-C9B0-947ACB9BE53F}"/>
              </a:ext>
            </a:extLst>
          </p:cNvPr>
          <p:cNvSpPr>
            <a:spLocks noChangeArrowheads="1"/>
          </p:cNvSpPr>
          <p:nvPr/>
        </p:nvSpPr>
        <p:spPr bwMode="gray">
          <a:xfrm>
            <a:off x="1861946" y="2866013"/>
            <a:ext cx="1400677" cy="523923"/>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Rectangle 5">
            <a:extLst>
              <a:ext uri="{FF2B5EF4-FFF2-40B4-BE49-F238E27FC236}">
                <a16:creationId xmlns:a16="http://schemas.microsoft.com/office/drawing/2014/main" id="{F1215F89-A0A0-AB28-F8E7-84581D64B7EE}"/>
              </a:ext>
            </a:extLst>
          </p:cNvPr>
          <p:cNvSpPr>
            <a:spLocks noChangeArrowheads="1"/>
          </p:cNvSpPr>
          <p:nvPr/>
        </p:nvSpPr>
        <p:spPr bwMode="gray">
          <a:xfrm>
            <a:off x="1861945" y="2608569"/>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開発・実証とりまとめ</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Rectangle 75">
            <a:extLst>
              <a:ext uri="{FF2B5EF4-FFF2-40B4-BE49-F238E27FC236}">
                <a16:creationId xmlns:a16="http://schemas.microsoft.com/office/drawing/2014/main" id="{DD2FC9B4-133C-45AC-F63A-4DA5444194C1}"/>
              </a:ext>
            </a:extLst>
          </p:cNvPr>
          <p:cNvSpPr>
            <a:spLocks noChangeArrowheads="1"/>
          </p:cNvSpPr>
          <p:nvPr/>
        </p:nvSpPr>
        <p:spPr bwMode="gray">
          <a:xfrm>
            <a:off x="2229092" y="377797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Rectangle 5">
            <a:extLst>
              <a:ext uri="{FF2B5EF4-FFF2-40B4-BE49-F238E27FC236}">
                <a16:creationId xmlns:a16="http://schemas.microsoft.com/office/drawing/2014/main" id="{85688145-F176-E15B-9ADA-FF1D4E4EAD73}"/>
              </a:ext>
            </a:extLst>
          </p:cNvPr>
          <p:cNvSpPr>
            <a:spLocks noChangeArrowheads="1"/>
          </p:cNvSpPr>
          <p:nvPr/>
        </p:nvSpPr>
        <p:spPr bwMode="gray">
          <a:xfrm>
            <a:off x="2229091" y="352170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証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Rectangle 75">
            <a:extLst>
              <a:ext uri="{FF2B5EF4-FFF2-40B4-BE49-F238E27FC236}">
                <a16:creationId xmlns:a16="http://schemas.microsoft.com/office/drawing/2014/main" id="{9CA01B65-AA7F-E153-53A0-22F4C72906C9}"/>
              </a:ext>
            </a:extLst>
          </p:cNvPr>
          <p:cNvSpPr>
            <a:spLocks noChangeArrowheads="1"/>
          </p:cNvSpPr>
          <p:nvPr/>
        </p:nvSpPr>
        <p:spPr bwMode="gray">
          <a:xfrm>
            <a:off x="300780" y="2884254"/>
            <a:ext cx="1400677" cy="52372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BB</a:t>
            </a:r>
          </a:p>
        </p:txBody>
      </p:sp>
      <p:sp>
        <p:nvSpPr>
          <p:cNvPr id="16" name="Rectangle 5">
            <a:extLst>
              <a:ext uri="{FF2B5EF4-FFF2-40B4-BE49-F238E27FC236}">
                <a16:creationId xmlns:a16="http://schemas.microsoft.com/office/drawing/2014/main" id="{4ED0277C-A056-D022-829C-561BA5F238E4}"/>
              </a:ext>
            </a:extLst>
          </p:cNvPr>
          <p:cNvSpPr>
            <a:spLocks noChangeArrowheads="1"/>
          </p:cNvSpPr>
          <p:nvPr/>
        </p:nvSpPr>
        <p:spPr bwMode="gray">
          <a:xfrm>
            <a:off x="300779" y="2626854"/>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デザイン支援</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7" name="コネクタ: カギ線 16">
            <a:extLst>
              <a:ext uri="{FF2B5EF4-FFF2-40B4-BE49-F238E27FC236}">
                <a16:creationId xmlns:a16="http://schemas.microsoft.com/office/drawing/2014/main" id="{B33F1110-77B4-AF22-55D7-F4851EF459EE}"/>
              </a:ext>
            </a:extLst>
          </p:cNvPr>
          <p:cNvCxnSpPr>
            <a:cxnSpLocks/>
            <a:stCxn id="8" idx="3"/>
            <a:endCxn id="34" idx="0"/>
          </p:cNvCxnSpPr>
          <p:nvPr/>
        </p:nvCxnSpPr>
        <p:spPr>
          <a:xfrm>
            <a:off x="3254614" y="2183578"/>
            <a:ext cx="4485405" cy="44327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コネクタ: カギ線 17">
            <a:extLst>
              <a:ext uri="{FF2B5EF4-FFF2-40B4-BE49-F238E27FC236}">
                <a16:creationId xmlns:a16="http://schemas.microsoft.com/office/drawing/2014/main" id="{891B5930-A38E-A0C5-BE51-42817003E8A5}"/>
              </a:ext>
            </a:extLst>
          </p:cNvPr>
          <p:cNvCxnSpPr>
            <a:cxnSpLocks/>
            <a:stCxn id="13" idx="1"/>
          </p:cNvCxnSpPr>
          <p:nvPr/>
        </p:nvCxnSpPr>
        <p:spPr>
          <a:xfrm rot="10800000">
            <a:off x="2040706" y="3386692"/>
            <a:ext cx="188387" cy="65061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コネクタ: カギ線 18">
            <a:extLst>
              <a:ext uri="{FF2B5EF4-FFF2-40B4-BE49-F238E27FC236}">
                <a16:creationId xmlns:a16="http://schemas.microsoft.com/office/drawing/2014/main" id="{A844BD0C-0A40-51E8-A09A-D30427306A66}"/>
              </a:ext>
            </a:extLst>
          </p:cNvPr>
          <p:cNvCxnSpPr>
            <a:cxnSpLocks/>
            <a:stCxn id="16" idx="0"/>
            <a:endCxn id="8" idx="1"/>
          </p:cNvCxnSpPr>
          <p:nvPr/>
        </p:nvCxnSpPr>
        <p:spPr>
          <a:xfrm rot="5400000" flipH="1" flipV="1">
            <a:off x="1205889" y="1978807"/>
            <a:ext cx="443276" cy="852819"/>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Rectangle 75">
            <a:extLst>
              <a:ext uri="{FF2B5EF4-FFF2-40B4-BE49-F238E27FC236}">
                <a16:creationId xmlns:a16="http://schemas.microsoft.com/office/drawing/2014/main" id="{E8836C59-B8B6-C85D-E010-EBC8663348AC}"/>
              </a:ext>
            </a:extLst>
          </p:cNvPr>
          <p:cNvSpPr>
            <a:spLocks noChangeArrowheads="1"/>
          </p:cNvSpPr>
          <p:nvPr/>
        </p:nvSpPr>
        <p:spPr bwMode="gray">
          <a:xfrm>
            <a:off x="3872137" y="377797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Rectangle 5">
            <a:extLst>
              <a:ext uri="{FF2B5EF4-FFF2-40B4-BE49-F238E27FC236}">
                <a16:creationId xmlns:a16="http://schemas.microsoft.com/office/drawing/2014/main" id="{8B2388F4-8880-EE2F-03BB-997FC1E6C222}"/>
              </a:ext>
            </a:extLst>
          </p:cNvPr>
          <p:cNvSpPr>
            <a:spLocks noChangeArrowheads="1"/>
          </p:cNvSpPr>
          <p:nvPr/>
        </p:nvSpPr>
        <p:spPr bwMode="gray">
          <a:xfrm>
            <a:off x="3872136" y="352170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証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Rectangle 75">
            <a:extLst>
              <a:ext uri="{FF2B5EF4-FFF2-40B4-BE49-F238E27FC236}">
                <a16:creationId xmlns:a16="http://schemas.microsoft.com/office/drawing/2014/main" id="{9D9B6B73-E941-4FB2-6F67-6D2282E2F654}"/>
              </a:ext>
            </a:extLst>
          </p:cNvPr>
          <p:cNvSpPr>
            <a:spLocks noChangeArrowheads="1"/>
          </p:cNvSpPr>
          <p:nvPr/>
        </p:nvSpPr>
        <p:spPr bwMode="gray">
          <a:xfrm>
            <a:off x="5490866" y="377797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Rectangle 5">
            <a:extLst>
              <a:ext uri="{FF2B5EF4-FFF2-40B4-BE49-F238E27FC236}">
                <a16:creationId xmlns:a16="http://schemas.microsoft.com/office/drawing/2014/main" id="{40803D02-B102-890E-D54A-16FBEA6E318B}"/>
              </a:ext>
            </a:extLst>
          </p:cNvPr>
          <p:cNvSpPr>
            <a:spLocks noChangeArrowheads="1"/>
          </p:cNvSpPr>
          <p:nvPr/>
        </p:nvSpPr>
        <p:spPr bwMode="gray">
          <a:xfrm>
            <a:off x="5490865" y="352170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証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Rectangle 75">
            <a:extLst>
              <a:ext uri="{FF2B5EF4-FFF2-40B4-BE49-F238E27FC236}">
                <a16:creationId xmlns:a16="http://schemas.microsoft.com/office/drawing/2014/main" id="{282F57DD-EF41-A330-6783-2B46B29B454B}"/>
              </a:ext>
            </a:extLst>
          </p:cNvPr>
          <p:cNvSpPr>
            <a:spLocks noChangeArrowheads="1"/>
          </p:cNvSpPr>
          <p:nvPr/>
        </p:nvSpPr>
        <p:spPr bwMode="gray">
          <a:xfrm>
            <a:off x="2233868" y="4683096"/>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Rectangle 5">
            <a:extLst>
              <a:ext uri="{FF2B5EF4-FFF2-40B4-BE49-F238E27FC236}">
                <a16:creationId xmlns:a16="http://schemas.microsoft.com/office/drawing/2014/main" id="{E4B5370A-7499-03A1-CF77-0E693D5DDE7E}"/>
              </a:ext>
            </a:extLst>
          </p:cNvPr>
          <p:cNvSpPr>
            <a:spLocks noChangeArrowheads="1"/>
          </p:cNvSpPr>
          <p:nvPr/>
        </p:nvSpPr>
        <p:spPr bwMode="gray">
          <a:xfrm>
            <a:off x="2233867" y="4426828"/>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アプリ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Rectangle 75">
            <a:extLst>
              <a:ext uri="{FF2B5EF4-FFF2-40B4-BE49-F238E27FC236}">
                <a16:creationId xmlns:a16="http://schemas.microsoft.com/office/drawing/2014/main" id="{5E459C84-978B-D044-BE65-FCB09332A3B0}"/>
              </a:ext>
            </a:extLst>
          </p:cNvPr>
          <p:cNvSpPr>
            <a:spLocks noChangeArrowheads="1"/>
          </p:cNvSpPr>
          <p:nvPr/>
        </p:nvSpPr>
        <p:spPr bwMode="gray">
          <a:xfrm>
            <a:off x="2235174" y="5542426"/>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Rectangle 5">
            <a:extLst>
              <a:ext uri="{FF2B5EF4-FFF2-40B4-BE49-F238E27FC236}">
                <a16:creationId xmlns:a16="http://schemas.microsoft.com/office/drawing/2014/main" id="{C5731C2D-659C-4328-D18C-83B7B6BBC6DF}"/>
              </a:ext>
            </a:extLst>
          </p:cNvPr>
          <p:cNvSpPr>
            <a:spLocks noChangeArrowheads="1"/>
          </p:cNvSpPr>
          <p:nvPr/>
        </p:nvSpPr>
        <p:spPr bwMode="gray">
          <a:xfrm>
            <a:off x="2235173" y="5286158"/>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基盤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Rectangle 75">
            <a:extLst>
              <a:ext uri="{FF2B5EF4-FFF2-40B4-BE49-F238E27FC236}">
                <a16:creationId xmlns:a16="http://schemas.microsoft.com/office/drawing/2014/main" id="{55864B40-97CF-F0B3-B2B5-B6FFCF2C3E5B}"/>
              </a:ext>
            </a:extLst>
          </p:cNvPr>
          <p:cNvSpPr>
            <a:spLocks noChangeArrowheads="1"/>
          </p:cNvSpPr>
          <p:nvPr/>
        </p:nvSpPr>
        <p:spPr bwMode="gray">
          <a:xfrm>
            <a:off x="3857617" y="5563341"/>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Rectangle 5">
            <a:extLst>
              <a:ext uri="{FF2B5EF4-FFF2-40B4-BE49-F238E27FC236}">
                <a16:creationId xmlns:a16="http://schemas.microsoft.com/office/drawing/2014/main" id="{6066413C-AE1D-EB1F-F755-AA17280E6D6B}"/>
              </a:ext>
            </a:extLst>
          </p:cNvPr>
          <p:cNvSpPr>
            <a:spLocks noChangeArrowheads="1"/>
          </p:cNvSpPr>
          <p:nvPr/>
        </p:nvSpPr>
        <p:spPr bwMode="gray">
          <a:xfrm>
            <a:off x="3857616" y="5307073"/>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基盤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Rectangle 75">
            <a:extLst>
              <a:ext uri="{FF2B5EF4-FFF2-40B4-BE49-F238E27FC236}">
                <a16:creationId xmlns:a16="http://schemas.microsoft.com/office/drawing/2014/main" id="{73C2D3B9-B7E8-F47D-F1E3-D52A1C96AB7D}"/>
              </a:ext>
            </a:extLst>
          </p:cNvPr>
          <p:cNvSpPr>
            <a:spLocks noChangeArrowheads="1"/>
          </p:cNvSpPr>
          <p:nvPr/>
        </p:nvSpPr>
        <p:spPr bwMode="gray">
          <a:xfrm>
            <a:off x="5490865" y="5556108"/>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Rectangle 5">
            <a:extLst>
              <a:ext uri="{FF2B5EF4-FFF2-40B4-BE49-F238E27FC236}">
                <a16:creationId xmlns:a16="http://schemas.microsoft.com/office/drawing/2014/main" id="{26A09F49-1E75-5FA2-7FCE-7166D389CEA9}"/>
              </a:ext>
            </a:extLst>
          </p:cNvPr>
          <p:cNvSpPr>
            <a:spLocks noChangeArrowheads="1"/>
          </p:cNvSpPr>
          <p:nvPr/>
        </p:nvSpPr>
        <p:spPr bwMode="gray">
          <a:xfrm>
            <a:off x="5490864" y="5299840"/>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基盤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2" name="コネクタ: カギ線 31">
            <a:extLst>
              <a:ext uri="{FF2B5EF4-FFF2-40B4-BE49-F238E27FC236}">
                <a16:creationId xmlns:a16="http://schemas.microsoft.com/office/drawing/2014/main" id="{E759765E-E000-B6F8-7FD9-0B57C3A2ABBD}"/>
              </a:ext>
            </a:extLst>
          </p:cNvPr>
          <p:cNvCxnSpPr>
            <a:cxnSpLocks/>
            <a:stCxn id="24" idx="1"/>
          </p:cNvCxnSpPr>
          <p:nvPr/>
        </p:nvCxnSpPr>
        <p:spPr>
          <a:xfrm rot="10800000">
            <a:off x="1988736" y="3386693"/>
            <a:ext cx="245133" cy="1555734"/>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Rectangle 75">
            <a:extLst>
              <a:ext uri="{FF2B5EF4-FFF2-40B4-BE49-F238E27FC236}">
                <a16:creationId xmlns:a16="http://schemas.microsoft.com/office/drawing/2014/main" id="{0B64D96B-A150-F2DE-7473-4CD8D8C60016}"/>
              </a:ext>
            </a:extLst>
          </p:cNvPr>
          <p:cNvSpPr>
            <a:spLocks noChangeArrowheads="1"/>
          </p:cNvSpPr>
          <p:nvPr/>
        </p:nvSpPr>
        <p:spPr bwMode="gray">
          <a:xfrm>
            <a:off x="7039681" y="2896569"/>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Rectangle 5">
            <a:extLst>
              <a:ext uri="{FF2B5EF4-FFF2-40B4-BE49-F238E27FC236}">
                <a16:creationId xmlns:a16="http://schemas.microsoft.com/office/drawing/2014/main" id="{A7CA29C7-B260-867A-6467-CB38E6F69C54}"/>
              </a:ext>
            </a:extLst>
          </p:cNvPr>
          <p:cNvSpPr>
            <a:spLocks noChangeArrowheads="1"/>
          </p:cNvSpPr>
          <p:nvPr/>
        </p:nvSpPr>
        <p:spPr bwMode="gray">
          <a:xfrm>
            <a:off x="7039680" y="2626854"/>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企画・運営</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5" name="コネクタ: カギ線 34">
            <a:extLst>
              <a:ext uri="{FF2B5EF4-FFF2-40B4-BE49-F238E27FC236}">
                <a16:creationId xmlns:a16="http://schemas.microsoft.com/office/drawing/2014/main" id="{40F97130-3434-E197-FDD8-0A50B799631A}"/>
              </a:ext>
            </a:extLst>
          </p:cNvPr>
          <p:cNvCxnSpPr>
            <a:cxnSpLocks/>
            <a:stCxn id="8" idx="2"/>
            <a:endCxn id="12" idx="0"/>
          </p:cNvCxnSpPr>
          <p:nvPr/>
        </p:nvCxnSpPr>
        <p:spPr>
          <a:xfrm rot="16200000" flipH="1">
            <a:off x="2476715" y="2523000"/>
            <a:ext cx="163130" cy="8008"/>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ectangle 75">
            <a:extLst>
              <a:ext uri="{FF2B5EF4-FFF2-40B4-BE49-F238E27FC236}">
                <a16:creationId xmlns:a16="http://schemas.microsoft.com/office/drawing/2014/main" id="{80884C5C-1F6D-E162-A074-F65661FD98B3}"/>
              </a:ext>
            </a:extLst>
          </p:cNvPr>
          <p:cNvSpPr>
            <a:spLocks noChangeArrowheads="1"/>
          </p:cNvSpPr>
          <p:nvPr/>
        </p:nvSpPr>
        <p:spPr bwMode="gray">
          <a:xfrm>
            <a:off x="8802592" y="2896265"/>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Rectangle 5">
            <a:extLst>
              <a:ext uri="{FF2B5EF4-FFF2-40B4-BE49-F238E27FC236}">
                <a16:creationId xmlns:a16="http://schemas.microsoft.com/office/drawing/2014/main" id="{1DE1309E-B0E0-21F8-EF43-640ECB6D56F5}"/>
              </a:ext>
            </a:extLst>
          </p:cNvPr>
          <p:cNvSpPr>
            <a:spLocks noChangeArrowheads="1"/>
          </p:cNvSpPr>
          <p:nvPr/>
        </p:nvSpPr>
        <p:spPr bwMode="gray">
          <a:xfrm>
            <a:off x="8802591" y="2626550"/>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運営支援</a:t>
            </a:r>
          </a:p>
        </p:txBody>
      </p:sp>
      <p:sp>
        <p:nvSpPr>
          <p:cNvPr id="38" name="Rectangle 75">
            <a:extLst>
              <a:ext uri="{FF2B5EF4-FFF2-40B4-BE49-F238E27FC236}">
                <a16:creationId xmlns:a16="http://schemas.microsoft.com/office/drawing/2014/main" id="{F1D12892-50BC-B332-CA0D-537FABFF159B}"/>
              </a:ext>
            </a:extLst>
          </p:cNvPr>
          <p:cNvSpPr>
            <a:spLocks noChangeArrowheads="1"/>
          </p:cNvSpPr>
          <p:nvPr/>
        </p:nvSpPr>
        <p:spPr bwMode="gray">
          <a:xfrm>
            <a:off x="7039682" y="3837422"/>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Rectangle 5">
            <a:extLst>
              <a:ext uri="{FF2B5EF4-FFF2-40B4-BE49-F238E27FC236}">
                <a16:creationId xmlns:a16="http://schemas.microsoft.com/office/drawing/2014/main" id="{16E41540-A219-2419-B67C-A2AE13CFB814}"/>
              </a:ext>
            </a:extLst>
          </p:cNvPr>
          <p:cNvSpPr>
            <a:spLocks noChangeArrowheads="1"/>
          </p:cNvSpPr>
          <p:nvPr/>
        </p:nvSpPr>
        <p:spPr bwMode="gray">
          <a:xfrm>
            <a:off x="7039681" y="356770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行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Rectangle 75">
            <a:extLst>
              <a:ext uri="{FF2B5EF4-FFF2-40B4-BE49-F238E27FC236}">
                <a16:creationId xmlns:a16="http://schemas.microsoft.com/office/drawing/2014/main" id="{C2888749-FFD2-DC62-AABB-61DFA8B597C7}"/>
              </a:ext>
            </a:extLst>
          </p:cNvPr>
          <p:cNvSpPr>
            <a:spLocks noChangeArrowheads="1"/>
          </p:cNvSpPr>
          <p:nvPr/>
        </p:nvSpPr>
        <p:spPr bwMode="gray">
          <a:xfrm>
            <a:off x="3868423" y="4689375"/>
            <a:ext cx="1400677" cy="518662"/>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Rectangle 5">
            <a:extLst>
              <a:ext uri="{FF2B5EF4-FFF2-40B4-BE49-F238E27FC236}">
                <a16:creationId xmlns:a16="http://schemas.microsoft.com/office/drawing/2014/main" id="{2249E747-F546-ABD1-FC84-71B243C4B29B}"/>
              </a:ext>
            </a:extLst>
          </p:cNvPr>
          <p:cNvSpPr>
            <a:spLocks noChangeArrowheads="1"/>
          </p:cNvSpPr>
          <p:nvPr/>
        </p:nvSpPr>
        <p:spPr bwMode="gray">
          <a:xfrm>
            <a:off x="3868422" y="443310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アプリ開発</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2" name="コネクタ: カギ線 41">
            <a:extLst>
              <a:ext uri="{FF2B5EF4-FFF2-40B4-BE49-F238E27FC236}">
                <a16:creationId xmlns:a16="http://schemas.microsoft.com/office/drawing/2014/main" id="{9B4560C3-E523-8803-F24F-44C0F6BB8B8F}"/>
              </a:ext>
            </a:extLst>
          </p:cNvPr>
          <p:cNvCxnSpPr>
            <a:cxnSpLocks/>
            <a:stCxn id="26" idx="1"/>
          </p:cNvCxnSpPr>
          <p:nvPr/>
        </p:nvCxnSpPr>
        <p:spPr>
          <a:xfrm rot="10800000">
            <a:off x="1951448" y="3386693"/>
            <a:ext cx="283727" cy="2415065"/>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コネクタ: カギ線 42">
            <a:extLst>
              <a:ext uri="{FF2B5EF4-FFF2-40B4-BE49-F238E27FC236}">
                <a16:creationId xmlns:a16="http://schemas.microsoft.com/office/drawing/2014/main" id="{C09F7C0D-715C-1DE6-CA70-0114A80EE9E6}"/>
              </a:ext>
            </a:extLst>
          </p:cNvPr>
          <p:cNvCxnSpPr>
            <a:cxnSpLocks/>
            <a:stCxn id="33" idx="2"/>
            <a:endCxn id="39" idx="0"/>
          </p:cNvCxnSpPr>
          <p:nvPr/>
        </p:nvCxnSpPr>
        <p:spPr>
          <a:xfrm rot="5400000">
            <a:off x="7657059" y="3484745"/>
            <a:ext cx="165923" cy="1270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Rectangle 75">
            <a:extLst>
              <a:ext uri="{FF2B5EF4-FFF2-40B4-BE49-F238E27FC236}">
                <a16:creationId xmlns:a16="http://schemas.microsoft.com/office/drawing/2014/main" id="{11FC1E08-94B3-8FE9-9E3E-BC734176F0F1}"/>
              </a:ext>
            </a:extLst>
          </p:cNvPr>
          <p:cNvSpPr>
            <a:spLocks noChangeArrowheads="1"/>
          </p:cNvSpPr>
          <p:nvPr/>
        </p:nvSpPr>
        <p:spPr bwMode="gray">
          <a:xfrm>
            <a:off x="8799878" y="3840574"/>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Rectangle 5">
            <a:extLst>
              <a:ext uri="{FF2B5EF4-FFF2-40B4-BE49-F238E27FC236}">
                <a16:creationId xmlns:a16="http://schemas.microsoft.com/office/drawing/2014/main" id="{A34458C2-FB11-5CAF-BCC4-3B2308FFD976}"/>
              </a:ext>
            </a:extLst>
          </p:cNvPr>
          <p:cNvSpPr>
            <a:spLocks noChangeArrowheads="1"/>
          </p:cNvSpPr>
          <p:nvPr/>
        </p:nvSpPr>
        <p:spPr bwMode="gray">
          <a:xfrm>
            <a:off x="8799877" y="3570859"/>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運営支援</a:t>
            </a:r>
          </a:p>
        </p:txBody>
      </p:sp>
      <p:sp>
        <p:nvSpPr>
          <p:cNvPr id="46" name="Rectangle 75">
            <a:extLst>
              <a:ext uri="{FF2B5EF4-FFF2-40B4-BE49-F238E27FC236}">
                <a16:creationId xmlns:a16="http://schemas.microsoft.com/office/drawing/2014/main" id="{EAE7E9A2-9C75-5C55-3083-CF8CFC02DB28}"/>
              </a:ext>
            </a:extLst>
          </p:cNvPr>
          <p:cNvSpPr>
            <a:spLocks noChangeArrowheads="1"/>
          </p:cNvSpPr>
          <p:nvPr/>
        </p:nvSpPr>
        <p:spPr bwMode="gray">
          <a:xfrm>
            <a:off x="8799878" y="4801123"/>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Rectangle 5">
            <a:extLst>
              <a:ext uri="{FF2B5EF4-FFF2-40B4-BE49-F238E27FC236}">
                <a16:creationId xmlns:a16="http://schemas.microsoft.com/office/drawing/2014/main" id="{A43E12AD-B2EB-E739-14BE-B941DFF7D18A}"/>
              </a:ext>
            </a:extLst>
          </p:cNvPr>
          <p:cNvSpPr>
            <a:spLocks noChangeArrowheads="1"/>
          </p:cNvSpPr>
          <p:nvPr/>
        </p:nvSpPr>
        <p:spPr bwMode="gray">
          <a:xfrm>
            <a:off x="8799877" y="4531408"/>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chemeClr val="bg1"/>
                </a:solidFill>
                <a:latin typeface="Meiryo UI" panose="020B0604030504040204" pitchFamily="50" charset="-128"/>
                <a:ea typeface="Meiryo UI" panose="020B0604030504040204" pitchFamily="50" charset="-128"/>
                <a:cs typeface="Meiryo UI" panose="020B0604030504040204" pitchFamily="50" charset="-128"/>
              </a:rPr>
              <a:t>運営支援</a:t>
            </a:r>
          </a:p>
        </p:txBody>
      </p:sp>
      <p:sp>
        <p:nvSpPr>
          <p:cNvPr id="48" name="Rectangle 75">
            <a:extLst>
              <a:ext uri="{FF2B5EF4-FFF2-40B4-BE49-F238E27FC236}">
                <a16:creationId xmlns:a16="http://schemas.microsoft.com/office/drawing/2014/main" id="{C80863E0-C0EC-A8A5-0450-8E2D5C9CF665}"/>
              </a:ext>
            </a:extLst>
          </p:cNvPr>
          <p:cNvSpPr>
            <a:spLocks noChangeArrowheads="1"/>
          </p:cNvSpPr>
          <p:nvPr/>
        </p:nvSpPr>
        <p:spPr bwMode="gray">
          <a:xfrm>
            <a:off x="7039681" y="4788511"/>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Rectangle 5">
            <a:extLst>
              <a:ext uri="{FF2B5EF4-FFF2-40B4-BE49-F238E27FC236}">
                <a16:creationId xmlns:a16="http://schemas.microsoft.com/office/drawing/2014/main" id="{A0D0579C-20A3-6CB7-7884-53E4873AFC1C}"/>
              </a:ext>
            </a:extLst>
          </p:cNvPr>
          <p:cNvSpPr>
            <a:spLocks noChangeArrowheads="1"/>
          </p:cNvSpPr>
          <p:nvPr/>
        </p:nvSpPr>
        <p:spPr bwMode="gray">
          <a:xfrm>
            <a:off x="7039680" y="4518796"/>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kumimoji="1"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実行推進</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0" name="コネクタ: カギ線 49">
            <a:extLst>
              <a:ext uri="{FF2B5EF4-FFF2-40B4-BE49-F238E27FC236}">
                <a16:creationId xmlns:a16="http://schemas.microsoft.com/office/drawing/2014/main" id="{70D243EA-17DF-865D-55F4-DDB86E3FC409}"/>
              </a:ext>
            </a:extLst>
          </p:cNvPr>
          <p:cNvCxnSpPr>
            <a:cxnSpLocks/>
            <a:stCxn id="38" idx="2"/>
            <a:endCxn id="49" idx="0"/>
          </p:cNvCxnSpPr>
          <p:nvPr/>
        </p:nvCxnSpPr>
        <p:spPr>
          <a:xfrm rot="5400000">
            <a:off x="7651941" y="4430715"/>
            <a:ext cx="176159" cy="2"/>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コネクタ: カギ線 50">
            <a:extLst>
              <a:ext uri="{FF2B5EF4-FFF2-40B4-BE49-F238E27FC236}">
                <a16:creationId xmlns:a16="http://schemas.microsoft.com/office/drawing/2014/main" id="{89F55B38-D3AD-5356-0792-1365F2725CD9}"/>
              </a:ext>
            </a:extLst>
          </p:cNvPr>
          <p:cNvCxnSpPr>
            <a:cxnSpLocks/>
            <a:stCxn id="44" idx="2"/>
            <a:endCxn id="47" idx="0"/>
          </p:cNvCxnSpPr>
          <p:nvPr/>
        </p:nvCxnSpPr>
        <p:spPr>
          <a:xfrm rot="5400000">
            <a:off x="9407408" y="4438598"/>
            <a:ext cx="185619" cy="1"/>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コネクタ: カギ線 51">
            <a:extLst>
              <a:ext uri="{FF2B5EF4-FFF2-40B4-BE49-F238E27FC236}">
                <a16:creationId xmlns:a16="http://schemas.microsoft.com/office/drawing/2014/main" id="{66B9DD1B-C64B-4F75-5CF8-B98CD9A23B09}"/>
              </a:ext>
            </a:extLst>
          </p:cNvPr>
          <p:cNvCxnSpPr>
            <a:cxnSpLocks/>
            <a:stCxn id="37" idx="0"/>
            <a:endCxn id="8" idx="3"/>
          </p:cNvCxnSpPr>
          <p:nvPr/>
        </p:nvCxnSpPr>
        <p:spPr>
          <a:xfrm rot="16200000" flipV="1">
            <a:off x="6157286" y="-719094"/>
            <a:ext cx="442972" cy="6248316"/>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コネクタ: カギ線 52">
            <a:extLst>
              <a:ext uri="{FF2B5EF4-FFF2-40B4-BE49-F238E27FC236}">
                <a16:creationId xmlns:a16="http://schemas.microsoft.com/office/drawing/2014/main" id="{BE418135-FB4D-DCAA-9BF1-13BC0FEA9AAB}"/>
              </a:ext>
            </a:extLst>
          </p:cNvPr>
          <p:cNvCxnSpPr>
            <a:cxnSpLocks/>
            <a:stCxn id="33" idx="3"/>
            <a:endCxn id="36" idx="1"/>
          </p:cNvCxnSpPr>
          <p:nvPr/>
        </p:nvCxnSpPr>
        <p:spPr>
          <a:xfrm flipV="1">
            <a:off x="8440358" y="3148873"/>
            <a:ext cx="362234" cy="304"/>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Rectangle 75">
            <a:extLst>
              <a:ext uri="{FF2B5EF4-FFF2-40B4-BE49-F238E27FC236}">
                <a16:creationId xmlns:a16="http://schemas.microsoft.com/office/drawing/2014/main" id="{257CE3ED-27EF-8BB9-8AC6-A65A773D1B5F}"/>
              </a:ext>
            </a:extLst>
          </p:cNvPr>
          <p:cNvSpPr>
            <a:spLocks noChangeArrowheads="1"/>
          </p:cNvSpPr>
          <p:nvPr/>
        </p:nvSpPr>
        <p:spPr bwMode="gray">
          <a:xfrm>
            <a:off x="10384520" y="1964717"/>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Rectangle 5">
            <a:extLst>
              <a:ext uri="{FF2B5EF4-FFF2-40B4-BE49-F238E27FC236}">
                <a16:creationId xmlns:a16="http://schemas.microsoft.com/office/drawing/2014/main" id="{3A150D87-5B38-9F6A-05D1-4FD2C26D10CF}"/>
              </a:ext>
            </a:extLst>
          </p:cNvPr>
          <p:cNvSpPr>
            <a:spLocks noChangeArrowheads="1"/>
          </p:cNvSpPr>
          <p:nvPr/>
        </p:nvSpPr>
        <p:spPr bwMode="gray">
          <a:xfrm>
            <a:off x="10384519" y="1695002"/>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WS</a:t>
            </a:r>
            <a:r>
              <a:rPr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主催</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Rectangle 75">
            <a:extLst>
              <a:ext uri="{FF2B5EF4-FFF2-40B4-BE49-F238E27FC236}">
                <a16:creationId xmlns:a16="http://schemas.microsoft.com/office/drawing/2014/main" id="{E7A256B4-413F-307C-5439-6870A4ACBCED}"/>
              </a:ext>
            </a:extLst>
          </p:cNvPr>
          <p:cNvSpPr>
            <a:spLocks noChangeArrowheads="1"/>
          </p:cNvSpPr>
          <p:nvPr/>
        </p:nvSpPr>
        <p:spPr bwMode="gray">
          <a:xfrm>
            <a:off x="10384519" y="2866014"/>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Rectangle 5">
            <a:extLst>
              <a:ext uri="{FF2B5EF4-FFF2-40B4-BE49-F238E27FC236}">
                <a16:creationId xmlns:a16="http://schemas.microsoft.com/office/drawing/2014/main" id="{7FADCBDB-26FF-BE72-8F14-BA953AD29C27}"/>
              </a:ext>
            </a:extLst>
          </p:cNvPr>
          <p:cNvSpPr>
            <a:spLocks noChangeArrowheads="1"/>
          </p:cNvSpPr>
          <p:nvPr/>
        </p:nvSpPr>
        <p:spPr bwMode="gray">
          <a:xfrm>
            <a:off x="10384518" y="2596299"/>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Decidim</a:t>
            </a:r>
            <a:r>
              <a:rPr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担当</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テキスト ボックス 57">
            <a:extLst>
              <a:ext uri="{FF2B5EF4-FFF2-40B4-BE49-F238E27FC236}">
                <a16:creationId xmlns:a16="http://schemas.microsoft.com/office/drawing/2014/main" id="{C9BFE387-081A-F493-758E-0F6BD91A7288}"/>
              </a:ext>
            </a:extLst>
          </p:cNvPr>
          <p:cNvSpPr txBox="1"/>
          <p:nvPr/>
        </p:nvSpPr>
        <p:spPr>
          <a:xfrm>
            <a:off x="11219579" y="1257150"/>
            <a:ext cx="914400" cy="914400"/>
          </a:xfrm>
          <a:prstGeom prst="rect">
            <a:avLst/>
          </a:prstGeom>
          <a:noFill/>
        </p:spPr>
        <p:txBody>
          <a:bodyPr wrap="none" rtlCol="0">
            <a:noAutofit/>
          </a:bodyPr>
          <a:lstStyle/>
          <a:p>
            <a:pPr algn="l"/>
            <a:r>
              <a:rPr kumimoji="1" lang="ja-JP" altLang="en-US" sz="1100">
                <a:latin typeface="+mn-ea"/>
                <a:ea typeface="+mn-ea"/>
              </a:rPr>
              <a:t>敬称略</a:t>
            </a:r>
          </a:p>
        </p:txBody>
      </p:sp>
      <p:sp>
        <p:nvSpPr>
          <p:cNvPr id="59" name="Rectangle 75">
            <a:extLst>
              <a:ext uri="{FF2B5EF4-FFF2-40B4-BE49-F238E27FC236}">
                <a16:creationId xmlns:a16="http://schemas.microsoft.com/office/drawing/2014/main" id="{814DB610-F1B5-FED4-96F6-356A96984752}"/>
              </a:ext>
            </a:extLst>
          </p:cNvPr>
          <p:cNvSpPr>
            <a:spLocks noChangeArrowheads="1"/>
          </p:cNvSpPr>
          <p:nvPr/>
        </p:nvSpPr>
        <p:spPr bwMode="gray">
          <a:xfrm>
            <a:off x="10398430" y="3763632"/>
            <a:ext cx="1400677" cy="505215"/>
          </a:xfrm>
          <a:prstGeom prst="rect">
            <a:avLst/>
          </a:prstGeom>
          <a:solidFill>
            <a:schemeClr val="bg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AA</a:t>
            </a:r>
            <a:r>
              <a:rPr kumimoji="1" lang="ja-JP" altLang="en-US"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社</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algn="ctr"/>
            <a:r>
              <a:rPr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rPr>
              <a:t>BB</a:t>
            </a:r>
            <a:endParaRPr kumimoji="1" lang="en-US" altLang="ja-JP" sz="105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Rectangle 5">
            <a:extLst>
              <a:ext uri="{FF2B5EF4-FFF2-40B4-BE49-F238E27FC236}">
                <a16:creationId xmlns:a16="http://schemas.microsoft.com/office/drawing/2014/main" id="{3FBE18F8-DF94-8BCA-4933-9DC0688EE117}"/>
              </a:ext>
            </a:extLst>
          </p:cNvPr>
          <p:cNvSpPr>
            <a:spLocks noChangeArrowheads="1"/>
          </p:cNvSpPr>
          <p:nvPr/>
        </p:nvSpPr>
        <p:spPr bwMode="gray">
          <a:xfrm>
            <a:off x="10398429" y="3493917"/>
            <a:ext cx="1400677" cy="288000"/>
          </a:xfrm>
          <a:prstGeom prst="rect">
            <a:avLst/>
          </a:prstGeom>
          <a:solidFill>
            <a:schemeClr val="tx1"/>
          </a:solidFill>
          <a:ln w="6350" algn="ctr">
            <a:solidFill>
              <a:schemeClr val="tx1"/>
            </a:solidFill>
            <a:miter lim="800000"/>
            <a:headEnd/>
            <a:tailEnd type="none" w="lg" len="lg"/>
          </a:ln>
          <a:effectLst/>
        </p:spPr>
        <p:txBody>
          <a:bodyPr vert="horz" wrap="none" lIns="89972" tIns="46786" rIns="89972" bIns="46786" numCol="1" anchor="ctr" anchorCtr="0" compatLnSpc="1">
            <a:prstTxWarp prst="textNoShape">
              <a:avLst/>
            </a:prstTxWarp>
          </a:bodyPr>
          <a:lstStyle/>
          <a:p>
            <a:pPr algn="ctr"/>
            <a:r>
              <a:rPr lang="en-US" altLang="ja-JP"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FIWARE</a:t>
            </a:r>
            <a:r>
              <a:rPr lang="ja-JP" altLang="en-US" sz="1050" b="1">
                <a:solidFill>
                  <a:srgbClr val="FFFFFF"/>
                </a:solidFill>
                <a:latin typeface="Meiryo UI" panose="020B0604030504040204" pitchFamily="50" charset="-128"/>
                <a:ea typeface="Meiryo UI" panose="020B0604030504040204" pitchFamily="50" charset="-128"/>
                <a:cs typeface="Meiryo UI" panose="020B0604030504040204" pitchFamily="50" charset="-128"/>
              </a:rPr>
              <a:t>担当</a:t>
            </a:r>
            <a:endParaRPr kumimoji="1" lang="ja-JP" altLang="en-US" sz="1050" b="1">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61" name="コネクタ: カギ線 60">
            <a:extLst>
              <a:ext uri="{FF2B5EF4-FFF2-40B4-BE49-F238E27FC236}">
                <a16:creationId xmlns:a16="http://schemas.microsoft.com/office/drawing/2014/main" id="{8294B53B-40A2-5BE4-9CB0-796238DAF687}"/>
              </a:ext>
            </a:extLst>
          </p:cNvPr>
          <p:cNvCxnSpPr>
            <a:cxnSpLocks/>
            <a:stCxn id="59" idx="3"/>
            <a:endCxn id="54" idx="3"/>
          </p:cNvCxnSpPr>
          <p:nvPr/>
        </p:nvCxnSpPr>
        <p:spPr>
          <a:xfrm flipH="1" flipV="1">
            <a:off x="11785197" y="2217325"/>
            <a:ext cx="13910" cy="1798915"/>
          </a:xfrm>
          <a:prstGeom prst="bentConnector3">
            <a:avLst>
              <a:gd name="adj1" fmla="val -164342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コネクタ: カギ線 61">
            <a:extLst>
              <a:ext uri="{FF2B5EF4-FFF2-40B4-BE49-F238E27FC236}">
                <a16:creationId xmlns:a16="http://schemas.microsoft.com/office/drawing/2014/main" id="{535A823C-A292-AD77-1929-6FC5127AA2E1}"/>
              </a:ext>
            </a:extLst>
          </p:cNvPr>
          <p:cNvCxnSpPr>
            <a:cxnSpLocks/>
            <a:stCxn id="56" idx="3"/>
            <a:endCxn id="54" idx="3"/>
          </p:cNvCxnSpPr>
          <p:nvPr/>
        </p:nvCxnSpPr>
        <p:spPr>
          <a:xfrm flipV="1">
            <a:off x="11785196" y="2217325"/>
            <a:ext cx="1" cy="901297"/>
          </a:xfrm>
          <a:prstGeom prst="bentConnector3">
            <a:avLst>
              <a:gd name="adj1" fmla="val 22860100000"/>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テキスト ボックス 62">
            <a:extLst>
              <a:ext uri="{FF2B5EF4-FFF2-40B4-BE49-F238E27FC236}">
                <a16:creationId xmlns:a16="http://schemas.microsoft.com/office/drawing/2014/main" id="{7C6B3982-F0AE-8DE6-BAA9-70D33CDCF18C}"/>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前項のアサインメンバーを組織図で表してください​。</a:t>
            </a:r>
          </a:p>
        </p:txBody>
      </p:sp>
    </p:spTree>
    <p:extLst>
      <p:ext uri="{BB962C8B-B14F-4D97-AF65-F5344CB8AC3E}">
        <p14:creationId xmlns:p14="http://schemas.microsoft.com/office/powerpoint/2010/main" val="107579354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243FF5B-2F65-6662-CEDF-EC47912AAF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12" imgH="511" progId="TCLayout.ActiveDocument.1">
                  <p:embed/>
                </p:oleObj>
              </mc:Choice>
              <mc:Fallback>
                <p:oleObj name="think-cell スライド" r:id="rId3" imgW="512" imgH="511" progId="TCLayout.ActiveDocument.1">
                  <p:embed/>
                  <p:pic>
                    <p:nvPicPr>
                      <p:cNvPr id="5" name="think-cell data - do not delete" hidden="1">
                        <a:extLst>
                          <a:ext uri="{FF2B5EF4-FFF2-40B4-BE49-F238E27FC236}">
                            <a16:creationId xmlns:a16="http://schemas.microsoft.com/office/drawing/2014/main" id="{A243FF5B-2F65-6662-CEDF-EC47912AAF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3889FB1B-DE63-B6FC-8D02-5D400D923577}"/>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12C53150-040F-52DA-C62A-71223FB5EBC3}"/>
              </a:ext>
            </a:extLst>
          </p:cNvPr>
          <p:cNvSpPr>
            <a:spLocks noGrp="1"/>
          </p:cNvSpPr>
          <p:nvPr>
            <p:ph type="title"/>
          </p:nvPr>
        </p:nvSpPr>
        <p:spPr/>
        <p:txBody>
          <a:bodyPr vert="horz"/>
          <a:lstStyle/>
          <a:p>
            <a:r>
              <a:rPr lang="en-US" altLang="ja-JP"/>
              <a:t>4.</a:t>
            </a:r>
            <a:r>
              <a:rPr lang="ja-JP" altLang="en-US"/>
              <a:t>コミュニケーション（</a:t>
            </a:r>
            <a:r>
              <a:rPr lang="en-US" altLang="ja-JP"/>
              <a:t>WBS</a:t>
            </a:r>
            <a:r>
              <a:rPr lang="ja-JP" altLang="en-US"/>
              <a:t>ガントチャート）</a:t>
            </a:r>
            <a:endParaRPr kumimoji="1" lang="ja-JP" altLang="en-US"/>
          </a:p>
        </p:txBody>
      </p:sp>
      <p:graphicFrame>
        <p:nvGraphicFramePr>
          <p:cNvPr id="2" name="表 7">
            <a:extLst>
              <a:ext uri="{FF2B5EF4-FFF2-40B4-BE49-F238E27FC236}">
                <a16:creationId xmlns:a16="http://schemas.microsoft.com/office/drawing/2014/main" id="{F9E0DDCD-6644-BE19-62E5-D3AB6A2D7C99}"/>
              </a:ext>
            </a:extLst>
          </p:cNvPr>
          <p:cNvGraphicFramePr>
            <a:graphicFrameLocks noGrp="1"/>
          </p:cNvGraphicFramePr>
          <p:nvPr>
            <p:extLst>
              <p:ext uri="{D42A27DB-BD31-4B8C-83A1-F6EECF244321}">
                <p14:modId xmlns:p14="http://schemas.microsoft.com/office/powerpoint/2010/main" val="3658037777"/>
              </p:ext>
            </p:extLst>
          </p:nvPr>
        </p:nvGraphicFramePr>
        <p:xfrm>
          <a:off x="292100" y="1315811"/>
          <a:ext cx="11595097" cy="4886832"/>
        </p:xfrm>
        <a:graphic>
          <a:graphicData uri="http://schemas.openxmlformats.org/drawingml/2006/table">
            <a:tbl>
              <a:tblPr>
                <a:tableStyleId>{5C22544A-7EE6-4342-B048-85BDC9FD1C3A}</a:tableStyleId>
              </a:tblPr>
              <a:tblGrid>
                <a:gridCol w="1149452">
                  <a:extLst>
                    <a:ext uri="{9D8B030D-6E8A-4147-A177-3AD203B41FA5}">
                      <a16:colId xmlns:a16="http://schemas.microsoft.com/office/drawing/2014/main" val="1942113200"/>
                    </a:ext>
                  </a:extLst>
                </a:gridCol>
                <a:gridCol w="2089129">
                  <a:extLst>
                    <a:ext uri="{9D8B030D-6E8A-4147-A177-3AD203B41FA5}">
                      <a16:colId xmlns:a16="http://schemas.microsoft.com/office/drawing/2014/main" val="1115002749"/>
                    </a:ext>
                  </a:extLst>
                </a:gridCol>
                <a:gridCol w="2089129">
                  <a:extLst>
                    <a:ext uri="{9D8B030D-6E8A-4147-A177-3AD203B41FA5}">
                      <a16:colId xmlns:a16="http://schemas.microsoft.com/office/drawing/2014/main" val="4180606030"/>
                    </a:ext>
                  </a:extLst>
                </a:gridCol>
                <a:gridCol w="2089129">
                  <a:extLst>
                    <a:ext uri="{9D8B030D-6E8A-4147-A177-3AD203B41FA5}">
                      <a16:colId xmlns:a16="http://schemas.microsoft.com/office/drawing/2014/main" val="295045662"/>
                    </a:ext>
                  </a:extLst>
                </a:gridCol>
                <a:gridCol w="2089129">
                  <a:extLst>
                    <a:ext uri="{9D8B030D-6E8A-4147-A177-3AD203B41FA5}">
                      <a16:colId xmlns:a16="http://schemas.microsoft.com/office/drawing/2014/main" val="1508992956"/>
                    </a:ext>
                  </a:extLst>
                </a:gridCol>
                <a:gridCol w="2089129">
                  <a:extLst>
                    <a:ext uri="{9D8B030D-6E8A-4147-A177-3AD203B41FA5}">
                      <a16:colId xmlns:a16="http://schemas.microsoft.com/office/drawing/2014/main" val="1128553473"/>
                    </a:ext>
                  </a:extLst>
                </a:gridCol>
              </a:tblGrid>
              <a:tr h="574060">
                <a:tc>
                  <a:txBody>
                    <a:bodyPr/>
                    <a:lstStyle/>
                    <a:p>
                      <a:pPr algn="ctr"/>
                      <a:r>
                        <a:rPr kumimoji="1" lang="ja-JP" altLang="en-US" sz="1400" b="1">
                          <a:latin typeface="Meiryo UI" panose="020B0604030504040204" pitchFamily="50" charset="-128"/>
                          <a:ea typeface="Meiryo UI" panose="020B0604030504040204" pitchFamily="50" charset="-128"/>
                        </a:rPr>
                        <a:t>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キックオフ</a:t>
                      </a:r>
                      <a:r>
                        <a:rPr kumimoji="1" lang="en-US" altLang="ja-JP"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p>
                    <a:p>
                      <a:pPr algn="ct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計画書確認会</a:t>
                      </a:r>
                      <a:endParaRPr kumimoji="1" lang="ja-JP" altLang="en-US" sz="1400" b="1">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要件定義確認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計画確認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証立ち合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スコープ調整の相談</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337682">
                <a:tc>
                  <a:txBody>
                    <a:bodyPr/>
                    <a:lstStyle/>
                    <a:p>
                      <a:r>
                        <a:rPr kumimoji="1" lang="ja-JP" altLang="en-US" sz="1400">
                          <a:latin typeface="Meiryo UI" panose="020B0604030504040204" pitchFamily="50" charset="-128"/>
                          <a:ea typeface="Meiryo UI" panose="020B0604030504040204" pitchFamily="50" charset="-128"/>
                        </a:rPr>
                        <a:t>想定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4/11,19</a:t>
                      </a:r>
                      <a:endPar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6</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下旬</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7</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中旬</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7</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下旬～</a:t>
                      </a: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11</a:t>
                      </a: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kumimoji="1" lang="ja-JP" altLang="en-US" sz="1400">
                          <a:solidFill>
                            <a:srgbClr val="0070C0"/>
                          </a:solidFill>
                          <a:latin typeface="Meiryo UI" panose="020B0604030504040204" pitchFamily="50" charset="-128"/>
                          <a:ea typeface="Meiryo UI" panose="020B0604030504040204" pitchFamily="50" charset="-128"/>
                        </a:rPr>
                        <a:t>必要に応じて設定</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1879606">
                <a:tc>
                  <a:txBody>
                    <a:bodyPr/>
                    <a:lstStyle/>
                    <a:p>
                      <a:r>
                        <a:rPr kumimoji="1" lang="ja-JP" altLang="en-US" sz="1400">
                          <a:latin typeface="Meiryo UI" panose="020B0604030504040204" pitchFamily="50" charset="-128"/>
                          <a:ea typeface="Meiryo UI" panose="020B0604030504040204" pitchFamily="50" charset="-128"/>
                        </a:rPr>
                        <a:t>出席者</a:t>
                      </a:r>
                      <a:br>
                        <a:rPr kumimoji="1" lang="en-US" altLang="ja-JP" sz="1400">
                          <a:latin typeface="Meiryo UI" panose="020B0604030504040204" pitchFamily="50" charset="-128"/>
                          <a:ea typeface="Meiryo UI" panose="020B0604030504040204" pitchFamily="50" charset="-128"/>
                        </a:rPr>
                      </a:br>
                      <a:r>
                        <a:rPr kumimoji="1" lang="ja-JP" altLang="en-US" sz="1400">
                          <a:latin typeface="Meiryo UI" panose="020B0604030504040204" pitchFamily="50" charset="-128"/>
                          <a:ea typeface="Meiryo UI" panose="020B0604030504040204" pitchFamily="50" charset="-128"/>
                        </a:rPr>
                        <a:t>（社名）</a:t>
                      </a:r>
                      <a:endParaRPr kumimoji="1" lang="en-US" altLang="ja-JP" sz="140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国土交通省モビ課</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AAA</a:t>
                      </a:r>
                    </a:p>
                    <a:p>
                      <a:pPr marL="203200" marR="0" lvl="0" indent="-203200" algn="l" defTabSz="742950" rtl="0" eaLnBrk="1" fontAlgn="auto" latinLnBrk="0" hangingPunct="1">
                        <a:lnSpc>
                          <a:spcPct val="100000"/>
                        </a:lnSpc>
                        <a:spcBef>
                          <a:spcPts val="0"/>
                        </a:spcBef>
                        <a:spcAft>
                          <a:spcPts val="0"/>
                        </a:spcAft>
                        <a:buClrTx/>
                        <a:buSzTx/>
                        <a:buFontTx/>
                        <a:buChar char="•"/>
                        <a:tabLst/>
                        <a:defRPr/>
                      </a:pPr>
                      <a:r>
                        <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BBB</a:t>
                      </a:r>
                      <a:endParaRPr kumimoji="1" lang="ja-JP" altLang="en-US" sz="140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1181091">
                <a:tc>
                  <a:txBody>
                    <a:bodyPr/>
                    <a:lstStyle/>
                    <a:p>
                      <a:r>
                        <a:rPr kumimoji="1" lang="ja-JP" altLang="en-US" sz="1400">
                          <a:latin typeface="Meiryo UI" panose="020B0604030504040204" pitchFamily="50" charset="-128"/>
                          <a:ea typeface="Meiryo UI" panose="020B0604030504040204" pitchFamily="50" charset="-128"/>
                        </a:rPr>
                        <a:t>会議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実施計画書の共有</a:t>
                      </a:r>
                      <a:endParaRPr kumimoji="1" lang="en-US" altLang="ja-JP" sz="1400">
                        <a:solidFill>
                          <a:srgbClr val="0070C0"/>
                        </a:solidFill>
                        <a:latin typeface="Meiryo UI" panose="020B0604030504040204" pitchFamily="50" charset="-128"/>
                        <a:ea typeface="Meiryo UI" panose="020B0604030504040204" pitchFamily="50" charset="-128"/>
                      </a:endParaRPr>
                    </a:p>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業務スコープ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要件定義書の共有</a:t>
                      </a:r>
                      <a:endParaRPr kumimoji="1" lang="en-US" altLang="ja-JP" sz="1400">
                        <a:solidFill>
                          <a:srgbClr val="0070C0"/>
                        </a:solidFill>
                        <a:latin typeface="Meiryo UI" panose="020B0604030504040204" pitchFamily="50" charset="-128"/>
                        <a:ea typeface="Meiryo UI" panose="020B0604030504040204" pitchFamily="50" charset="-128"/>
                      </a:endParaRPr>
                    </a:p>
                    <a:p>
                      <a:pPr marL="20320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開発システムの要件定義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実証計画書の共有</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開発システムのプロトタイプ確認</a:t>
                      </a:r>
                      <a:endPar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実証計画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完成したシステムの確認</a:t>
                      </a: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実証実験の視察・参加</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スコープ調整の原因の共有</a:t>
                      </a:r>
                      <a:endParaRPr kumimoji="1" lang="en-US" altLang="ja-JP"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endParaRPr>
                    </a:p>
                    <a:p>
                      <a:pPr marL="203200" marR="0" lvl="0" indent="-203200" algn="l" defTabSz="914400" rtl="0" eaLnBrk="1" fontAlgn="auto" latinLnBrk="0" hangingPunct="1">
                        <a:lnSpc>
                          <a:spcPct val="100000"/>
                        </a:lnSpc>
                        <a:spcBef>
                          <a:spcPts val="0"/>
                        </a:spcBef>
                        <a:spcAft>
                          <a:spcPts val="0"/>
                        </a:spcAft>
                        <a:buClrTx/>
                        <a:buSzTx/>
                        <a:buFontTx/>
                        <a:buChar char="•"/>
                        <a:tabLst/>
                        <a:defRPr/>
                      </a:pPr>
                      <a:r>
                        <a:rPr kumimoji="1" lang="ja-JP" altLang="en-US" sz="14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cs typeface="+mn-cs"/>
                        </a:rPr>
                        <a:t>業務スコープ変更の合意</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914393">
                <a:tc>
                  <a:txBody>
                    <a:bodyPr/>
                    <a:lstStyle/>
                    <a:p>
                      <a:r>
                        <a:rPr kumimoji="1" lang="ja-JP" altLang="en-US" sz="1400">
                          <a:latin typeface="Meiryo UI" panose="020B0604030504040204" pitchFamily="50" charset="-128"/>
                          <a:ea typeface="Meiryo UI" panose="020B0604030504040204" pitchFamily="50" charset="-128"/>
                        </a:rPr>
                        <a:t>コミュニケーションツー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5">
                  <a:txBody>
                    <a:bodyPr/>
                    <a:lstStyle/>
                    <a:p>
                      <a:pPr marL="203200" lvl="0" indent="-203200" algn="l">
                        <a:buFontTx/>
                        <a:buChar char="•"/>
                      </a:pPr>
                      <a:r>
                        <a:rPr kumimoji="1" lang="en-US" altLang="ja-JP" sz="1400">
                          <a:solidFill>
                            <a:srgbClr val="0070C0"/>
                          </a:solidFill>
                          <a:latin typeface="Meiryo UI" panose="020B0604030504040204" pitchFamily="50" charset="-128"/>
                          <a:ea typeface="Meiryo UI" panose="020B0604030504040204" pitchFamily="50" charset="-128"/>
                        </a:rPr>
                        <a:t>Teams</a:t>
                      </a:r>
                    </a:p>
                    <a:p>
                      <a:pPr marL="203200" lvl="0" indent="-203200" algn="l">
                        <a:buFontTx/>
                        <a:buChar char="•"/>
                      </a:pPr>
                      <a:r>
                        <a:rPr kumimoji="1" lang="en-US" altLang="ja-JP" sz="1400">
                          <a:solidFill>
                            <a:srgbClr val="0070C0"/>
                          </a:solidFill>
                          <a:latin typeface="Meiryo UI" panose="020B0604030504040204" pitchFamily="50" charset="-128"/>
                          <a:ea typeface="Meiryo UI" panose="020B0604030504040204" pitchFamily="50" charset="-128"/>
                        </a:rPr>
                        <a:t>Slack</a:t>
                      </a:r>
                      <a:r>
                        <a:rPr kumimoji="1" lang="ja-JP" altLang="en-US" sz="1400">
                          <a:solidFill>
                            <a:srgbClr val="0070C0"/>
                          </a:solidFill>
                          <a:latin typeface="Meiryo UI" panose="020B0604030504040204" pitchFamily="50" charset="-128"/>
                          <a:ea typeface="Meiryo UI" panose="020B0604030504040204" pitchFamily="50" charset="-128"/>
                        </a:rPr>
                        <a:t>（フォローアップ）</a:t>
                      </a:r>
                      <a:endParaRPr kumimoji="1" lang="en-US" altLang="ja-JP" sz="1400">
                        <a:solidFill>
                          <a:srgbClr val="0070C0"/>
                        </a:solidFill>
                        <a:latin typeface="Meiryo UI" panose="020B0604030504040204" pitchFamily="50" charset="-128"/>
                        <a:ea typeface="Meiryo UI" panose="020B0604030504040204" pitchFamily="50" charset="-128"/>
                      </a:endParaRPr>
                    </a:p>
                    <a:p>
                      <a:pPr marL="203200" lvl="0" indent="-203200" algn="l">
                        <a:buFontTx/>
                        <a:buChar char="•"/>
                      </a:pPr>
                      <a:r>
                        <a:rPr kumimoji="1" lang="ja-JP" altLang="en-US" sz="1400">
                          <a:solidFill>
                            <a:srgbClr val="0070C0"/>
                          </a:solidFill>
                          <a:latin typeface="Meiryo UI" panose="020B0604030504040204" pitchFamily="50" charset="-128"/>
                          <a:ea typeface="Meiryo UI" panose="020B0604030504040204" pitchFamily="50" charset="-128"/>
                        </a:rPr>
                        <a:t>現地対面（実証立ち合い、等）</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en-US" altLang="ja-JP"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203200" marR="0" lvl="0" indent="-203200" algn="l" defTabSz="914400" rtl="0" eaLnBrk="1" fontAlgn="auto" latinLnBrk="0" hangingPunct="1">
                        <a:lnSpc>
                          <a:spcPct val="100000"/>
                        </a:lnSpc>
                        <a:spcBef>
                          <a:spcPts val="0"/>
                        </a:spcBef>
                        <a:spcAft>
                          <a:spcPts val="0"/>
                        </a:spcAft>
                        <a:buClrTx/>
                        <a:buSzTx/>
                        <a:buFontTx/>
                        <a:buChar char="•"/>
                        <a:tabLst/>
                        <a:defRPr/>
                      </a:pPr>
                      <a:endParaRPr kumimoji="1" lang="ja-JP" altLang="en-US" sz="1400" b="0" i="0" u="none" strike="noStrike" kern="1200" cap="none" spc="0" normalizeH="0" baseline="0" noProof="0">
                        <a:ln>
                          <a:noFill/>
                        </a:ln>
                        <a:solidFill>
                          <a:srgbClr val="000000"/>
                        </a:solidFill>
                        <a:effectLst/>
                        <a:uLnTx/>
                        <a:uFillTx/>
                        <a:latin typeface="+mn-ea"/>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04760456"/>
                  </a:ext>
                </a:extLst>
              </a:tr>
            </a:tbl>
          </a:graphicData>
        </a:graphic>
      </p:graphicFrame>
      <p:sp>
        <p:nvSpPr>
          <p:cNvPr id="6" name="テキスト ボックス 5">
            <a:extLst>
              <a:ext uri="{FF2B5EF4-FFF2-40B4-BE49-F238E27FC236}">
                <a16:creationId xmlns:a16="http://schemas.microsoft.com/office/drawing/2014/main" id="{0EF1E65A-B109-F41E-1B7B-F0E1CB735B01}"/>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内部、国交省、支援事務局を含めた、本プロジェクト進行に必要なコミュニケーションプランについて記載してください。​</a:t>
            </a:r>
          </a:p>
        </p:txBody>
      </p:sp>
    </p:spTree>
    <p:extLst>
      <p:ext uri="{BB962C8B-B14F-4D97-AF65-F5344CB8AC3E}">
        <p14:creationId xmlns:p14="http://schemas.microsoft.com/office/powerpoint/2010/main" val="121525036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A1A79F-2ACF-F9AF-66F4-DF29C14AD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86A1A79F-2ACF-F9AF-66F4-DF29C14AD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177281CC-1855-F2DB-EAE1-E4C54E0FD7E5}"/>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DCD11E60-C345-0156-A89F-36AE8A4A9155}"/>
              </a:ext>
            </a:extLst>
          </p:cNvPr>
          <p:cNvSpPr>
            <a:spLocks noGrp="1"/>
          </p:cNvSpPr>
          <p:nvPr>
            <p:ph type="title"/>
          </p:nvPr>
        </p:nvSpPr>
        <p:spPr/>
        <p:txBody>
          <a:bodyPr vert="horz"/>
          <a:lstStyle/>
          <a:p>
            <a:r>
              <a:rPr kumimoji="1" lang="en-US" altLang="ja-JP"/>
              <a:t>5.</a:t>
            </a:r>
            <a:r>
              <a:rPr kumimoji="1" lang="ja-JP" altLang="en-US"/>
              <a:t>品質</a:t>
            </a:r>
          </a:p>
        </p:txBody>
      </p:sp>
      <p:graphicFrame>
        <p:nvGraphicFramePr>
          <p:cNvPr id="2" name="表 10">
            <a:extLst>
              <a:ext uri="{FF2B5EF4-FFF2-40B4-BE49-F238E27FC236}">
                <a16:creationId xmlns:a16="http://schemas.microsoft.com/office/drawing/2014/main" id="{C643ECC8-A3AC-933C-3E81-E0D6449A8658}"/>
              </a:ext>
            </a:extLst>
          </p:cNvPr>
          <p:cNvGraphicFramePr>
            <a:graphicFrameLocks noGrp="1"/>
          </p:cNvGraphicFramePr>
          <p:nvPr>
            <p:extLst>
              <p:ext uri="{D42A27DB-BD31-4B8C-83A1-F6EECF244321}">
                <p14:modId xmlns:p14="http://schemas.microsoft.com/office/powerpoint/2010/main" val="2224182825"/>
              </p:ext>
            </p:extLst>
          </p:nvPr>
        </p:nvGraphicFramePr>
        <p:xfrm>
          <a:off x="300779" y="1750542"/>
          <a:ext cx="11595100" cy="3270345"/>
        </p:xfrm>
        <a:graphic>
          <a:graphicData uri="http://schemas.openxmlformats.org/drawingml/2006/table">
            <a:tbl>
              <a:tblPr>
                <a:tableStyleId>{073A0DAA-6AF3-43AB-8588-CEC1D06C72B9}</a:tableStyleId>
              </a:tblPr>
              <a:tblGrid>
                <a:gridCol w="2837962">
                  <a:extLst>
                    <a:ext uri="{9D8B030D-6E8A-4147-A177-3AD203B41FA5}">
                      <a16:colId xmlns:a16="http://schemas.microsoft.com/office/drawing/2014/main" val="3931309769"/>
                    </a:ext>
                  </a:extLst>
                </a:gridCol>
                <a:gridCol w="2043517">
                  <a:extLst>
                    <a:ext uri="{9D8B030D-6E8A-4147-A177-3AD203B41FA5}">
                      <a16:colId xmlns:a16="http://schemas.microsoft.com/office/drawing/2014/main" val="689635111"/>
                    </a:ext>
                  </a:extLst>
                </a:gridCol>
                <a:gridCol w="2731168">
                  <a:extLst>
                    <a:ext uri="{9D8B030D-6E8A-4147-A177-3AD203B41FA5}">
                      <a16:colId xmlns:a16="http://schemas.microsoft.com/office/drawing/2014/main" val="3537895561"/>
                    </a:ext>
                  </a:extLst>
                </a:gridCol>
                <a:gridCol w="1022685">
                  <a:extLst>
                    <a:ext uri="{9D8B030D-6E8A-4147-A177-3AD203B41FA5}">
                      <a16:colId xmlns:a16="http://schemas.microsoft.com/office/drawing/2014/main" val="1791272499"/>
                    </a:ext>
                  </a:extLst>
                </a:gridCol>
                <a:gridCol w="2959768">
                  <a:extLst>
                    <a:ext uri="{9D8B030D-6E8A-4147-A177-3AD203B41FA5}">
                      <a16:colId xmlns:a16="http://schemas.microsoft.com/office/drawing/2014/main" val="2311733011"/>
                    </a:ext>
                  </a:extLst>
                </a:gridCol>
              </a:tblGrid>
              <a:tr h="0">
                <a:tc>
                  <a:txBody>
                    <a:bodyPr/>
                    <a:lstStyle/>
                    <a:p>
                      <a:pPr algn="l"/>
                      <a:r>
                        <a:rPr kumimoji="1" lang="ja-JP" altLang="en-US" sz="1000" b="1">
                          <a:latin typeface="+mn-ea"/>
                          <a:ea typeface="+mn-ea"/>
                        </a:rPr>
                        <a:t>対象プロセス</a:t>
                      </a:r>
                      <a:r>
                        <a:rPr kumimoji="1" lang="en-US" altLang="ja-JP" sz="1000" b="1">
                          <a:latin typeface="+mn-ea"/>
                          <a:ea typeface="+mn-ea"/>
                        </a:rPr>
                        <a:t>/</a:t>
                      </a:r>
                      <a:r>
                        <a:rPr kumimoji="1" lang="ja-JP" altLang="en-US" sz="1000" b="1">
                          <a:latin typeface="+mn-ea"/>
                          <a:ea typeface="+mn-ea"/>
                        </a:rPr>
                        <a:t>サブシステム</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品質評価項目</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目標値</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期間の単位</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l"/>
                      <a:r>
                        <a:rPr kumimoji="1" lang="ja-JP" altLang="en-US" sz="1000" b="1">
                          <a:latin typeface="+mn-ea"/>
                          <a:ea typeface="+mn-ea"/>
                        </a:rPr>
                        <a:t>アクティビティ</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56390590"/>
                  </a:ext>
                </a:extLst>
              </a:tr>
              <a:tr h="0">
                <a:tc>
                  <a:txBody>
                    <a:bodyPr/>
                    <a:lstStyle/>
                    <a:p>
                      <a:pPr>
                        <a:buFont typeface="Arial" panose="020B0604020202020204" pitchFamily="34" charset="0"/>
                        <a:buNone/>
                      </a:pPr>
                      <a:r>
                        <a:rPr lang="ja-JP" altLang="en-US" sz="1400">
                          <a:solidFill>
                            <a:srgbClr val="0070C0"/>
                          </a:solidFill>
                        </a:rPr>
                        <a:t>複合的な検索機能と決済機能</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検索レスポンスタイム</a:t>
                      </a:r>
                    </a:p>
                    <a:p>
                      <a:pPr>
                        <a:buFont typeface="Arial" panose="020B0604020202020204" pitchFamily="34" charset="0"/>
                        <a:buChar char="•"/>
                      </a:pPr>
                      <a:r>
                        <a:rPr lang="ja-JP" altLang="en-US" sz="1400">
                          <a:solidFill>
                            <a:srgbClr val="0070C0"/>
                          </a:solidFill>
                        </a:rPr>
                        <a:t>決済成功率</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検索レスポンスタイム</a:t>
                      </a:r>
                      <a:r>
                        <a:rPr lang="en-US" altLang="ja-JP" sz="1400">
                          <a:solidFill>
                            <a:srgbClr val="0070C0"/>
                          </a:solidFill>
                        </a:rPr>
                        <a:t>: 3</a:t>
                      </a:r>
                      <a:r>
                        <a:rPr lang="ja-JP" altLang="en-US" sz="1400">
                          <a:solidFill>
                            <a:srgbClr val="0070C0"/>
                          </a:solidFill>
                        </a:rPr>
                        <a:t>秒以内</a:t>
                      </a:r>
                    </a:p>
                    <a:p>
                      <a:pPr>
                        <a:buFont typeface="Arial" panose="020B0604020202020204" pitchFamily="34" charset="0"/>
                        <a:buChar char="•"/>
                      </a:pPr>
                      <a:r>
                        <a:rPr lang="ja-JP" altLang="en-US" sz="1400">
                          <a:solidFill>
                            <a:srgbClr val="0070C0"/>
                          </a:solidFill>
                        </a:rPr>
                        <a:t>決済成功率</a:t>
                      </a:r>
                      <a:r>
                        <a:rPr lang="en-US" altLang="ja-JP" sz="1400">
                          <a:solidFill>
                            <a:srgbClr val="0070C0"/>
                          </a:solidFill>
                        </a:rPr>
                        <a:t>: 95%</a:t>
                      </a:r>
                      <a:r>
                        <a:rPr lang="ja-JP" altLang="en-US" sz="1400">
                          <a:solidFill>
                            <a:srgbClr val="0070C0"/>
                          </a:solidFill>
                        </a:rPr>
                        <a:t>以上</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400">
                          <a:solidFill>
                            <a:srgbClr val="0070C0"/>
                          </a:solidFill>
                        </a:rPr>
                        <a:t>毎月評価</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機能テスト</a:t>
                      </a:r>
                      <a:r>
                        <a:rPr lang="en-US" altLang="ja-JP" sz="1400">
                          <a:solidFill>
                            <a:srgbClr val="0070C0"/>
                          </a:solidFill>
                        </a:rPr>
                        <a:t>: </a:t>
                      </a:r>
                      <a:r>
                        <a:rPr lang="ja-JP" altLang="en-US" sz="1400">
                          <a:solidFill>
                            <a:srgbClr val="0070C0"/>
                          </a:solidFill>
                        </a:rPr>
                        <a:t>毎月実施</a:t>
                      </a:r>
                    </a:p>
                    <a:p>
                      <a:pPr>
                        <a:buFont typeface="Arial" panose="020B0604020202020204" pitchFamily="34" charset="0"/>
                        <a:buChar char="•"/>
                      </a:pPr>
                      <a:r>
                        <a:rPr lang="ja-JP" altLang="en-US" sz="1400">
                          <a:solidFill>
                            <a:srgbClr val="0070C0"/>
                          </a:solidFill>
                        </a:rPr>
                        <a:t>ユーザーフィードバック</a:t>
                      </a:r>
                      <a:r>
                        <a:rPr lang="en-US" altLang="ja-JP" sz="1400">
                          <a:solidFill>
                            <a:srgbClr val="0070C0"/>
                          </a:solidFill>
                        </a:rPr>
                        <a:t>: </a:t>
                      </a:r>
                      <a:r>
                        <a:rPr lang="ja-JP" altLang="en-US" sz="1400">
                          <a:solidFill>
                            <a:srgbClr val="0070C0"/>
                          </a:solidFill>
                        </a:rPr>
                        <a:t>毎月収集</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1508697"/>
                  </a:ext>
                </a:extLst>
              </a:tr>
              <a:tr h="303368">
                <a:tc>
                  <a:txBody>
                    <a:bodyPr/>
                    <a:lstStyle/>
                    <a:p>
                      <a:pPr>
                        <a:buFont typeface="Arial" panose="020B0604020202020204" pitchFamily="34" charset="0"/>
                        <a:buNone/>
                      </a:pPr>
                      <a:r>
                        <a:rPr lang="en-US" altLang="ja-JP" sz="1400">
                          <a:solidFill>
                            <a:srgbClr val="0070C0"/>
                          </a:solidFill>
                        </a:rPr>
                        <a:t>MaaS</a:t>
                      </a:r>
                      <a:r>
                        <a:rPr lang="ja-JP" altLang="en-US" sz="1400">
                          <a:solidFill>
                            <a:srgbClr val="0070C0"/>
                          </a:solidFill>
                        </a:rPr>
                        <a:t>アプリ内システムの可用性</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稼働率</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稼働率：</a:t>
                      </a:r>
                      <a:r>
                        <a:rPr lang="en-US" altLang="ja-JP" sz="1400">
                          <a:solidFill>
                            <a:srgbClr val="0070C0"/>
                          </a:solidFill>
                        </a:rPr>
                        <a:t>99.</a:t>
                      </a:r>
                      <a:r>
                        <a:rPr lang="ja-JP" altLang="en-US" sz="1400">
                          <a:solidFill>
                            <a:srgbClr val="0070C0"/>
                          </a:solidFill>
                        </a:rPr>
                        <a:t>５％</a:t>
                      </a:r>
                      <a:r>
                        <a:rPr lang="en-US" altLang="ja-JP" sz="1400">
                          <a:solidFill>
                            <a:srgbClr val="0070C0"/>
                          </a:solidFill>
                        </a:rPr>
                        <a:t>/</a:t>
                      </a:r>
                      <a:r>
                        <a:rPr lang="ja-JP" altLang="en-US" sz="1400">
                          <a:solidFill>
                            <a:srgbClr val="0070C0"/>
                          </a:solidFill>
                        </a:rPr>
                        <a:t>年間</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lang="ja-JP" altLang="en-US" sz="1400">
                          <a:solidFill>
                            <a:srgbClr val="0070C0"/>
                          </a:solidFill>
                        </a:rPr>
                        <a:t>事業実施期間</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buFont typeface="Arial" panose="020B0604020202020204" pitchFamily="34" charset="0"/>
                        <a:buChar char="•"/>
                      </a:pPr>
                      <a:r>
                        <a:rPr lang="ja-JP" altLang="en-US" sz="1400">
                          <a:solidFill>
                            <a:srgbClr val="0070C0"/>
                          </a:solidFill>
                        </a:rPr>
                        <a:t>システムチェック：事業実施期間中のサービス断タイムとその原因、対策を確認</a:t>
                      </a: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9065627"/>
                  </a:ext>
                </a:extLst>
              </a:tr>
              <a:tr h="571173">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5040027"/>
                  </a:ext>
                </a:extLst>
              </a:tr>
              <a:tr h="571173">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2193088"/>
                  </a:ext>
                </a:extLst>
              </a:tr>
              <a:tr h="571173">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endParaRPr kumimoji="1" lang="ja-JP" altLang="en-US" sz="1400">
                        <a:latin typeface="+mn-ea"/>
                        <a:ea typeface="+mn-ea"/>
                      </a:endParaRPr>
                    </a:p>
                  </a:txBody>
                  <a:tcPr marL="112542" marR="112542" marT="56271" marB="56271"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1530766"/>
                  </a:ext>
                </a:extLst>
              </a:tr>
            </a:tbl>
          </a:graphicData>
        </a:graphic>
      </p:graphicFrame>
      <p:sp>
        <p:nvSpPr>
          <p:cNvPr id="10" name="テキスト ボックス 9">
            <a:extLst>
              <a:ext uri="{FF2B5EF4-FFF2-40B4-BE49-F238E27FC236}">
                <a16:creationId xmlns:a16="http://schemas.microsoft.com/office/drawing/2014/main" id="{43D27961-B657-EEB7-4DB0-0524E5478651}"/>
              </a:ext>
            </a:extLst>
          </p:cNvPr>
          <p:cNvSpPr txBox="1"/>
          <p:nvPr/>
        </p:nvSpPr>
        <p:spPr>
          <a:xfrm>
            <a:off x="2940474" y="2820813"/>
            <a:ext cx="6311051" cy="1984269"/>
          </a:xfrm>
          <a:prstGeom prst="rect">
            <a:avLst/>
          </a:prstGeom>
          <a:solidFill>
            <a:srgbClr val="F3817B">
              <a:alpha val="60000"/>
            </a:srgbClr>
          </a:solidFill>
        </p:spPr>
        <p:txBody>
          <a:bodyPr wrap="square" anchor="ctr">
            <a:noAutofit/>
          </a:bodyPr>
          <a:lstStyle/>
          <a:p>
            <a:r>
              <a:rPr lang="ja-JP" altLang="en-US" sz="1400">
                <a:solidFill>
                  <a:schemeClr val="bg1"/>
                </a:solidFill>
              </a:rPr>
              <a:t>プロジェクトの品質基準を設定し、それを維持・向上させるための計画を記載してください。</a:t>
            </a:r>
          </a:p>
        </p:txBody>
      </p:sp>
    </p:spTree>
    <p:extLst>
      <p:ext uri="{BB962C8B-B14F-4D97-AF65-F5344CB8AC3E}">
        <p14:creationId xmlns:p14="http://schemas.microsoft.com/office/powerpoint/2010/main" val="35575065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A1A79F-2ACF-F9AF-66F4-DF29C14AD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86A1A79F-2ACF-F9AF-66F4-DF29C14AD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177281CC-1855-F2DB-EAE1-E4C54E0FD7E5}"/>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DCD11E60-C345-0156-A89F-36AE8A4A9155}"/>
              </a:ext>
            </a:extLst>
          </p:cNvPr>
          <p:cNvSpPr>
            <a:spLocks noGrp="1"/>
          </p:cNvSpPr>
          <p:nvPr>
            <p:ph type="title"/>
          </p:nvPr>
        </p:nvSpPr>
        <p:spPr/>
        <p:txBody>
          <a:bodyPr vert="horz"/>
          <a:lstStyle/>
          <a:p>
            <a:r>
              <a:rPr kumimoji="1" lang="en-US" altLang="ja-JP"/>
              <a:t>6.</a:t>
            </a:r>
            <a:r>
              <a:rPr kumimoji="1" lang="ja-JP" altLang="en-US"/>
              <a:t>成果物</a:t>
            </a:r>
          </a:p>
        </p:txBody>
      </p:sp>
      <p:graphicFrame>
        <p:nvGraphicFramePr>
          <p:cNvPr id="7" name="表 7">
            <a:extLst>
              <a:ext uri="{FF2B5EF4-FFF2-40B4-BE49-F238E27FC236}">
                <a16:creationId xmlns:a16="http://schemas.microsoft.com/office/drawing/2014/main" id="{D27285E1-CFEC-7133-4B2F-3A60A9DA58C6}"/>
              </a:ext>
            </a:extLst>
          </p:cNvPr>
          <p:cNvGraphicFramePr>
            <a:graphicFrameLocks noGrp="1"/>
          </p:cNvGraphicFramePr>
          <p:nvPr>
            <p:extLst>
              <p:ext uri="{D42A27DB-BD31-4B8C-83A1-F6EECF244321}">
                <p14:modId xmlns:p14="http://schemas.microsoft.com/office/powerpoint/2010/main" val="212979417"/>
              </p:ext>
            </p:extLst>
          </p:nvPr>
        </p:nvGraphicFramePr>
        <p:xfrm>
          <a:off x="302400" y="1395121"/>
          <a:ext cx="11587200" cy="3571307"/>
        </p:xfrm>
        <a:graphic>
          <a:graphicData uri="http://schemas.openxmlformats.org/drawingml/2006/table">
            <a:tbl>
              <a:tblPr>
                <a:tableStyleId>{5C22544A-7EE6-4342-B048-85BDC9FD1C3A}</a:tableStyleId>
              </a:tblPr>
              <a:tblGrid>
                <a:gridCol w="2697256">
                  <a:extLst>
                    <a:ext uri="{9D8B030D-6E8A-4147-A177-3AD203B41FA5}">
                      <a16:colId xmlns:a16="http://schemas.microsoft.com/office/drawing/2014/main" val="1942113200"/>
                    </a:ext>
                  </a:extLst>
                </a:gridCol>
                <a:gridCol w="8889944">
                  <a:extLst>
                    <a:ext uri="{9D8B030D-6E8A-4147-A177-3AD203B41FA5}">
                      <a16:colId xmlns:a16="http://schemas.microsoft.com/office/drawing/2014/main" val="1115002749"/>
                    </a:ext>
                  </a:extLst>
                </a:gridCol>
              </a:tblGrid>
              <a:tr h="350400">
                <a:tc>
                  <a:txBody>
                    <a:bodyPr/>
                    <a:lstStyle/>
                    <a:p>
                      <a:r>
                        <a:rPr kumimoji="1" lang="ja-JP" altLang="en-US" sz="1600" b="1">
                          <a:latin typeface="+mn-ea"/>
                          <a:ea typeface="+mn-ea"/>
                        </a:rPr>
                        <a:t>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600" b="1">
                          <a:latin typeface="+mn-ea"/>
                          <a:ea typeface="+mn-ea"/>
                        </a:rPr>
                        <a:t>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378519"/>
                  </a:ext>
                </a:extLst>
              </a:tr>
              <a:tr h="794371">
                <a:tc>
                  <a:txBody>
                    <a:bodyPr/>
                    <a:lstStyle/>
                    <a:p>
                      <a:r>
                        <a:rPr kumimoji="1" lang="ja-JP" altLang="en-US" sz="1600">
                          <a:solidFill>
                            <a:srgbClr val="0070C0"/>
                          </a:solidFill>
                          <a:latin typeface="+mn-ea"/>
                          <a:ea typeface="+mn-ea"/>
                        </a:rPr>
                        <a:t>開発システムの</a:t>
                      </a:r>
                      <a:r>
                        <a:rPr kumimoji="1" lang="en-US" altLang="ja-JP" sz="1600">
                          <a:solidFill>
                            <a:srgbClr val="0070C0"/>
                          </a:solidFill>
                          <a:latin typeface="+mn-ea"/>
                          <a:ea typeface="+mn-ea"/>
                        </a:rPr>
                        <a:t>OSS</a:t>
                      </a:r>
                      <a:r>
                        <a:rPr kumimoji="1" lang="ja-JP" altLang="en-US" sz="1600">
                          <a:solidFill>
                            <a:srgbClr val="0070C0"/>
                          </a:solidFill>
                          <a:latin typeface="+mn-ea"/>
                          <a:ea typeface="+mn-ea"/>
                        </a:rPr>
                        <a:t>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03200" indent="-203200" algn="l">
                        <a:buFontTx/>
                        <a:buChar char="•"/>
                      </a:pPr>
                      <a:r>
                        <a:rPr kumimoji="1" lang="ja-JP" altLang="en-US" sz="1600">
                          <a:solidFill>
                            <a:srgbClr val="0070C0"/>
                          </a:solidFill>
                          <a:latin typeface="+mn-ea"/>
                          <a:ea typeface="+mn-ea"/>
                        </a:rPr>
                        <a:t>予定なし（事業化のた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94776207"/>
                  </a:ext>
                </a:extLst>
              </a:tr>
              <a:tr h="783232">
                <a:tc>
                  <a:txBody>
                    <a:bodyPr/>
                    <a:lstStyle/>
                    <a:p>
                      <a:r>
                        <a:rPr kumimoji="1" lang="ja-JP" altLang="en-US" sz="1600">
                          <a:solidFill>
                            <a:srgbClr val="0070C0"/>
                          </a:solidFill>
                          <a:latin typeface="+mn-ea"/>
                          <a:ea typeface="+mn-ea"/>
                        </a:rPr>
                        <a:t>オープンデー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kumimoji="1" lang="ja-JP" altLang="en-US" sz="1600">
                          <a:solidFill>
                            <a:srgbClr val="0070C0"/>
                          </a:solidFill>
                          <a:latin typeface="+mn-ea"/>
                          <a:ea typeface="+mn-ea"/>
                        </a:rPr>
                        <a:t>・　○○アプリより取得したプローブデー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44902017"/>
                  </a:ext>
                </a:extLst>
              </a:tr>
              <a:tr h="860072">
                <a:tc>
                  <a:txBody>
                    <a:bodyPr/>
                    <a:lstStyle/>
                    <a:p>
                      <a:r>
                        <a:rPr kumimoji="1" lang="ja-JP" altLang="en-US" sz="1600">
                          <a:solidFill>
                            <a:srgbClr val="0070C0"/>
                          </a:solidFill>
                          <a:latin typeface="+mn-ea"/>
                          <a:ea typeface="+mn-ea"/>
                        </a:rPr>
                        <a:t>レポー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600">
                          <a:solidFill>
                            <a:srgbClr val="0070C0"/>
                          </a:solidFill>
                          <a:latin typeface="+mn-ea"/>
                          <a:ea typeface="+mn-ea"/>
                        </a:rPr>
                        <a:t>・　</a:t>
                      </a:r>
                      <a:r>
                        <a:rPr kumimoji="1" lang="en-US" altLang="ja-JP" sz="1600">
                          <a:solidFill>
                            <a:srgbClr val="0070C0"/>
                          </a:solidFill>
                          <a:latin typeface="+mn-ea"/>
                          <a:ea typeface="+mn-ea"/>
                        </a:rPr>
                        <a:t>OD</a:t>
                      </a:r>
                      <a:r>
                        <a:rPr kumimoji="1" lang="ja-JP" altLang="en-US" sz="1600">
                          <a:solidFill>
                            <a:srgbClr val="0070C0"/>
                          </a:solidFill>
                          <a:latin typeface="+mn-ea"/>
                          <a:ea typeface="+mn-ea"/>
                        </a:rPr>
                        <a:t>データの可視化より検討した路線バス再編計画レポー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16460124"/>
                  </a:ext>
                </a:extLst>
              </a:tr>
              <a:tr h="783232">
                <a:tc>
                  <a:txBody>
                    <a:bodyPr/>
                    <a:lstStyle/>
                    <a:p>
                      <a:r>
                        <a:rPr kumimoji="1" lang="ja-JP" altLang="en-US" sz="1600">
                          <a:solidFill>
                            <a:srgbClr val="0070C0"/>
                          </a:solidFill>
                          <a:latin typeface="+mn-ea"/>
                          <a:ea typeface="+mn-ea"/>
                        </a:rPr>
                        <a:t>その他</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600">
                          <a:solidFill>
                            <a:srgbClr val="0070C0"/>
                          </a:solidFill>
                          <a:latin typeface="+mn-ea"/>
                          <a:ea typeface="+mn-ea"/>
                        </a:rPr>
                        <a:t>・　データ分析ツールユーザーマニュアル</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35476472"/>
                  </a:ext>
                </a:extLst>
              </a:tr>
            </a:tbl>
          </a:graphicData>
        </a:graphic>
      </p:graphicFrame>
      <p:sp>
        <p:nvSpPr>
          <p:cNvPr id="8" name="テキスト ボックス 7">
            <a:extLst>
              <a:ext uri="{FF2B5EF4-FFF2-40B4-BE49-F238E27FC236}">
                <a16:creationId xmlns:a16="http://schemas.microsoft.com/office/drawing/2014/main" id="{C7306795-FA4C-4798-C6D2-630820907D06}"/>
              </a:ext>
            </a:extLst>
          </p:cNvPr>
          <p:cNvSpPr txBox="1"/>
          <p:nvPr/>
        </p:nvSpPr>
        <p:spPr>
          <a:xfrm>
            <a:off x="2632467" y="4093246"/>
            <a:ext cx="6311051" cy="1984269"/>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成果物がある場合は、こちらに内容を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なお、当課より指定の事業実施報告書以外に、実証運行のレポートや地域公共交通会議等への報告用のデータ分析結果等、本プロジェクトに関連して作成する報告書も成果物として記載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自社利用のみの場合は記載不要です）</a:t>
            </a:r>
          </a:p>
        </p:txBody>
      </p:sp>
    </p:spTree>
    <p:extLst>
      <p:ext uri="{BB962C8B-B14F-4D97-AF65-F5344CB8AC3E}">
        <p14:creationId xmlns:p14="http://schemas.microsoft.com/office/powerpoint/2010/main" val="159076903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6A1A79F-2ACF-F9AF-66F4-DF29C14ADC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12" imgH="511" progId="TCLayout.ActiveDocument.1">
                  <p:embed/>
                </p:oleObj>
              </mc:Choice>
              <mc:Fallback>
                <p:oleObj name="think-cell スライド" r:id="rId4" imgW="512" imgH="511" progId="TCLayout.ActiveDocument.1">
                  <p:embed/>
                  <p:pic>
                    <p:nvPicPr>
                      <p:cNvPr id="5" name="think-cell data - do not delete" hidden="1">
                        <a:extLst>
                          <a:ext uri="{FF2B5EF4-FFF2-40B4-BE49-F238E27FC236}">
                            <a16:creationId xmlns:a16="http://schemas.microsoft.com/office/drawing/2014/main" id="{86A1A79F-2ACF-F9AF-66F4-DF29C14ADC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テキスト プレースホルダー 2">
            <a:extLst>
              <a:ext uri="{FF2B5EF4-FFF2-40B4-BE49-F238E27FC236}">
                <a16:creationId xmlns:a16="http://schemas.microsoft.com/office/drawing/2014/main" id="{177281CC-1855-F2DB-EAE1-E4C54E0FD7E5}"/>
              </a:ext>
            </a:extLst>
          </p:cNvPr>
          <p:cNvSpPr>
            <a:spLocks noGrp="1"/>
          </p:cNvSpPr>
          <p:nvPr>
            <p:ph type="body" sz="quarter" idx="36"/>
          </p:nvPr>
        </p:nvSpPr>
        <p:spPr/>
        <p:txBody>
          <a:bodyPr/>
          <a:lstStyle/>
          <a:p>
            <a:r>
              <a:rPr lang="en-US" altLang="ja-JP"/>
              <a:t>Ⅵ. </a:t>
            </a:r>
            <a:r>
              <a:rPr lang="ja-JP" altLang="en-US"/>
              <a:t>マネジメント計画</a:t>
            </a:r>
          </a:p>
        </p:txBody>
      </p:sp>
      <p:sp>
        <p:nvSpPr>
          <p:cNvPr id="4" name="タイトル 3">
            <a:extLst>
              <a:ext uri="{FF2B5EF4-FFF2-40B4-BE49-F238E27FC236}">
                <a16:creationId xmlns:a16="http://schemas.microsoft.com/office/drawing/2014/main" id="{DCD11E60-C345-0156-A89F-36AE8A4A9155}"/>
              </a:ext>
            </a:extLst>
          </p:cNvPr>
          <p:cNvSpPr>
            <a:spLocks noGrp="1"/>
          </p:cNvSpPr>
          <p:nvPr>
            <p:ph type="title"/>
          </p:nvPr>
        </p:nvSpPr>
        <p:spPr/>
        <p:txBody>
          <a:bodyPr vert="horz"/>
          <a:lstStyle/>
          <a:p>
            <a:r>
              <a:rPr kumimoji="1" lang="ja-JP" altLang="en-US"/>
              <a:t>申送り事項</a:t>
            </a:r>
          </a:p>
        </p:txBody>
      </p:sp>
    </p:spTree>
    <p:extLst>
      <p:ext uri="{BB962C8B-B14F-4D97-AF65-F5344CB8AC3E}">
        <p14:creationId xmlns:p14="http://schemas.microsoft.com/office/powerpoint/2010/main" val="202914216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D1B9C76-AAD6-D7A2-0764-3F673600C06E}"/>
              </a:ext>
            </a:extLst>
          </p:cNvPr>
          <p:cNvSpPr>
            <a:spLocks noGrp="1"/>
          </p:cNvSpPr>
          <p:nvPr>
            <p:ph type="sldNum" sz="quarter" idx="12"/>
          </p:nvPr>
        </p:nvSpPr>
        <p:spPr/>
        <p:txBody>
          <a:bodyPr/>
          <a:lstStyle/>
          <a:p>
            <a:pPr>
              <a:defRPr/>
            </a:pPr>
            <a:fld id="{651FC12D-27C1-4F31-90C9-A93D49E44687}" type="slidenum">
              <a:rPr lang="en-US" altLang="ja-JP" smtClean="0"/>
              <a:pPr>
                <a:defRPr/>
              </a:pPr>
              <a:t>68</a:t>
            </a:fld>
            <a:endParaRPr lang="en-US" altLang="ja-JP"/>
          </a:p>
        </p:txBody>
      </p:sp>
    </p:spTree>
    <p:extLst>
      <p:ext uri="{BB962C8B-B14F-4D97-AF65-F5344CB8AC3E}">
        <p14:creationId xmlns:p14="http://schemas.microsoft.com/office/powerpoint/2010/main" val="1257564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08" imgH="408" progId="TCLayout.ActiveDocument.1">
                  <p:embed/>
                </p:oleObj>
              </mc:Choice>
              <mc:Fallback>
                <p:oleObj name="think-cell スライド" r:id="rId4"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5"/>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en-US" altLang="ja-JP"/>
              <a:t>3.</a:t>
            </a:r>
            <a:r>
              <a:rPr lang="ja-JP" altLang="en-US"/>
              <a:t>課題解決のアプローチ</a:t>
            </a:r>
          </a:p>
        </p:txBody>
      </p:sp>
      <p:grpSp>
        <p:nvGrpSpPr>
          <p:cNvPr id="3" name="グループ化 2">
            <a:extLst>
              <a:ext uri="{FF2B5EF4-FFF2-40B4-BE49-F238E27FC236}">
                <a16:creationId xmlns:a16="http://schemas.microsoft.com/office/drawing/2014/main" id="{EBC23DA4-F36B-555D-CA5C-39F94E08823F}"/>
              </a:ext>
            </a:extLst>
          </p:cNvPr>
          <p:cNvGrpSpPr/>
          <p:nvPr/>
        </p:nvGrpSpPr>
        <p:grpSpPr>
          <a:xfrm>
            <a:off x="302400" y="1661738"/>
            <a:ext cx="11587200" cy="309600"/>
            <a:chOff x="302400" y="1990800"/>
            <a:chExt cx="11587200" cy="309600"/>
          </a:xfrm>
        </p:grpSpPr>
        <p:grpSp>
          <p:nvGrpSpPr>
            <p:cNvPr id="4" name="PanelGroup1">
              <a:extLst>
                <a:ext uri="{FF2B5EF4-FFF2-40B4-BE49-F238E27FC236}">
                  <a16:creationId xmlns:a16="http://schemas.microsoft.com/office/drawing/2014/main" id="{182836E8-0A6C-6508-BE54-D9FA5966D104}"/>
                </a:ext>
              </a:extLst>
            </p:cNvPr>
            <p:cNvGrpSpPr/>
            <p:nvPr/>
          </p:nvGrpSpPr>
          <p:grpSpPr>
            <a:xfrm>
              <a:off x="302400" y="1990800"/>
              <a:ext cx="5761200" cy="309600"/>
              <a:chOff x="302400" y="1990800"/>
              <a:chExt cx="5761200" cy="309600"/>
            </a:xfrm>
          </p:grpSpPr>
          <p:sp>
            <p:nvSpPr>
              <p:cNvPr id="12" name="正方形/長方形 11">
                <a:extLst>
                  <a:ext uri="{FF2B5EF4-FFF2-40B4-BE49-F238E27FC236}">
                    <a16:creationId xmlns:a16="http://schemas.microsoft.com/office/drawing/2014/main" id="{0885EF34-1A86-AA39-1A1A-5F99ABF6B7EF}"/>
                  </a:ext>
                </a:extLst>
              </p:cNvPr>
              <p:cNvSpPr/>
              <p:nvPr/>
            </p:nvSpPr>
            <p:spPr>
              <a:xfrm>
                <a:off x="302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プロジェクトの概要</a:t>
                </a:r>
              </a:p>
            </p:txBody>
          </p:sp>
          <p:cxnSp>
            <p:nvCxnSpPr>
              <p:cNvPr id="13" name="直線矢印コネクタ 12">
                <a:extLst>
                  <a:ext uri="{FF2B5EF4-FFF2-40B4-BE49-F238E27FC236}">
                    <a16:creationId xmlns:a16="http://schemas.microsoft.com/office/drawing/2014/main" id="{819B2E49-17B8-3727-8812-69FD5702E69C}"/>
                  </a:ext>
                </a:extLst>
              </p:cNvPr>
              <p:cNvCxnSpPr/>
              <p:nvPr/>
            </p:nvCxnSpPr>
            <p:spPr>
              <a:xfrm>
                <a:off x="302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 name="PanelGroup2">
              <a:extLst>
                <a:ext uri="{FF2B5EF4-FFF2-40B4-BE49-F238E27FC236}">
                  <a16:creationId xmlns:a16="http://schemas.microsoft.com/office/drawing/2014/main" id="{2FB98B28-3911-4D54-DF63-480395E4E9E6}"/>
                </a:ext>
              </a:extLst>
            </p:cNvPr>
            <p:cNvGrpSpPr/>
            <p:nvPr/>
          </p:nvGrpSpPr>
          <p:grpSpPr>
            <a:xfrm>
              <a:off x="6128400" y="1990800"/>
              <a:ext cx="5761200" cy="309600"/>
              <a:chOff x="6128400" y="1990800"/>
              <a:chExt cx="5761200" cy="309600"/>
            </a:xfrm>
          </p:grpSpPr>
          <p:sp>
            <p:nvSpPr>
              <p:cNvPr id="8" name="正方形/長方形 7">
                <a:extLst>
                  <a:ext uri="{FF2B5EF4-FFF2-40B4-BE49-F238E27FC236}">
                    <a16:creationId xmlns:a16="http://schemas.microsoft.com/office/drawing/2014/main" id="{95ACE118-4131-DE79-F02F-66722864A02D}"/>
                  </a:ext>
                </a:extLst>
              </p:cNvPr>
              <p:cNvSpPr/>
              <p:nvPr/>
            </p:nvSpPr>
            <p:spPr>
              <a:xfrm>
                <a:off x="6128400" y="1990800"/>
                <a:ext cx="5761200" cy="309600"/>
              </a:xfrm>
              <a:prstGeom prst="rect">
                <a:avLst/>
              </a:prstGeom>
              <a:solidFill>
                <a:srgbClr val="FFFFFF"/>
              </a:solidFill>
              <a:ln w="6350" cap="flat" cmpd="sng" algn="ctr">
                <a:noFill/>
                <a:prstDash val="solid"/>
                <a:miter lim="800000"/>
              </a:ln>
              <a:effectLst/>
              <a:extLs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1" lang="ja-JP" altLang="en-US" sz="1400" b="0" i="0" u="none" strike="noStrike" kern="1200" cap="none" spc="0" normalizeH="0" baseline="0" noProof="0">
                    <a:ln>
                      <a:noFill/>
                    </a:ln>
                    <a:solidFill>
                      <a:srgbClr val="000000"/>
                    </a:solidFill>
                    <a:effectLst/>
                    <a:uLnTx/>
                    <a:uFillTx/>
                    <a:latin typeface="BIZ UDPゴシック"/>
                    <a:ea typeface="BIZ UDPゴシック"/>
                    <a:cs typeface="+mn-cs"/>
                  </a:rPr>
                  <a:t>イメージ</a:t>
                </a:r>
              </a:p>
            </p:txBody>
          </p:sp>
          <p:cxnSp>
            <p:nvCxnSpPr>
              <p:cNvPr id="10" name="直線矢印コネクタ 9">
                <a:extLst>
                  <a:ext uri="{FF2B5EF4-FFF2-40B4-BE49-F238E27FC236}">
                    <a16:creationId xmlns:a16="http://schemas.microsoft.com/office/drawing/2014/main" id="{EEF86A98-39B5-3E9C-8313-F6410191C7AD}"/>
                  </a:ext>
                </a:extLst>
              </p:cNvPr>
              <p:cNvCxnSpPr/>
              <p:nvPr/>
            </p:nvCxnSpPr>
            <p:spPr>
              <a:xfrm>
                <a:off x="6128400" y="2300400"/>
                <a:ext cx="5761200" cy="0"/>
              </a:xfrm>
              <a:prstGeom prst="straightConnector1">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grpSp>
      <p:sp>
        <p:nvSpPr>
          <p:cNvPr id="17" name="テキスト プレースホルダー 16">
            <a:extLst>
              <a:ext uri="{FF2B5EF4-FFF2-40B4-BE49-F238E27FC236}">
                <a16:creationId xmlns:a16="http://schemas.microsoft.com/office/drawing/2014/main" id="{ED5B4037-6A33-091F-CAB0-26A3BC43E5EE}"/>
              </a:ext>
            </a:extLst>
          </p:cNvPr>
          <p:cNvSpPr>
            <a:spLocks noGrp="1"/>
          </p:cNvSpPr>
          <p:nvPr>
            <p:ph type="body" sz="quarter" idx="4294967295"/>
          </p:nvPr>
        </p:nvSpPr>
        <p:spPr>
          <a:xfrm>
            <a:off x="300779" y="1134673"/>
            <a:ext cx="11376000" cy="307777"/>
          </a:xfrm>
        </p:spPr>
        <p:txBody>
          <a:bodyPr>
            <a:normAutofit fontScale="92500" lnSpcReduction="10000"/>
          </a:bodyPr>
          <a:lstStyle/>
          <a:p>
            <a:endParaRPr lang="ja-JP" altLang="en-US"/>
          </a:p>
        </p:txBody>
      </p:sp>
      <p:sp>
        <p:nvSpPr>
          <p:cNvPr id="6" name="テキスト ボックス 5">
            <a:extLst>
              <a:ext uri="{FF2B5EF4-FFF2-40B4-BE49-F238E27FC236}">
                <a16:creationId xmlns:a16="http://schemas.microsoft.com/office/drawing/2014/main" id="{95B7D5A6-3733-419F-5F47-1323A3D8D852}"/>
              </a:ext>
            </a:extLst>
          </p:cNvPr>
          <p:cNvSpPr txBox="1"/>
          <p:nvPr/>
        </p:nvSpPr>
        <p:spPr>
          <a:xfrm>
            <a:off x="300779" y="2079520"/>
            <a:ext cx="5761200" cy="4463159"/>
          </a:xfrm>
          <a:prstGeom prst="rect">
            <a:avLst/>
          </a:prstGeom>
          <a:noFill/>
        </p:spPr>
        <p:txBody>
          <a:bodyPr wrap="square" anchor="t">
            <a:noAutofit/>
          </a:bodyPr>
          <a:lstStyle/>
          <a:p>
            <a:pPr marR="0" lvl="0" algn="l" defTabSz="914400" rtl="0" eaLnBrk="1" fontAlgn="auto" latinLnBrk="0" hangingPunct="1">
              <a:lnSpc>
                <a:spcPct val="100000"/>
              </a:lnSpc>
              <a:spcBef>
                <a:spcPts val="300"/>
              </a:spcBef>
              <a:spcAft>
                <a:spcPts val="0"/>
              </a:spcAft>
              <a:buClrTx/>
              <a:buSzTx/>
              <a:tabLst/>
              <a:defRPr/>
            </a:pPr>
            <a:r>
              <a:rPr lang="en-US" altLang="ja-JP" sz="1200">
                <a:solidFill>
                  <a:srgbClr val="0070C0"/>
                </a:solidFill>
                <a:latin typeface="BIZ UDPゴシック"/>
                <a:ea typeface="BIZ UDPゴシック"/>
              </a:rPr>
              <a:t>XX</a:t>
            </a:r>
            <a:r>
              <a:rPr lang="ja-JP" altLang="en-US" sz="1200">
                <a:solidFill>
                  <a:srgbClr val="0070C0"/>
                </a:solidFill>
                <a:latin typeface="BIZ UDPゴシック"/>
                <a:ea typeface="BIZ UDPゴシック"/>
              </a:rPr>
              <a:t>地域の交通空白を解消するため、地域の交通事業者と連携した</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プラットフォームを開発し、地域交通へのアクセシビリティを改善する。</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①新規</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当該エリア内のシームレスな移動を可能とするため、</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の開発及び実</a:t>
            </a:r>
            <a:endParaRPr lang="en-US" altLang="ja-JP" sz="1200">
              <a:solidFill>
                <a:srgbClr val="0070C0"/>
              </a:solidFill>
              <a:latin typeface="BIZ UDPゴシック"/>
              <a:ea typeface="BIZ UDPゴシック"/>
            </a:endParaRPr>
          </a:p>
          <a:p>
            <a:pPr>
              <a:spcBef>
                <a:spcPts val="300"/>
              </a:spcBef>
              <a:defRPr/>
            </a:pPr>
            <a:r>
              <a:rPr lang="ja-JP" altLang="en-US" sz="1200">
                <a:solidFill>
                  <a:srgbClr val="0070C0"/>
                </a:solidFill>
                <a:latin typeface="BIZ UDPゴシック"/>
                <a:ea typeface="BIZ UDPゴシック"/>
              </a:rPr>
              <a:t>　証を行う。</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②デジタルパスの販売</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①で開発したアプリにおいて、エリア内の交通のフリー乗車券と商業施設のクーポ</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ンをセットにし他デジタルパスの販売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③サブスクサービスの提供</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当該エリア内で主にマイカー通勤者に対して公共交通利用への転換を促すため、サ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ブスクサービスの提供を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④データ分析の実施</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利用者の</a:t>
            </a:r>
            <a:r>
              <a:rPr lang="en-US" altLang="ja-JP" sz="1200">
                <a:solidFill>
                  <a:srgbClr val="0070C0"/>
                </a:solidFill>
                <a:latin typeface="BIZ UDPゴシック"/>
                <a:ea typeface="BIZ UDPゴシック"/>
              </a:rPr>
              <a:t>OD</a:t>
            </a:r>
            <a:r>
              <a:rPr lang="ja-JP" altLang="en-US" sz="1200">
                <a:solidFill>
                  <a:srgbClr val="0070C0"/>
                </a:solidFill>
                <a:latin typeface="BIZ UDPゴシック"/>
                <a:ea typeface="BIZ UDPゴシック"/>
              </a:rPr>
              <a:t>データを取得し、路線バスの再編計画や赤字路線を</a:t>
            </a:r>
            <a:r>
              <a:rPr lang="en-US" altLang="ja-JP" sz="1200">
                <a:solidFill>
                  <a:srgbClr val="0070C0"/>
                </a:solidFill>
                <a:latin typeface="BIZ UDPゴシック"/>
                <a:ea typeface="BIZ UDPゴシック"/>
              </a:rPr>
              <a:t>AI</a:t>
            </a:r>
            <a:r>
              <a:rPr lang="ja-JP" altLang="en-US" sz="1200">
                <a:solidFill>
                  <a:srgbClr val="0070C0"/>
                </a:solidFill>
                <a:latin typeface="BIZ UDPゴシック"/>
                <a:ea typeface="BIZ UDPゴシック"/>
              </a:rPr>
              <a:t>オ</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ンデマンド交通へ転換するなどの政策を検討。</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⑤地域公共交通計画の改定との連携</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④において取得・分析した</a:t>
            </a:r>
            <a:r>
              <a:rPr lang="en-US" altLang="ja-JP" sz="1200" err="1">
                <a:solidFill>
                  <a:srgbClr val="0070C0"/>
                </a:solidFill>
                <a:latin typeface="BIZ UDPゴシック"/>
                <a:ea typeface="BIZ UDPゴシック"/>
              </a:rPr>
              <a:t>MaaS</a:t>
            </a:r>
            <a:r>
              <a:rPr lang="ja-JP" altLang="en-US" sz="1200">
                <a:solidFill>
                  <a:srgbClr val="0070C0"/>
                </a:solidFill>
                <a:latin typeface="BIZ UDPゴシック"/>
                <a:ea typeface="BIZ UDPゴシック"/>
              </a:rPr>
              <a:t>アプリ利用者の</a:t>
            </a:r>
            <a:r>
              <a:rPr lang="en-US" altLang="ja-JP" sz="1200">
                <a:solidFill>
                  <a:srgbClr val="0070C0"/>
                </a:solidFill>
                <a:latin typeface="BIZ UDPゴシック"/>
                <a:ea typeface="BIZ UDPゴシック"/>
              </a:rPr>
              <a:t>OD</a:t>
            </a:r>
            <a:r>
              <a:rPr lang="ja-JP" altLang="en-US" sz="1200">
                <a:solidFill>
                  <a:srgbClr val="0070C0"/>
                </a:solidFill>
                <a:latin typeface="BIZ UDPゴシック"/>
                <a:ea typeface="BIZ UDPゴシック"/>
              </a:rPr>
              <a:t>データ及び利用実績を○○年</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度策定予定の地域公共交通計画の改定に活用。</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r>
              <a:rPr lang="ja-JP" altLang="en-US" sz="1200">
                <a:solidFill>
                  <a:srgbClr val="0070C0"/>
                </a:solidFill>
                <a:latin typeface="BIZ UDPゴシック"/>
                <a:ea typeface="BIZ UDPゴシック"/>
              </a:rPr>
              <a:t>　</a:t>
            </a:r>
            <a:endParaRPr lang="en-US" altLang="ja-JP" sz="1200">
              <a:solidFill>
                <a:srgbClr val="0070C0"/>
              </a:solidFill>
              <a:latin typeface="BIZ UDPゴシック"/>
              <a:ea typeface="BIZ UDPゴシック"/>
            </a:endParaRPr>
          </a:p>
          <a:p>
            <a:pPr marR="0" lvl="0" algn="l" defTabSz="914400" rtl="0" eaLnBrk="1" fontAlgn="auto" latinLnBrk="0" hangingPunct="1">
              <a:lnSpc>
                <a:spcPct val="100000"/>
              </a:lnSpc>
              <a:spcBef>
                <a:spcPts val="300"/>
              </a:spcBef>
              <a:spcAft>
                <a:spcPts val="0"/>
              </a:spcAft>
              <a:buClrTx/>
              <a:buSzTx/>
              <a:tabLst/>
              <a:defRPr/>
            </a:pPr>
            <a:endParaRPr kumimoji="1" lang="en-US" altLang="ja-JP" sz="1200" b="0" i="0" u="none" strike="noStrike" kern="1200" cap="none" spc="0" normalizeH="0" baseline="0" noProof="0">
              <a:ln>
                <a:noFill/>
              </a:ln>
              <a:solidFill>
                <a:srgbClr val="0070C0"/>
              </a:solidFill>
              <a:effectLst/>
              <a:uLnTx/>
              <a:uFillTx/>
              <a:latin typeface="BIZ UDPゴシック"/>
              <a:ea typeface="BIZ UDPゴシック"/>
              <a:cs typeface="+mn-cs"/>
            </a:endParaRPr>
          </a:p>
        </p:txBody>
      </p:sp>
      <p:sp>
        <p:nvSpPr>
          <p:cNvPr id="50" name="テキスト ボックス 49">
            <a:extLst>
              <a:ext uri="{FF2B5EF4-FFF2-40B4-BE49-F238E27FC236}">
                <a16:creationId xmlns:a16="http://schemas.microsoft.com/office/drawing/2014/main" id="{5B635FEA-2811-3A33-A6E6-95440B42D811}"/>
              </a:ext>
            </a:extLst>
          </p:cNvPr>
          <p:cNvSpPr txBox="1"/>
          <p:nvPr/>
        </p:nvSpPr>
        <p:spPr>
          <a:xfrm>
            <a:off x="6280186"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イメージビジュアルを掲載してください。</a:t>
            </a:r>
            <a:endParaRPr kumimoji="0" lang="en-US" altLang="ja-JP" sz="1400" b="0" i="0" u="none" strike="noStrike" kern="0" cap="none" spc="0" normalizeH="0" baseline="0" noProof="0">
              <a:ln>
                <a:noFill/>
              </a:ln>
              <a:solidFill>
                <a:srgbClr val="FFFFFF"/>
              </a:solidFill>
              <a:effectLst/>
              <a:uLnTx/>
              <a:uFillTx/>
            </a:endParaRPr>
          </a:p>
        </p:txBody>
      </p:sp>
      <p:sp>
        <p:nvSpPr>
          <p:cNvPr id="53" name="テキスト ボックス 52">
            <a:extLst>
              <a:ext uri="{FF2B5EF4-FFF2-40B4-BE49-F238E27FC236}">
                <a16:creationId xmlns:a16="http://schemas.microsoft.com/office/drawing/2014/main" id="{600AE28E-2F7C-E1F6-5796-97DD1A8A0830}"/>
              </a:ext>
            </a:extLst>
          </p:cNvPr>
          <p:cNvSpPr txBox="1"/>
          <p:nvPr/>
        </p:nvSpPr>
        <p:spPr>
          <a:xfrm>
            <a:off x="241489" y="4311100"/>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の全体像と個別のスコープについて明確に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27080775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2" name="テキスト プレースホルダー 1">
            <a:extLst>
              <a:ext uri="{FF2B5EF4-FFF2-40B4-BE49-F238E27FC236}">
                <a16:creationId xmlns:a16="http://schemas.microsoft.com/office/drawing/2014/main" id="{BDE63369-EA7E-4802-A4A3-D4010A333C66}"/>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a:xfrm>
            <a:off x="300778" y="655357"/>
            <a:ext cx="11891221" cy="432000"/>
          </a:xfrm>
        </p:spPr>
        <p:txBody>
          <a:bodyPr vert="horz"/>
          <a:lstStyle/>
          <a:p>
            <a:r>
              <a:rPr lang="ja-JP" altLang="en-US"/>
              <a:t>４</a:t>
            </a:r>
            <a:r>
              <a:rPr lang="en-US" altLang="ja-JP"/>
              <a:t>.KPI</a:t>
            </a:r>
            <a:r>
              <a:rPr lang="ja-JP" altLang="en-US"/>
              <a:t>│これまでの</a:t>
            </a:r>
            <a:r>
              <a:rPr lang="en-US" altLang="ja-JP"/>
              <a:t>KPI</a:t>
            </a:r>
            <a:r>
              <a:rPr lang="ja-JP" altLang="en-US"/>
              <a:t>実績</a:t>
            </a:r>
          </a:p>
        </p:txBody>
      </p:sp>
      <p:sp>
        <p:nvSpPr>
          <p:cNvPr id="7" name="テキスト プレースホルダー 10">
            <a:extLst>
              <a:ext uri="{FF2B5EF4-FFF2-40B4-BE49-F238E27FC236}">
                <a16:creationId xmlns:a16="http://schemas.microsoft.com/office/drawing/2014/main" id="{3691CDB4-58BB-E579-BB19-C14A7E95B4EB}"/>
              </a:ext>
            </a:extLst>
          </p:cNvPr>
          <p:cNvSpPr txBox="1">
            <a:spLocks/>
          </p:cNvSpPr>
          <p:nvPr/>
        </p:nvSpPr>
        <p:spPr>
          <a:xfrm>
            <a:off x="300779" y="1736090"/>
            <a:ext cx="11376000" cy="323165"/>
          </a:xfrm>
          <a:prstGeom prst="rect">
            <a:avLst/>
          </a:prstGeom>
        </p:spPr>
        <p:txBody>
          <a:bodyPr vert="horz" wrap="square" lIns="91440" tIns="0" rIns="91440" bIns="45720" rtlCol="0" anchor="t">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kumimoji="1" sz="2000" b="0">
                <a:solidFill>
                  <a:schemeClr val="tx1"/>
                </a:solidFill>
                <a:latin typeface="Meiryo UI" panose="020B0604030504040204" pitchFamily="50" charset="-128"/>
                <a:ea typeface="Meiryo UI" panose="020B0604030504040204"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a:defRPr/>
            </a:pPr>
            <a:r>
              <a:rPr lang="en-US" altLang="ja-JP" sz="1800" kern="0">
                <a:solidFill>
                  <a:srgbClr val="000000"/>
                </a:solidFill>
              </a:rPr>
              <a:t>[</a:t>
            </a:r>
            <a:r>
              <a:rPr lang="ja-JP" altLang="en-US" sz="1800" kern="0">
                <a:solidFill>
                  <a:srgbClr val="000000"/>
                </a:solidFill>
              </a:rPr>
              <a:t>サマリーを記載</a:t>
            </a:r>
            <a:r>
              <a:rPr lang="en-US" altLang="ja-JP" sz="1800" kern="0">
                <a:solidFill>
                  <a:srgbClr val="000000"/>
                </a:solidFill>
              </a:rPr>
              <a:t>]</a:t>
            </a:r>
            <a:endParaRPr lang="ja-JP" altLang="en-US" sz="1800" kern="0">
              <a:solidFill>
                <a:srgbClr val="000000"/>
              </a:solidFill>
            </a:endParaRPr>
          </a:p>
        </p:txBody>
      </p:sp>
      <p:graphicFrame>
        <p:nvGraphicFramePr>
          <p:cNvPr id="4" name="表 3">
            <a:extLst>
              <a:ext uri="{FF2B5EF4-FFF2-40B4-BE49-F238E27FC236}">
                <a16:creationId xmlns:a16="http://schemas.microsoft.com/office/drawing/2014/main" id="{0C7EBEDC-46F2-4C75-201F-1BD5EC9DF524}"/>
              </a:ext>
            </a:extLst>
          </p:cNvPr>
          <p:cNvGraphicFramePr>
            <a:graphicFrameLocks noGrp="1"/>
          </p:cNvGraphicFramePr>
          <p:nvPr>
            <p:extLst>
              <p:ext uri="{D42A27DB-BD31-4B8C-83A1-F6EECF244321}">
                <p14:modId xmlns:p14="http://schemas.microsoft.com/office/powerpoint/2010/main" val="429053458"/>
              </p:ext>
            </p:extLst>
          </p:nvPr>
        </p:nvGraphicFramePr>
        <p:xfrm>
          <a:off x="296121" y="1443789"/>
          <a:ext cx="11595100" cy="4326097"/>
        </p:xfrm>
        <a:graphic>
          <a:graphicData uri="http://schemas.openxmlformats.org/drawingml/2006/table">
            <a:tbl>
              <a:tblPr>
                <a:tableStyleId>{E8034E78-7F5D-4C2E-B375-FC64B27BC917}</a:tableStyleId>
              </a:tblPr>
              <a:tblGrid>
                <a:gridCol w="280242">
                  <a:extLst>
                    <a:ext uri="{9D8B030D-6E8A-4147-A177-3AD203B41FA5}">
                      <a16:colId xmlns:a16="http://schemas.microsoft.com/office/drawing/2014/main" val="20003"/>
                    </a:ext>
                  </a:extLst>
                </a:gridCol>
                <a:gridCol w="2706768">
                  <a:extLst>
                    <a:ext uri="{9D8B030D-6E8A-4147-A177-3AD203B41FA5}">
                      <a16:colId xmlns:a16="http://schemas.microsoft.com/office/drawing/2014/main" val="3299919043"/>
                    </a:ext>
                  </a:extLst>
                </a:gridCol>
                <a:gridCol w="1881963">
                  <a:extLst>
                    <a:ext uri="{9D8B030D-6E8A-4147-A177-3AD203B41FA5}">
                      <a16:colId xmlns:a16="http://schemas.microsoft.com/office/drawing/2014/main" val="4027897853"/>
                    </a:ext>
                  </a:extLst>
                </a:gridCol>
                <a:gridCol w="1360968">
                  <a:extLst>
                    <a:ext uri="{9D8B030D-6E8A-4147-A177-3AD203B41FA5}">
                      <a16:colId xmlns:a16="http://schemas.microsoft.com/office/drawing/2014/main" val="22851105"/>
                    </a:ext>
                  </a:extLst>
                </a:gridCol>
                <a:gridCol w="1392865">
                  <a:extLst>
                    <a:ext uri="{9D8B030D-6E8A-4147-A177-3AD203B41FA5}">
                      <a16:colId xmlns:a16="http://schemas.microsoft.com/office/drawing/2014/main" val="177072808"/>
                    </a:ext>
                  </a:extLst>
                </a:gridCol>
                <a:gridCol w="3972294">
                  <a:extLst>
                    <a:ext uri="{9D8B030D-6E8A-4147-A177-3AD203B41FA5}">
                      <a16:colId xmlns:a16="http://schemas.microsoft.com/office/drawing/2014/main" val="3075782870"/>
                    </a:ext>
                  </a:extLst>
                </a:gridCol>
              </a:tblGrid>
              <a:tr h="746417">
                <a:tc>
                  <a:txBody>
                    <a:bodyPr/>
                    <a:lstStyle/>
                    <a:p>
                      <a:pPr algn="ctr"/>
                      <a:r>
                        <a:rPr kumimoji="1" lang="en-US" altLang="ja-JP" sz="1050" b="1">
                          <a:solidFill>
                            <a:sysClr val="windowText" lastClr="000000"/>
                          </a:solidFill>
                          <a:latin typeface="+mn-ea"/>
                          <a:ea typeface="+mn-ea"/>
                        </a:rPr>
                        <a:t>#</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測定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en-US" altLang="ja-JP" sz="1050" b="1">
                          <a:solidFill>
                            <a:sysClr val="windowText" lastClr="000000"/>
                          </a:solidFill>
                          <a:latin typeface="+mn-ea"/>
                          <a:ea typeface="+mn-ea"/>
                        </a:rPr>
                        <a:t>KPI</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事業実施年度</a:t>
                      </a:r>
                      <a:endParaRPr kumimoji="1" lang="en-US" altLang="ja-JP" sz="1050" b="1">
                        <a:solidFill>
                          <a:sysClr val="windowText" lastClr="000000"/>
                        </a:solidFill>
                        <a:latin typeface="+mn-ea"/>
                        <a:ea typeface="+mn-ea"/>
                      </a:endParaRPr>
                    </a:p>
                    <a:p>
                      <a:r>
                        <a:rPr kumimoji="1" lang="ja-JP" altLang="en-US" sz="1050" b="1">
                          <a:solidFill>
                            <a:sysClr val="windowText" lastClr="000000"/>
                          </a:solidFill>
                          <a:latin typeface="+mn-ea"/>
                          <a:ea typeface="+mn-ea"/>
                        </a:rPr>
                        <a:t>の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実績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目標値設定根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740036">
                <a:tc>
                  <a:txBody>
                    <a:bodyPr/>
                    <a:lstStyle/>
                    <a:p>
                      <a:pPr algn="ctr"/>
                      <a:r>
                        <a:rPr kumimoji="1" lang="en-US" altLang="ja-JP" sz="1050" kern="1200">
                          <a:solidFill>
                            <a:sysClr val="windowText" lastClr="000000"/>
                          </a:solidFill>
                          <a:latin typeface="+mn-ea"/>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会員登録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ターゲット人口の</a:t>
                      </a:r>
                      <a:r>
                        <a:rPr kumimoji="1" lang="en-US" altLang="ja-JP" sz="1050" kern="1200">
                          <a:solidFill>
                            <a:srgbClr val="0070C0"/>
                          </a:solidFill>
                          <a:latin typeface="+mn-ea"/>
                          <a:ea typeface="+mn-ea"/>
                          <a:cs typeface="+mn-cs"/>
                        </a:rPr>
                        <a:t>1%</a:t>
                      </a:r>
                      <a:r>
                        <a:rPr kumimoji="1" lang="ja-JP" altLang="en-US" sz="1050" kern="1200">
                          <a:solidFill>
                            <a:srgbClr val="0070C0"/>
                          </a:solidFill>
                          <a:latin typeface="+mn-ea"/>
                          <a:ea typeface="+mn-ea"/>
                          <a:cs typeface="+mn-cs"/>
                        </a:rPr>
                        <a:t>、先行事例のデータを参考に設定。</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73405">
                <a:tc>
                  <a:txBody>
                    <a:bodyPr/>
                    <a:lstStyle/>
                    <a:p>
                      <a:pPr algn="ctr"/>
                      <a:r>
                        <a:rPr kumimoji="1" lang="en-US" altLang="ja-JP" sz="1050" kern="1200">
                          <a:solidFill>
                            <a:sysClr val="windowText" lastClr="000000"/>
                          </a:solidFill>
                          <a:latin typeface="+mn-ea"/>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乗継ぎ割引サービスの利用者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乗継ぎ利用者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ターゲット人口の</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先行事例のデータを参考に設定。</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46417">
                <a:tc>
                  <a:txBody>
                    <a:bodyPr/>
                    <a:lstStyle/>
                    <a:p>
                      <a:pPr algn="ctr"/>
                      <a:r>
                        <a:rPr kumimoji="1" lang="ja-JP" altLang="en-US" sz="1050" kern="1200">
                          <a:solidFill>
                            <a:sysClr val="windowText" lastClr="000000"/>
                          </a:solidFill>
                          <a:latin typeface="+mn-ea"/>
                          <a:ea typeface="+mn-ea"/>
                          <a:cs typeface="+mn-cs"/>
                        </a:rPr>
                        <a:t>３</a:t>
                      </a:r>
                      <a:endParaRPr kumimoji="1" lang="en-US" altLang="ja-JP" sz="1050" kern="1200">
                        <a:solidFill>
                          <a:sysClr val="windowText" lastClr="00000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i="0" u="none">
                          <a:solidFill>
                            <a:srgbClr val="0070C0"/>
                          </a:solidFill>
                          <a:latin typeface="+mn-ea"/>
                          <a:ea typeface="+mn-ea"/>
                        </a:rPr>
                        <a:t>MaaS</a:t>
                      </a:r>
                      <a:r>
                        <a:rPr kumimoji="1" lang="ja-JP" altLang="en-US" sz="1050" i="0" u="none">
                          <a:solidFill>
                            <a:srgbClr val="0070C0"/>
                          </a:solidFill>
                          <a:latin typeface="+mn-ea"/>
                          <a:ea typeface="+mn-ea"/>
                        </a:rPr>
                        <a:t>アプリでのデマンドバス予約提供開始による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デマンドバス利用者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提供前のデマンドバス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2229529"/>
                  </a:ext>
                </a:extLst>
              </a:tr>
              <a:tr h="673405">
                <a:tc>
                  <a:txBody>
                    <a:bodyPr/>
                    <a:lstStyle/>
                    <a:p>
                      <a:pPr algn="ctr"/>
                      <a:r>
                        <a:rPr kumimoji="1" lang="en-US" altLang="ja-JP" sz="1050" kern="1200">
                          <a:solidFill>
                            <a:sysClr val="windowText" lastClr="000000"/>
                          </a:solidFill>
                          <a:latin typeface="+mn-ea"/>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増加</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対象路線の通常乗車券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7395077"/>
                  </a:ext>
                </a:extLst>
              </a:tr>
              <a:tr h="746417">
                <a:tc>
                  <a:txBody>
                    <a:bodyPr/>
                    <a:lstStyle/>
                    <a:p>
                      <a:pPr algn="ctr"/>
                      <a:r>
                        <a:rPr kumimoji="1" lang="en-US" altLang="ja-JP" sz="1050" kern="1200">
                          <a:solidFill>
                            <a:sysClr val="windowText" lastClr="000000"/>
                          </a:solidFill>
                          <a:latin typeface="+mn-ea"/>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利便性向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サービス満足度</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5378374"/>
                  </a:ext>
                </a:extLst>
              </a:tr>
            </a:tbl>
          </a:graphicData>
        </a:graphic>
      </p:graphicFrame>
      <p:sp>
        <p:nvSpPr>
          <p:cNvPr id="6" name="テキスト ボックス 5">
            <a:extLst>
              <a:ext uri="{FF2B5EF4-FFF2-40B4-BE49-F238E27FC236}">
                <a16:creationId xmlns:a16="http://schemas.microsoft.com/office/drawing/2014/main" id="{21D13A10-9062-ED6C-1199-D4C143403E83}"/>
              </a:ext>
            </a:extLst>
          </p:cNvPr>
          <p:cNvSpPr txBox="1"/>
          <p:nvPr/>
        </p:nvSpPr>
        <p:spPr>
          <a:xfrm>
            <a:off x="3411225" y="3728182"/>
            <a:ext cx="5670325" cy="1578177"/>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新規項目については記載不要で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実装済みの</a:t>
            </a:r>
            <a:r>
              <a:rPr kumimoji="0" lang="en-US" altLang="ja-JP" sz="1400" b="0" i="0" u="none" strike="noStrike" kern="0" cap="none" spc="0" normalizeH="0" baseline="0" noProof="0" err="1">
                <a:ln>
                  <a:noFill/>
                </a:ln>
                <a:solidFill>
                  <a:srgbClr val="FFFFFF"/>
                </a:solidFill>
                <a:effectLst/>
                <a:uLnTx/>
                <a:uFillTx/>
              </a:rPr>
              <a:t>MaaS</a:t>
            </a:r>
            <a:r>
              <a:rPr kumimoji="0" lang="ja-JP" altLang="en-US" sz="1400" b="0" i="0" u="none" strike="noStrike" kern="0" cap="none" spc="0" normalizeH="0" baseline="0" noProof="0">
                <a:ln>
                  <a:noFill/>
                </a:ln>
                <a:solidFill>
                  <a:srgbClr val="FFFFFF"/>
                </a:solidFill>
                <a:effectLst/>
                <a:uLnTx/>
                <a:uFillTx/>
              </a:rPr>
              <a:t>の既存</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の実績について記載してください。​</a:t>
            </a:r>
            <a:endParaRPr kumimoji="0" lang="en-US" altLang="ja-JP"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781362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E4CC0A9E-C092-35B3-805A-BF072145F524}"/>
              </a:ext>
            </a:extLst>
          </p:cNvPr>
          <p:cNvGraphicFramePr>
            <a:graphicFrameLocks noGrp="1"/>
          </p:cNvGraphicFramePr>
          <p:nvPr>
            <p:extLst>
              <p:ext uri="{D42A27DB-BD31-4B8C-83A1-F6EECF244321}">
                <p14:modId xmlns:p14="http://schemas.microsoft.com/office/powerpoint/2010/main" val="1133279234"/>
              </p:ext>
            </p:extLst>
          </p:nvPr>
        </p:nvGraphicFramePr>
        <p:xfrm>
          <a:off x="277459" y="1564883"/>
          <a:ext cx="11637082" cy="4599031"/>
        </p:xfrm>
        <a:graphic>
          <a:graphicData uri="http://schemas.openxmlformats.org/drawingml/2006/table">
            <a:tbl>
              <a:tblPr>
                <a:tableStyleId>{E8034E78-7F5D-4C2E-B375-FC64B27BC917}</a:tableStyleId>
              </a:tblPr>
              <a:tblGrid>
                <a:gridCol w="208280">
                  <a:extLst>
                    <a:ext uri="{9D8B030D-6E8A-4147-A177-3AD203B41FA5}">
                      <a16:colId xmlns:a16="http://schemas.microsoft.com/office/drawing/2014/main" val="20003"/>
                    </a:ext>
                  </a:extLst>
                </a:gridCol>
                <a:gridCol w="1606231">
                  <a:extLst>
                    <a:ext uri="{9D8B030D-6E8A-4147-A177-3AD203B41FA5}">
                      <a16:colId xmlns:a16="http://schemas.microsoft.com/office/drawing/2014/main" val="3299919043"/>
                    </a:ext>
                  </a:extLst>
                </a:gridCol>
                <a:gridCol w="1116781">
                  <a:extLst>
                    <a:ext uri="{9D8B030D-6E8A-4147-A177-3AD203B41FA5}">
                      <a16:colId xmlns:a16="http://schemas.microsoft.com/office/drawing/2014/main" val="4027897853"/>
                    </a:ext>
                  </a:extLst>
                </a:gridCol>
                <a:gridCol w="807616">
                  <a:extLst>
                    <a:ext uri="{9D8B030D-6E8A-4147-A177-3AD203B41FA5}">
                      <a16:colId xmlns:a16="http://schemas.microsoft.com/office/drawing/2014/main" val="22851105"/>
                    </a:ext>
                  </a:extLst>
                </a:gridCol>
                <a:gridCol w="826544">
                  <a:extLst>
                    <a:ext uri="{9D8B030D-6E8A-4147-A177-3AD203B41FA5}">
                      <a16:colId xmlns:a16="http://schemas.microsoft.com/office/drawing/2014/main" val="177072808"/>
                    </a:ext>
                  </a:extLst>
                </a:gridCol>
                <a:gridCol w="4035174">
                  <a:extLst>
                    <a:ext uri="{9D8B030D-6E8A-4147-A177-3AD203B41FA5}">
                      <a16:colId xmlns:a16="http://schemas.microsoft.com/office/drawing/2014/main" val="3075782870"/>
                    </a:ext>
                  </a:extLst>
                </a:gridCol>
                <a:gridCol w="1987420">
                  <a:extLst>
                    <a:ext uri="{9D8B030D-6E8A-4147-A177-3AD203B41FA5}">
                      <a16:colId xmlns:a16="http://schemas.microsoft.com/office/drawing/2014/main" val="825560058"/>
                    </a:ext>
                  </a:extLst>
                </a:gridCol>
                <a:gridCol w="1049036">
                  <a:extLst>
                    <a:ext uri="{9D8B030D-6E8A-4147-A177-3AD203B41FA5}">
                      <a16:colId xmlns:a16="http://schemas.microsoft.com/office/drawing/2014/main" val="2319383798"/>
                    </a:ext>
                  </a:extLst>
                </a:gridCol>
              </a:tblGrid>
              <a:tr h="518744">
                <a:tc>
                  <a:txBody>
                    <a:bodyPr/>
                    <a:lstStyle/>
                    <a:p>
                      <a:pPr algn="ctr"/>
                      <a:r>
                        <a:rPr kumimoji="1" lang="en-US" altLang="ja-JP" sz="1050" b="1">
                          <a:solidFill>
                            <a:sysClr val="windowText" lastClr="000000"/>
                          </a:solidFill>
                          <a:latin typeface="+mn-ea"/>
                          <a:ea typeface="+mn-ea"/>
                        </a:rPr>
                        <a:t>#</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測定項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en-US" altLang="ja-JP" sz="1050" b="1">
                          <a:solidFill>
                            <a:sysClr val="windowText" lastClr="000000"/>
                          </a:solidFill>
                          <a:latin typeface="+mn-ea"/>
                          <a:ea typeface="+mn-ea"/>
                        </a:rPr>
                        <a:t>KPI</a:t>
                      </a:r>
                      <a:endParaRPr kumimoji="1" lang="ja-JP" altLang="en-US" sz="1050" b="1">
                        <a:solidFill>
                          <a:sysClr val="windowText" lastClr="000000"/>
                        </a:solidFill>
                        <a:latin typeface="+mn-ea"/>
                        <a:ea typeface="+mn-ea"/>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事業実施年度</a:t>
                      </a:r>
                      <a:endParaRPr kumimoji="1" lang="en-US" altLang="ja-JP" sz="1050" b="1">
                        <a:solidFill>
                          <a:sysClr val="windowText" lastClr="000000"/>
                        </a:solidFill>
                        <a:latin typeface="+mn-ea"/>
                        <a:ea typeface="+mn-ea"/>
                      </a:endParaRPr>
                    </a:p>
                    <a:p>
                      <a:r>
                        <a:rPr kumimoji="1" lang="ja-JP" altLang="en-US" sz="1050" b="1">
                          <a:solidFill>
                            <a:sysClr val="windowText" lastClr="000000"/>
                          </a:solidFill>
                          <a:latin typeface="+mn-ea"/>
                          <a:ea typeface="+mn-ea"/>
                        </a:rPr>
                        <a:t>の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５年後の</a:t>
                      </a:r>
                      <a:endParaRPr kumimoji="1" lang="en-US" altLang="ja-JP" sz="1050" b="1">
                        <a:solidFill>
                          <a:sysClr val="windowText" lastClr="000000"/>
                        </a:solidFill>
                        <a:latin typeface="+mn-ea"/>
                        <a:ea typeface="+mn-ea"/>
                      </a:endParaRPr>
                    </a:p>
                    <a:p>
                      <a:r>
                        <a:rPr kumimoji="1" lang="ja-JP" altLang="en-US" sz="1050" b="1">
                          <a:solidFill>
                            <a:sysClr val="windowText" lastClr="000000"/>
                          </a:solidFill>
                          <a:latin typeface="+mn-ea"/>
                          <a:ea typeface="+mn-ea"/>
                        </a:rPr>
                        <a:t>の目標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目標値設定根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計測方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kumimoji="1" lang="ja-JP" altLang="en-US" sz="1050" b="1">
                          <a:solidFill>
                            <a:sysClr val="windowText" lastClr="000000"/>
                          </a:solidFill>
                          <a:latin typeface="+mn-ea"/>
                          <a:ea typeface="+mn-ea"/>
                        </a:rPr>
                        <a:t>計測頻度・回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438511">
                <a:tc>
                  <a:txBody>
                    <a:bodyPr/>
                    <a:lstStyle/>
                    <a:p>
                      <a:pPr algn="ctr"/>
                      <a:r>
                        <a:rPr kumimoji="1" lang="en-US" altLang="ja-JP" sz="1050" kern="1200">
                          <a:solidFill>
                            <a:sysClr val="windowText" lastClr="000000"/>
                          </a:solidFill>
                          <a:latin typeface="+mn-ea"/>
                          <a:ea typeface="+mn-ea"/>
                          <a:cs typeface="+mn-cs"/>
                        </a:rPr>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050" kern="1200" err="1">
                          <a:solidFill>
                            <a:srgbClr val="0070C0"/>
                          </a:solidFill>
                          <a:latin typeface="+mn-ea"/>
                          <a:ea typeface="+mn-ea"/>
                          <a:cs typeface="+mn-cs"/>
                        </a:rPr>
                        <a:t>MaaS</a:t>
                      </a:r>
                      <a:r>
                        <a:rPr kumimoji="1" lang="ja-JP" altLang="en-US" sz="1050" kern="1200">
                          <a:solidFill>
                            <a:srgbClr val="0070C0"/>
                          </a:solidFill>
                          <a:latin typeface="+mn-ea"/>
                          <a:ea typeface="+mn-ea"/>
                          <a:cs typeface="+mn-cs"/>
                        </a:rPr>
                        <a:t>会員登録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ターゲット人口の</a:t>
                      </a:r>
                      <a:r>
                        <a:rPr kumimoji="1" lang="en-US" altLang="ja-JP" sz="1050" kern="1200">
                          <a:solidFill>
                            <a:srgbClr val="0070C0"/>
                          </a:solidFill>
                          <a:latin typeface="+mn-ea"/>
                          <a:ea typeface="+mn-ea"/>
                          <a:cs typeface="+mn-cs"/>
                        </a:rPr>
                        <a:t>1%</a:t>
                      </a:r>
                      <a:r>
                        <a:rPr kumimoji="1" lang="ja-JP" altLang="en-US" sz="1050" kern="1200">
                          <a:solidFill>
                            <a:srgbClr val="0070C0"/>
                          </a:solidFill>
                          <a:latin typeface="+mn-ea"/>
                          <a:ea typeface="+mn-ea"/>
                          <a:cs typeface="+mn-cs"/>
                        </a:rPr>
                        <a:t>、先行事例のデータを参考に設定。</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399029">
                <a:tc>
                  <a:txBody>
                    <a:bodyPr/>
                    <a:lstStyle/>
                    <a:p>
                      <a:pPr algn="ctr"/>
                      <a:r>
                        <a:rPr kumimoji="1" lang="en-US" altLang="ja-JP" sz="1050" kern="1200">
                          <a:solidFill>
                            <a:sysClr val="windowText" lastClr="000000"/>
                          </a:solidFill>
                          <a:latin typeface="+mn-ea"/>
                          <a:ea typeface="+mn-ea"/>
                          <a:cs typeface="+mn-cs"/>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乗継ぎ割引サービスの利用者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乗継ぎ利用者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ターゲット人口の</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先行事例のデータを参考に設定。</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18744">
                <a:tc>
                  <a:txBody>
                    <a:bodyPr/>
                    <a:lstStyle/>
                    <a:p>
                      <a:pPr algn="ctr"/>
                      <a:r>
                        <a:rPr kumimoji="1" lang="ja-JP" altLang="en-US" sz="1050" kern="1200">
                          <a:solidFill>
                            <a:sysClr val="windowText" lastClr="000000"/>
                          </a:solidFill>
                          <a:latin typeface="+mn-ea"/>
                          <a:ea typeface="+mn-ea"/>
                          <a:cs typeface="+mn-cs"/>
                        </a:rPr>
                        <a:t>３</a:t>
                      </a:r>
                      <a:endParaRPr kumimoji="1" lang="en-US" altLang="ja-JP" sz="1050" kern="1200">
                        <a:solidFill>
                          <a:sysClr val="windowText" lastClr="00000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i="0" u="none">
                          <a:solidFill>
                            <a:srgbClr val="0070C0"/>
                          </a:solidFill>
                          <a:latin typeface="+mn-ea"/>
                          <a:ea typeface="+mn-ea"/>
                        </a:rPr>
                        <a:t>MaaS</a:t>
                      </a:r>
                      <a:r>
                        <a:rPr kumimoji="1" lang="ja-JP" altLang="en-US" sz="1050" i="0" u="none">
                          <a:solidFill>
                            <a:srgbClr val="0070C0"/>
                          </a:solidFill>
                          <a:latin typeface="+mn-ea"/>
                          <a:ea typeface="+mn-ea"/>
                        </a:rPr>
                        <a:t>アプリでのデマンドバス予約提供開始による利用者の増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i="0" u="none">
                          <a:solidFill>
                            <a:srgbClr val="0070C0"/>
                          </a:solidFill>
                          <a:latin typeface="+mn-ea"/>
                          <a:ea typeface="+mn-ea"/>
                        </a:rPr>
                        <a:t>デマンドバス利用者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MaaS</a:t>
                      </a:r>
                      <a:r>
                        <a:rPr kumimoji="1" lang="ja-JP" altLang="en-US" sz="1050" kern="1200">
                          <a:solidFill>
                            <a:srgbClr val="0070C0"/>
                          </a:solidFill>
                          <a:latin typeface="+mn-ea"/>
                          <a:ea typeface="+mn-ea"/>
                          <a:cs typeface="+mn-cs"/>
                        </a:rPr>
                        <a:t>アプリ提供前のデマンドバス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82229529"/>
                  </a:ext>
                </a:extLst>
              </a:tr>
              <a:tr h="399029">
                <a:tc>
                  <a:txBody>
                    <a:bodyPr/>
                    <a:lstStyle/>
                    <a:p>
                      <a:pPr algn="ctr"/>
                      <a:r>
                        <a:rPr kumimoji="1" lang="en-US" altLang="ja-JP" sz="1050" kern="1200">
                          <a:solidFill>
                            <a:sysClr val="windowText" lastClr="000000"/>
                          </a:solidFill>
                          <a:latin typeface="+mn-ea"/>
                          <a:ea typeface="+mn-ea"/>
                          <a:cs typeface="+mn-cs"/>
                        </a:rPr>
                        <a:t>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増加</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企画乗車券の販売数</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kern="1200">
                          <a:solidFill>
                            <a:srgbClr val="0070C0"/>
                          </a:solidFill>
                          <a:latin typeface="+mn-ea"/>
                          <a:ea typeface="+mn-ea"/>
                          <a:cs typeface="+mn-cs"/>
                        </a:rPr>
                        <a:t>○○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対象路線の通常乗車券利用者の○％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ベースを確認</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毎月</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37395077"/>
                  </a:ext>
                </a:extLst>
              </a:tr>
              <a:tr h="663992">
                <a:tc>
                  <a:txBody>
                    <a:bodyPr/>
                    <a:lstStyle/>
                    <a:p>
                      <a:pPr algn="ctr"/>
                      <a:r>
                        <a:rPr kumimoji="1" lang="en-US" altLang="ja-JP" sz="1050" kern="1200">
                          <a:solidFill>
                            <a:sysClr val="windowText" lastClr="000000"/>
                          </a:solidFill>
                          <a:latin typeface="+mn-ea"/>
                          <a:ea typeface="+mn-ea"/>
                          <a:cs typeface="+mn-cs"/>
                        </a:rPr>
                        <a:t>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利便性向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利用者のサービス満足度</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R6d</a:t>
                      </a:r>
                      <a:r>
                        <a:rPr kumimoji="1" lang="ja-JP" altLang="en-US" sz="1050" kern="1200">
                          <a:solidFill>
                            <a:srgbClr val="0070C0"/>
                          </a:solidFill>
                          <a:latin typeface="+mn-ea"/>
                          <a:ea typeface="+mn-ea"/>
                          <a:cs typeface="+mn-cs"/>
                        </a:rPr>
                        <a:t>に実施したアンケート結果を参考に設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年１回</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5378374"/>
                  </a:ext>
                </a:extLst>
              </a:tr>
              <a:tr h="442292">
                <a:tc>
                  <a:txBody>
                    <a:bodyPr/>
                    <a:lstStyle/>
                    <a:p>
                      <a:pPr algn="ctr"/>
                      <a:r>
                        <a:rPr kumimoji="1" lang="en-US" altLang="ja-JP" sz="1050" kern="1200">
                          <a:solidFill>
                            <a:sysClr val="windowText" lastClr="000000"/>
                          </a:solidFill>
                          <a:latin typeface="+mn-ea"/>
                          <a:ea typeface="+mn-ea"/>
                          <a:cs typeface="+mn-cs"/>
                        </a:rPr>
                        <a:t>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データ分析ツールの利用者評価向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自治体職員の利用満足度</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アンケート回答の</a:t>
                      </a:r>
                      <a:endParaRPr kumimoji="1" lang="en-US" altLang="ja-JP" sz="1050" kern="1200">
                        <a:solidFill>
                          <a:srgbClr val="0070C0"/>
                        </a:solidFill>
                        <a:latin typeface="+mn-e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平均値○以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ターゲット人口の</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先行事例のデータを参考に設定。</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アンケート</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ツール導入後、</a:t>
                      </a:r>
                      <a:r>
                        <a:rPr kumimoji="1" lang="en-US" altLang="ja-JP" sz="1050" b="0" i="0" u="none" strike="noStrike" kern="1200" cap="none" spc="0" normalizeH="0" baseline="0" noProof="0">
                          <a:ln>
                            <a:noFill/>
                          </a:ln>
                          <a:solidFill>
                            <a:srgbClr val="0070C0"/>
                          </a:solidFill>
                          <a:effectLst/>
                          <a:uLnTx/>
                          <a:uFillTx/>
                          <a:latin typeface="BIZ UDPゴシック"/>
                          <a:ea typeface="+mn-ea"/>
                          <a:cs typeface="+mn-cs"/>
                        </a:rPr>
                        <a:t>1</a:t>
                      </a:r>
                      <a:r>
                        <a:rPr kumimoji="1" lang="ja-JP" altLang="en-US" sz="1050" b="0" i="0" u="none" strike="noStrike" kern="1200" cap="none" spc="0" normalizeH="0" baseline="0" noProof="0">
                          <a:ln>
                            <a:noFill/>
                          </a:ln>
                          <a:solidFill>
                            <a:srgbClr val="0070C0"/>
                          </a:solidFill>
                          <a:effectLst/>
                          <a:uLnTx/>
                          <a:uFillTx/>
                          <a:latin typeface="BIZ UDPゴシック"/>
                          <a:ea typeface="+mn-ea"/>
                          <a:cs typeface="+mn-cs"/>
                        </a:rPr>
                        <a:t>回</a:t>
                      </a:r>
                      <a:endParaRPr kumimoji="1" lang="en-US" altLang="ja-JP" sz="1050" b="0" i="0" u="none" strike="noStrike" kern="1200" cap="none" spc="0" normalizeH="0" baseline="0" noProof="0">
                        <a:ln>
                          <a:noFill/>
                        </a:ln>
                        <a:solidFill>
                          <a:srgbClr val="0070C0"/>
                        </a:solidFill>
                        <a:effectLst/>
                        <a:uLnTx/>
                        <a:uFillTx/>
                        <a:latin typeface="BIZ UDPゴシック"/>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0984968"/>
                  </a:ext>
                </a:extLst>
              </a:tr>
              <a:tr h="442292">
                <a:tc>
                  <a:txBody>
                    <a:bodyPr/>
                    <a:lstStyle/>
                    <a:p>
                      <a:pPr algn="ctr"/>
                      <a:r>
                        <a:rPr kumimoji="1" lang="en-US" altLang="ja-JP" sz="1050" kern="1200">
                          <a:solidFill>
                            <a:sysClr val="windowText" lastClr="000000"/>
                          </a:solidFill>
                          <a:latin typeface="+mn-ea"/>
                          <a:ea typeface="+mn-ea"/>
                          <a:cs typeface="+mn-cs"/>
                        </a:rPr>
                        <a:t>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取得したデータを用いたコミュバス路線の検討</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分析結果に基づきコミュバスの運行見直しを実施した市町村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15</a:t>
                      </a:r>
                      <a:r>
                        <a:rPr kumimoji="1" lang="ja-JP" altLang="en-US" sz="1050" kern="1200">
                          <a:solidFill>
                            <a:srgbClr val="0070C0"/>
                          </a:solidFill>
                          <a:latin typeface="+mn-ea"/>
                          <a:ea typeface="+mn-ea"/>
                          <a:cs typeface="+mn-cs"/>
                        </a:rPr>
                        <a:t>市町村</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kern="1200">
                          <a:solidFill>
                            <a:srgbClr val="0070C0"/>
                          </a:solidFill>
                          <a:latin typeface="+mn-ea"/>
                          <a:ea typeface="+mn-ea"/>
                          <a:cs typeface="+mn-cs"/>
                        </a:rPr>
                        <a:t>40</a:t>
                      </a:r>
                      <a:r>
                        <a:rPr kumimoji="1" lang="ja-JP" altLang="en-US" sz="1050" kern="1200">
                          <a:solidFill>
                            <a:srgbClr val="0070C0"/>
                          </a:solidFill>
                          <a:latin typeface="+mn-ea"/>
                          <a:ea typeface="+mn-ea"/>
                          <a:cs typeface="+mn-cs"/>
                        </a:rPr>
                        <a:t>市町村</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事前にアンケートよりコミュバスの運行見直しを検討している市町村数より</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市町村への調査</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kern="1200">
                          <a:solidFill>
                            <a:srgbClr val="0070C0"/>
                          </a:solidFill>
                          <a:latin typeface="+mn-ea"/>
                          <a:ea typeface="+mn-ea"/>
                          <a:cs typeface="+mn-cs"/>
                        </a:rPr>
                        <a:t>年１回</a:t>
                      </a:r>
                      <a:endParaRPr kumimoji="1" lang="en-US" altLang="ja-JP" sz="1050" kern="1200">
                        <a:solidFill>
                          <a:srgbClr val="0070C0"/>
                        </a:solidFill>
                        <a:latin typeface="+mn-ea"/>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41354908"/>
                  </a:ext>
                </a:extLst>
              </a:tr>
            </a:tbl>
          </a:graphicData>
        </a:graphic>
      </p:graphicFrame>
      <p:graphicFrame>
        <p:nvGraphicFramePr>
          <p:cNvPr id="5" name="オブジェクト 4" hidden="1">
            <a:extLst>
              <a:ext uri="{FF2B5EF4-FFF2-40B4-BE49-F238E27FC236}">
                <a16:creationId xmlns:a16="http://schemas.microsoft.com/office/drawing/2014/main" id="{E78F9D36-5310-41D4-8608-5BFFDB0F22CA}"/>
              </a:ext>
            </a:extLst>
          </p:cNvPr>
          <p:cNvGraphicFramePr>
            <a:graphicFrameLocks noChangeAspect="1"/>
          </p:cNvGraphicFramePr>
          <p:nvPr>
            <p:custDataLst>
              <p:tags r:id="rId1"/>
            </p:custDataLst>
          </p:nvPr>
        </p:nvGraphicFramePr>
        <p:xfrm>
          <a:off x="1144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8" imgH="408" progId="TCLayout.ActiveDocument.1">
                  <p:embed/>
                </p:oleObj>
              </mc:Choice>
              <mc:Fallback>
                <p:oleObj name="think-cell スライド" r:id="rId3" imgW="408" imgH="408" progId="TCLayout.ActiveDocument.1">
                  <p:embed/>
                  <p:pic>
                    <p:nvPicPr>
                      <p:cNvPr id="5" name="オブジェクト 4" hidden="1">
                        <a:extLst>
                          <a:ext uri="{FF2B5EF4-FFF2-40B4-BE49-F238E27FC236}">
                            <a16:creationId xmlns:a16="http://schemas.microsoft.com/office/drawing/2014/main" id="{E78F9D36-5310-41D4-8608-5BFFDB0F22CA}"/>
                          </a:ext>
                        </a:extLst>
                      </p:cNvPr>
                      <p:cNvPicPr/>
                      <p:nvPr/>
                    </p:nvPicPr>
                    <p:blipFill>
                      <a:blip r:embed="rId4"/>
                      <a:stretch>
                        <a:fillRect/>
                      </a:stretch>
                    </p:blipFill>
                    <p:spPr>
                      <a:xfrm>
                        <a:off x="1144588" y="1588"/>
                        <a:ext cx="1588" cy="1588"/>
                      </a:xfrm>
                      <a:prstGeom prst="rect">
                        <a:avLst/>
                      </a:prstGeom>
                    </p:spPr>
                  </p:pic>
                </p:oleObj>
              </mc:Fallback>
            </mc:AlternateContent>
          </a:graphicData>
        </a:graphic>
      </p:graphicFrame>
      <p:sp>
        <p:nvSpPr>
          <p:cNvPr id="8" name="テキスト プレースホルダー 7">
            <a:extLst>
              <a:ext uri="{FF2B5EF4-FFF2-40B4-BE49-F238E27FC236}">
                <a16:creationId xmlns:a16="http://schemas.microsoft.com/office/drawing/2014/main" id="{E5452BB1-3ED0-4261-B76D-A910259B86CD}"/>
              </a:ext>
            </a:extLst>
          </p:cNvPr>
          <p:cNvSpPr>
            <a:spLocks noGrp="1"/>
          </p:cNvSpPr>
          <p:nvPr>
            <p:ph type="body" sz="quarter" idx="4294967295"/>
          </p:nvPr>
        </p:nvSpPr>
        <p:spPr>
          <a:xfrm>
            <a:off x="300779" y="1134673"/>
            <a:ext cx="11376000" cy="353943"/>
          </a:xfrm>
        </p:spPr>
        <p:txBody>
          <a:bodyPr>
            <a:normAutofit fontScale="92500" lnSpcReduction="10000"/>
          </a:body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kumimoji="1" lang="en-US" altLang="ja-JP"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ja-JP" altLang="en-US"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サマリーを記載</a:t>
            </a:r>
            <a:r>
              <a:rPr kumimoji="1" lang="en-US" altLang="ja-JP"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a:t>
            </a:r>
            <a:endParaRPr kumimoji="1" lang="ja-JP" altLang="en-US" sz="2000" b="0" i="0" u="none" strike="noStrike" kern="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 name="テキスト プレースホルダー 1">
            <a:extLst>
              <a:ext uri="{FF2B5EF4-FFF2-40B4-BE49-F238E27FC236}">
                <a16:creationId xmlns:a16="http://schemas.microsoft.com/office/drawing/2014/main" id="{A45FDDD5-9A42-423D-9ED3-F19DD3567786}"/>
              </a:ext>
            </a:extLst>
          </p:cNvPr>
          <p:cNvSpPr>
            <a:spLocks noGrp="1"/>
          </p:cNvSpPr>
          <p:nvPr>
            <p:ph type="body" sz="quarter" idx="36"/>
          </p:nvPr>
        </p:nvSpPr>
        <p:spPr/>
        <p:txBody>
          <a:bodyPr/>
          <a:lstStyle/>
          <a:p>
            <a:r>
              <a:rPr lang="en-US" altLang="ja-JP"/>
              <a:t>I. </a:t>
            </a:r>
            <a:r>
              <a:rPr lang="ja-JP" altLang="en-US"/>
              <a:t>プロジェクトのビジョン</a:t>
            </a:r>
          </a:p>
        </p:txBody>
      </p:sp>
      <p:sp>
        <p:nvSpPr>
          <p:cNvPr id="9" name="タイトル 8">
            <a:extLst>
              <a:ext uri="{FF2B5EF4-FFF2-40B4-BE49-F238E27FC236}">
                <a16:creationId xmlns:a16="http://schemas.microsoft.com/office/drawing/2014/main" id="{D22A0A06-D5A8-4A1A-B66F-2A8EDBD644F1}"/>
              </a:ext>
            </a:extLst>
          </p:cNvPr>
          <p:cNvSpPr>
            <a:spLocks noGrp="1"/>
          </p:cNvSpPr>
          <p:nvPr>
            <p:ph type="title"/>
          </p:nvPr>
        </p:nvSpPr>
        <p:spPr/>
        <p:txBody>
          <a:bodyPr vert="horz"/>
          <a:lstStyle/>
          <a:p>
            <a:r>
              <a:rPr lang="ja-JP" altLang="en-US"/>
              <a:t>４</a:t>
            </a:r>
            <a:r>
              <a:rPr lang="en-US" altLang="ja-JP"/>
              <a:t>.KPI</a:t>
            </a:r>
            <a:r>
              <a:rPr lang="ja-JP" altLang="en-US"/>
              <a:t>│プロジェクト全体の</a:t>
            </a:r>
            <a:r>
              <a:rPr lang="en-US" altLang="ja-JP"/>
              <a:t>KPI</a:t>
            </a:r>
            <a:endParaRPr lang="ja-JP" altLang="en-US"/>
          </a:p>
        </p:txBody>
      </p:sp>
      <p:sp>
        <p:nvSpPr>
          <p:cNvPr id="7" name="テキスト ボックス 6">
            <a:extLst>
              <a:ext uri="{FF2B5EF4-FFF2-40B4-BE49-F238E27FC236}">
                <a16:creationId xmlns:a16="http://schemas.microsoft.com/office/drawing/2014/main" id="{CD57A09D-0FAB-DCC5-4D8A-39E21554BE47}"/>
              </a:ext>
            </a:extLst>
          </p:cNvPr>
          <p:cNvSpPr txBox="1"/>
          <p:nvPr/>
        </p:nvSpPr>
        <p:spPr>
          <a:xfrm>
            <a:off x="300779" y="3429000"/>
            <a:ext cx="11683720" cy="3208405"/>
          </a:xfrm>
          <a:prstGeom prst="rect">
            <a:avLst/>
          </a:prstGeom>
          <a:solidFill>
            <a:srgbClr val="F3817B">
              <a:alpha val="60000"/>
            </a:srgbClr>
          </a:solidFill>
        </p:spPr>
        <p:txBody>
          <a:bodyPr wrap="square" anchor="ctr">
            <a:noAutofit/>
          </a:bodyPr>
          <a:lstStyle/>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全体の</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を設定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kern="0">
                <a:solidFill>
                  <a:srgbClr val="FFFFFF"/>
                </a:solidFill>
              </a:rPr>
              <a:t>必ず、「交通サービスの高度化」「モビリティデータの取得と活用」「政策連携」のすべての項目で</a:t>
            </a:r>
            <a:r>
              <a:rPr kumimoji="0" lang="en-US" altLang="ja-JP" sz="1400" kern="0">
                <a:solidFill>
                  <a:srgbClr val="FFFFFF"/>
                </a:solidFill>
              </a:rPr>
              <a:t>KPI</a:t>
            </a:r>
            <a:r>
              <a:rPr kumimoji="0" lang="ja-JP" altLang="en-US" sz="1400" kern="0">
                <a:solidFill>
                  <a:srgbClr val="FFFFFF"/>
                </a:solidFill>
              </a:rPr>
              <a:t>を設定してください。</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プロジェクト全体のうち、モビリティデータの取得と活用領域の</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を仮説検証するための具体的な方法を含め記載してください。​</a:t>
            </a:r>
          </a:p>
          <a:p>
            <a:pPr marL="0" marR="0" lvl="0" indent="0" defTabSz="914400" eaLnBrk="1" fontAlgn="auto" latinLnBrk="0" hangingPunct="1">
              <a:lnSpc>
                <a:spcPct val="100000"/>
              </a:lnSpc>
              <a:spcBef>
                <a:spcPts val="300"/>
              </a:spcBef>
              <a:spcAft>
                <a:spcPts val="0"/>
              </a:spcAft>
              <a:buClrTx/>
              <a:buSzTx/>
              <a:buFontTx/>
              <a:buNone/>
              <a:tabLst/>
              <a:defRPr/>
            </a:pPr>
            <a:r>
              <a:rPr kumimoji="0" lang="ja-JP" altLang="en-US" sz="1400" b="0" i="0" u="none" strike="noStrike" kern="0" cap="none" spc="0" normalizeH="0" baseline="0" noProof="0">
                <a:ln>
                  <a:noFill/>
                </a:ln>
                <a:solidFill>
                  <a:srgbClr val="FFFFFF"/>
                </a:solidFill>
                <a:effectLst/>
                <a:uLnTx/>
                <a:uFillTx/>
              </a:rPr>
              <a:t>必ず記載すべき必須</a:t>
            </a:r>
            <a:r>
              <a:rPr kumimoji="0" lang="en-US" altLang="ja-JP" sz="1400" b="0" i="0" u="none" strike="noStrike" kern="0" cap="none" spc="0" normalizeH="0" baseline="0" noProof="0">
                <a:ln>
                  <a:noFill/>
                </a:ln>
                <a:solidFill>
                  <a:srgbClr val="FFFFFF"/>
                </a:solidFill>
                <a:effectLst/>
                <a:uLnTx/>
                <a:uFillTx/>
              </a:rPr>
              <a:t>KPI</a:t>
            </a:r>
            <a:r>
              <a:rPr kumimoji="0" lang="ja-JP" altLang="en-US" sz="1400" b="0" i="0" u="none" strike="noStrike" kern="0" cap="none" spc="0" normalizeH="0" baseline="0" noProof="0">
                <a:ln>
                  <a:noFill/>
                </a:ln>
                <a:solidFill>
                  <a:srgbClr val="FFFFFF"/>
                </a:solidFill>
                <a:effectLst/>
                <a:uLnTx/>
                <a:uFillTx/>
              </a:rPr>
              <a:t>は下記となります。</a:t>
            </a:r>
            <a:endParaRPr kumimoji="0" lang="en-US" altLang="ja-JP" sz="1400" b="0" i="0" u="none" strike="noStrike" kern="0" cap="none" spc="0" normalizeH="0" baseline="0" noProof="0">
              <a:ln>
                <a:noFill/>
              </a:ln>
              <a:solidFill>
                <a:srgbClr val="FFFFFF"/>
              </a:solidFill>
              <a:effectLst/>
              <a:uLnTx/>
              <a:uFillTx/>
            </a:endParaRPr>
          </a:p>
          <a:p>
            <a:pPr marL="0" marR="0" lvl="0" indent="0" defTabSz="914400" eaLnBrk="1" fontAlgn="auto" latinLnBrk="0" hangingPunct="1">
              <a:lnSpc>
                <a:spcPct val="100000"/>
              </a:lnSpc>
              <a:spcBef>
                <a:spcPts val="300"/>
              </a:spcBef>
              <a:spcAft>
                <a:spcPts val="0"/>
              </a:spcAft>
              <a:buClrTx/>
              <a:buSzTx/>
              <a:buFontTx/>
              <a:buNone/>
              <a:tabLst/>
              <a:defRPr/>
            </a:pPr>
            <a:endParaRPr kumimoji="0" lang="en-US" altLang="ja-JP" sz="1400" kern="0">
              <a:solidFill>
                <a:srgbClr val="FFFFFF"/>
              </a:solidFill>
            </a:endParaRPr>
          </a:p>
          <a:p>
            <a:pPr>
              <a:defRPr/>
            </a:pPr>
            <a:r>
              <a:rPr lang="ja-JP" altLang="en-US" sz="1400">
                <a:solidFill>
                  <a:schemeClr val="bg1"/>
                </a:solidFill>
                <a:latin typeface="BIZ UDPゴシック"/>
              </a:rPr>
              <a:t>【記載すべき</a:t>
            </a:r>
            <a:r>
              <a:rPr lang="en-US" altLang="ja-JP" sz="1400">
                <a:solidFill>
                  <a:schemeClr val="bg1"/>
                </a:solidFill>
                <a:latin typeface="BIZ UDPゴシック"/>
              </a:rPr>
              <a:t>KPI</a:t>
            </a:r>
            <a:r>
              <a:rPr lang="ja-JP" altLang="en-US" sz="1400">
                <a:solidFill>
                  <a:schemeClr val="bg1"/>
                </a:solidFill>
                <a:latin typeface="BIZ UDPゴシック"/>
              </a:rPr>
              <a:t>】</a:t>
            </a:r>
          </a:p>
          <a:p>
            <a:pPr marL="285750" indent="-285750">
              <a:buFont typeface="Wingdings" panose="05000000000000000000" pitchFamily="2" charset="2"/>
              <a:buChar char="l"/>
              <a:defRPr/>
            </a:pPr>
            <a:r>
              <a:rPr lang="ja-JP" altLang="ja-JP" sz="1400">
                <a:solidFill>
                  <a:schemeClr val="bg1"/>
                </a:solidFill>
                <a:latin typeface="BIZ UDPゴシック"/>
              </a:rPr>
              <a:t>MaaSアプリ等のコンシューマ向けアプリを提供する場合</a:t>
            </a:r>
            <a:r>
              <a:rPr lang="ja-JP" altLang="en-US" sz="1400">
                <a:solidFill>
                  <a:schemeClr val="bg1"/>
                </a:solidFill>
                <a:latin typeface="BIZ UDPゴシック"/>
              </a:rPr>
              <a:t>：</a:t>
            </a:r>
            <a:r>
              <a:rPr lang="ja-JP" altLang="ja-JP" sz="1400">
                <a:solidFill>
                  <a:schemeClr val="bg1"/>
                </a:solidFill>
                <a:latin typeface="BIZ UDPゴシック"/>
              </a:rPr>
              <a:t>年間</a:t>
            </a:r>
            <a:r>
              <a:rPr lang="ja-JP" altLang="en-US" sz="1400">
                <a:solidFill>
                  <a:schemeClr val="bg1"/>
                </a:solidFill>
                <a:latin typeface="BIZ UDPゴシック"/>
              </a:rPr>
              <a:t>・</a:t>
            </a:r>
            <a:r>
              <a:rPr lang="ja-JP" altLang="ja-JP" sz="1400">
                <a:solidFill>
                  <a:schemeClr val="bg1"/>
                </a:solidFill>
                <a:latin typeface="BIZ UDPゴシック"/>
              </a:rPr>
              <a:t>月間</a:t>
            </a:r>
            <a:r>
              <a:rPr lang="ja-JP" altLang="en-US" sz="1400">
                <a:solidFill>
                  <a:schemeClr val="bg1"/>
                </a:solidFill>
                <a:latin typeface="BIZ UDPゴシック"/>
              </a:rPr>
              <a:t>会員</a:t>
            </a:r>
            <a:r>
              <a:rPr lang="ja-JP" altLang="ja-JP" sz="1400">
                <a:solidFill>
                  <a:schemeClr val="bg1"/>
                </a:solidFill>
                <a:latin typeface="BIZ UDPゴシック"/>
              </a:rPr>
              <a:t>登録者数</a:t>
            </a:r>
            <a:r>
              <a:rPr lang="ja-JP" altLang="en-US" sz="1400">
                <a:solidFill>
                  <a:schemeClr val="bg1"/>
                </a:solidFill>
                <a:latin typeface="BIZ UDPゴシック"/>
              </a:rPr>
              <a:t>、</a:t>
            </a:r>
            <a:r>
              <a:rPr lang="ja-JP" altLang="ja-JP" sz="1400">
                <a:solidFill>
                  <a:schemeClr val="bg1"/>
                </a:solidFill>
                <a:latin typeface="BIZ UDPゴシック"/>
              </a:rPr>
              <a:t>利用者数（アクティブ）</a:t>
            </a:r>
            <a:endParaRPr lang="en-US" altLang="ja-JP" sz="1400">
              <a:solidFill>
                <a:schemeClr val="bg1"/>
              </a:solidFill>
            </a:endParaRPr>
          </a:p>
          <a:p>
            <a:pPr marL="285750" indent="-285750">
              <a:buFont typeface="Wingdings" panose="05000000000000000000" pitchFamily="2" charset="2"/>
              <a:buChar char="l"/>
              <a:defRPr/>
            </a:pPr>
            <a:r>
              <a:rPr lang="ja-JP" altLang="ja-JP" sz="1400">
                <a:solidFill>
                  <a:schemeClr val="bg1"/>
                </a:solidFill>
                <a:latin typeface="BIZ UDPゴシック"/>
              </a:rPr>
              <a:t>交通サービスを提供する場合</a:t>
            </a:r>
            <a:r>
              <a:rPr lang="ja-JP" altLang="en-US" sz="1400">
                <a:solidFill>
                  <a:schemeClr val="bg1"/>
                </a:solidFill>
                <a:latin typeface="BIZ UDPゴシック"/>
              </a:rPr>
              <a:t>：</a:t>
            </a:r>
            <a:r>
              <a:rPr lang="ja-JP" altLang="ja-JP" sz="1400">
                <a:solidFill>
                  <a:schemeClr val="bg1"/>
                </a:solidFill>
                <a:latin typeface="BIZ UDPゴシック"/>
              </a:rPr>
              <a:t>月間・年間利用者数（デマンドバス利用者数、シェアサイクル利用者数等）</a:t>
            </a:r>
            <a:r>
              <a:rPr lang="ja-JP" altLang="en-US" sz="1400">
                <a:solidFill>
                  <a:schemeClr val="bg1"/>
                </a:solidFill>
                <a:latin typeface="BIZ UDPゴシック"/>
              </a:rPr>
              <a:t>、</a:t>
            </a:r>
            <a:r>
              <a:rPr lang="ja-JP" altLang="ja-JP" sz="1400">
                <a:solidFill>
                  <a:schemeClr val="bg1"/>
                </a:solidFill>
                <a:latin typeface="BIZ UDPゴシック"/>
              </a:rPr>
              <a:t> MaaSアプリを通じた利用者数、売上高、売上数等</a:t>
            </a:r>
            <a:r>
              <a:rPr lang="ja-JP" altLang="en-US" sz="1400">
                <a:solidFill>
                  <a:schemeClr val="bg1"/>
                </a:solidFill>
                <a:latin typeface="BIZ UDPゴシック"/>
              </a:rPr>
              <a:t>及びこれらの指標のサービス提供前後における変化率・変化指標（</a:t>
            </a:r>
            <a:r>
              <a:rPr lang="en-US" altLang="ja-JP" sz="1400" err="1">
                <a:solidFill>
                  <a:schemeClr val="bg1"/>
                </a:solidFill>
                <a:latin typeface="BIZ UDPゴシック"/>
              </a:rPr>
              <a:t>MaaS</a:t>
            </a:r>
            <a:r>
              <a:rPr lang="ja-JP" altLang="en-US" sz="1400">
                <a:solidFill>
                  <a:schemeClr val="bg1"/>
                </a:solidFill>
                <a:latin typeface="BIZ UDPゴシック"/>
              </a:rPr>
              <a:t>等のサービス提供によって利用者が増加したかを測る指標）</a:t>
            </a:r>
            <a:endParaRPr lang="en-US" altLang="ja-JP" sz="1400"/>
          </a:p>
          <a:p>
            <a:pPr marL="285750" indent="-285750">
              <a:buFont typeface="Wingdings" panose="05000000000000000000" pitchFamily="2" charset="2"/>
              <a:buChar char="l"/>
              <a:defRPr/>
            </a:pPr>
            <a:r>
              <a:rPr lang="ja-JP" altLang="ja-JP" sz="1400">
                <a:solidFill>
                  <a:schemeClr val="bg1"/>
                </a:solidFill>
                <a:latin typeface="BIZ UDPゴシック"/>
              </a:rPr>
              <a:t>企画乗車券等の商品を販売する場合</a:t>
            </a:r>
            <a:r>
              <a:rPr lang="ja-JP" altLang="en-US" sz="1400">
                <a:solidFill>
                  <a:schemeClr val="bg1"/>
                </a:solidFill>
                <a:latin typeface="BIZ UDPゴシック"/>
              </a:rPr>
              <a:t>：造成する券種数、</a:t>
            </a:r>
            <a:r>
              <a:rPr lang="ja-JP" altLang="ja-JP" sz="1400">
                <a:solidFill>
                  <a:schemeClr val="bg1"/>
                </a:solidFill>
                <a:latin typeface="BIZ UDPゴシック"/>
              </a:rPr>
              <a:t>年間、月間の販売</a:t>
            </a:r>
            <a:r>
              <a:rPr lang="ja-JP" altLang="en-US" sz="1400">
                <a:solidFill>
                  <a:schemeClr val="bg1"/>
                </a:solidFill>
                <a:latin typeface="BIZ UDPゴシック"/>
              </a:rPr>
              <a:t>実績数</a:t>
            </a:r>
            <a:r>
              <a:rPr lang="ja-JP" altLang="ja-JP" sz="1400">
                <a:solidFill>
                  <a:schemeClr val="bg1"/>
                </a:solidFill>
                <a:latin typeface="BIZ UDPゴシック"/>
              </a:rPr>
              <a:t>、売上高</a:t>
            </a:r>
            <a:endParaRPr lang="en-US" altLang="ja-JP" sz="1400">
              <a:solidFill>
                <a:schemeClr val="bg1"/>
              </a:solidFill>
              <a:latin typeface="BIZ UDPゴシック"/>
            </a:endParaRPr>
          </a:p>
          <a:p>
            <a:pPr marL="285750" indent="-285750">
              <a:buFont typeface="Wingdings" panose="05000000000000000000" pitchFamily="2" charset="2"/>
              <a:buChar char="l"/>
              <a:defRPr/>
            </a:pPr>
            <a:r>
              <a:rPr lang="ja-JP" altLang="ja-JP" sz="1400">
                <a:solidFill>
                  <a:schemeClr val="bg1"/>
                </a:solidFill>
                <a:latin typeface="BIZ UDPゴシック"/>
              </a:rPr>
              <a:t>利用者の満足度</a:t>
            </a:r>
            <a:r>
              <a:rPr lang="ja-JP" altLang="en-US" sz="1400">
                <a:solidFill>
                  <a:schemeClr val="bg1"/>
                </a:solidFill>
                <a:latin typeface="BIZ UDPゴシック"/>
              </a:rPr>
              <a:t>：</a:t>
            </a:r>
            <a:r>
              <a:rPr lang="ja-JP" altLang="ja-JP" sz="1400">
                <a:solidFill>
                  <a:schemeClr val="bg1"/>
                </a:solidFill>
                <a:latin typeface="BIZ UDPゴシック"/>
              </a:rPr>
              <a:t>利便性向上の評価</a:t>
            </a:r>
            <a:endParaRPr lang="en-US" altLang="ja-JP" sz="1400"/>
          </a:p>
          <a:p>
            <a:pPr marL="285750" indent="-285750">
              <a:buFont typeface="Wingdings" panose="05000000000000000000" pitchFamily="2" charset="2"/>
              <a:buChar char="l"/>
              <a:defRPr/>
            </a:pPr>
            <a:r>
              <a:rPr lang="ja-JP" altLang="ja-JP" sz="1400">
                <a:solidFill>
                  <a:schemeClr val="bg1"/>
                </a:solidFill>
                <a:latin typeface="BIZ UDPゴシック"/>
              </a:rPr>
              <a:t>データ分析等</a:t>
            </a:r>
            <a:r>
              <a:rPr lang="ja-JP" altLang="en-US" sz="1400">
                <a:solidFill>
                  <a:schemeClr val="bg1"/>
                </a:solidFill>
                <a:latin typeface="BIZ UDPゴシック"/>
              </a:rPr>
              <a:t>の有用性指標：</a:t>
            </a:r>
            <a:r>
              <a:rPr lang="ja-JP" altLang="ja-JP" sz="1400">
                <a:solidFill>
                  <a:schemeClr val="bg1"/>
                </a:solidFill>
                <a:latin typeface="BIZ UDPゴシック"/>
              </a:rPr>
              <a:t>利用者（自治体や事業者の職員）からの評価</a:t>
            </a:r>
            <a:endParaRPr lang="ja-JP" altLang="ja-JP" sz="1400"/>
          </a:p>
          <a:p>
            <a:pPr marL="0" marR="0" lvl="0" indent="0" defTabSz="914400" eaLnBrk="1" fontAlgn="auto" latinLnBrk="0" hangingPunct="1">
              <a:lnSpc>
                <a:spcPct val="100000"/>
              </a:lnSpc>
              <a:spcBef>
                <a:spcPts val="300"/>
              </a:spcBef>
              <a:spcAft>
                <a:spcPts val="0"/>
              </a:spcAft>
              <a:buClrTx/>
              <a:buSzTx/>
              <a:buFontTx/>
              <a:buNone/>
              <a:tabLst/>
              <a:defRPr/>
            </a:pPr>
            <a:endParaRPr kumimoji="0" lang="ja-JP" altLang="en-US" sz="14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177420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_配布版">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ユーザー定義 5">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EEEE"/>
        </a:solidFill>
        <a:ln>
          <a:noFill/>
        </a:ln>
      </a:spPr>
      <a:bodyPr lIns="36000" tIns="36000" rIns="36000" bIns="36000" rtlCol="0" anchor="ctr"/>
      <a:lstStyle>
        <a:defPPr algn="ctr">
          <a:spcBef>
            <a:spcPts val="300"/>
          </a:spcBef>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sz="1100" dirty="0">
            <a:latin typeface="+mn-ea"/>
            <a:ea typeface="+mn-ea"/>
          </a:defRPr>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796a868-7127-405e-9e92-a32837cab98d">
      <Terms xmlns="http://schemas.microsoft.com/office/infopath/2007/PartnerControls"/>
    </lcf76f155ced4ddcb4097134ff3c332f>
    <TaxCatchAll xmlns="32f61a2f-400f-4e9e-94b6-317688899f2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F006C88635A2424E86804F2342387106" ma:contentTypeVersion="15" ma:contentTypeDescription="新しいドキュメントを作成します。" ma:contentTypeScope="" ma:versionID="c0aecfde86254b3ee9b7b4fd78e73f19">
  <xsd:schema xmlns:xsd="http://www.w3.org/2001/XMLSchema" xmlns:xs="http://www.w3.org/2001/XMLSchema" xmlns:p="http://schemas.microsoft.com/office/2006/metadata/properties" xmlns:ns2="8796a868-7127-405e-9e92-a32837cab98d" xmlns:ns3="32f61a2f-400f-4e9e-94b6-317688899f21" targetNamespace="http://schemas.microsoft.com/office/2006/metadata/properties" ma:root="true" ma:fieldsID="d5592a7257a948fbcd1d3748c3bfbe83" ns2:_="" ns3:_="">
    <xsd:import namespace="8796a868-7127-405e-9e92-a32837cab98d"/>
    <xsd:import namespace="32f61a2f-400f-4e9e-94b6-317688899f2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a868-7127-405e-9e92-a32837cab9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Location" ma:index="11" nillable="true" ma:displayName="Location" ma:indexed="true"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32dd98ac-7f38-441c-8624-e0daaf53fd8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f61a2f-400f-4e9e-94b6-317688899f21"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2552a0e-6428-4380-80fc-c6793b9d132f}" ma:internalName="TaxCatchAll" ma:showField="CatchAllData" ma:web="32f61a2f-400f-4e9e-94b6-317688899f2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F3402CF-0971-4FC5-B115-17C9C0A95925}">
  <ds:schemaRefs>
    <ds:schemaRef ds:uri="http://schemas.microsoft.com/sharepoint/v3/contenttype/forms"/>
  </ds:schemaRefs>
</ds:datastoreItem>
</file>

<file path=customXml/itemProps2.xml><?xml version="1.0" encoding="utf-8"?>
<ds:datastoreItem xmlns:ds="http://schemas.openxmlformats.org/officeDocument/2006/customXml" ds:itemID="{28A04661-F4E9-4108-811E-23CAD80C9C75}">
  <ds:schemaRefs>
    <ds:schemaRef ds:uri="32f61a2f-400f-4e9e-94b6-317688899f21"/>
    <ds:schemaRef ds:uri="8796a868-7127-405e-9e92-a32837cab98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243C772-4F42-4155-8BD4-E039F18C1FEB}">
  <ds:schemaRefs>
    <ds:schemaRef ds:uri="32f61a2f-400f-4e9e-94b6-317688899f21"/>
    <ds:schemaRef ds:uri="8796a868-7127-405e-9e92-a32837cab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PresentationFormat>Widescreen</PresentationFormat>
  <Slides>68</Slides>
  <Notes>27</Notes>
  <HiddenSlides>0</HiddenSlides>
  <ScaleCrop>false</ScaleCrop>
  <HeadingPairs>
    <vt:vector size="4" baseType="variant">
      <vt:variant>
        <vt:lpstr>Theme</vt:lpstr>
      </vt:variant>
      <vt:variant>
        <vt:i4>1</vt:i4>
      </vt:variant>
      <vt:variant>
        <vt:lpstr>Slide Titles</vt:lpstr>
      </vt:variant>
      <vt:variant>
        <vt:i4>68</vt:i4>
      </vt:variant>
    </vt:vector>
  </HeadingPairs>
  <TitlesOfParts>
    <vt:vector size="69" baseType="lpstr">
      <vt:lpstr>標準デザイン_配布版</vt:lpstr>
      <vt:lpstr>FY2025 日本版MaaS推進・支援事業 【[プロジェクト名]】   実施計画書</vt:lpstr>
      <vt:lpstr>PowerPoint Presentation</vt:lpstr>
      <vt:lpstr>本資料の位置付け②</vt:lpstr>
      <vt:lpstr>目次</vt:lpstr>
      <vt:lpstr>1.解決すべき社会課題</vt:lpstr>
      <vt:lpstr>２.創出価値</vt:lpstr>
      <vt:lpstr>3.課題解決のアプローチ</vt:lpstr>
      <vt:lpstr>４.KPI│これまでのKPI実績</vt:lpstr>
      <vt:lpstr>４.KPI│プロジェクト全体のKPI</vt:lpstr>
      <vt:lpstr>５.想定事業機会</vt:lpstr>
      <vt:lpstr>６.中長期的な展開</vt:lpstr>
      <vt:lpstr>目次</vt:lpstr>
      <vt:lpstr>1.サービス全体像</vt:lpstr>
      <vt:lpstr>１.サービス全体像│実現するUX</vt:lpstr>
      <vt:lpstr>１.サービス全体像│実現するUX</vt:lpstr>
      <vt:lpstr>１.サービス全体像│実現するUX</vt:lpstr>
      <vt:lpstr>１.サービス全体像│過年度の課題と解決</vt:lpstr>
      <vt:lpstr>１.サービス全体像│過年度の課題と解決</vt:lpstr>
      <vt:lpstr>１.サービス全体像│過年度の課題と解決</vt:lpstr>
      <vt:lpstr>１.サービス全体像│実装済みの機能</vt:lpstr>
      <vt:lpstr>１.サービス全体像│実装済みの機能</vt:lpstr>
      <vt:lpstr>１.サービス全体像│実装済みの機能</vt:lpstr>
      <vt:lpstr>２.実証仮説</vt:lpstr>
      <vt:lpstr>３.スコープ詳細</vt:lpstr>
      <vt:lpstr>３.スコープ詳細</vt:lpstr>
      <vt:lpstr>３.スコープ詳細</vt:lpstr>
      <vt:lpstr>４.プロジェクト実施エリア</vt:lpstr>
      <vt:lpstr>５.アーキテクチャ全体図-システムアーキテクチャ図-</vt:lpstr>
      <vt:lpstr>６.ハードウェアアーキテクチャ</vt:lpstr>
      <vt:lpstr>７.利用する技術要素</vt:lpstr>
      <vt:lpstr>８.ユーザインタフェース｜全体UI/UX、画面遷移図</vt:lpstr>
      <vt:lpstr>８.ユーザインタフェース｜画面ごとの機能一覧</vt:lpstr>
      <vt:lpstr>９.事業の推進体制</vt:lpstr>
      <vt:lpstr>目次</vt:lpstr>
      <vt:lpstr>1.データ活用の全体像</vt:lpstr>
      <vt:lpstr>１.データ活用の全体像│実現するUX</vt:lpstr>
      <vt:lpstr>１.データ活用の全体像│過年度の課題と解決</vt:lpstr>
      <vt:lpstr>１.データ活用の全体像│実装済みの機能</vt:lpstr>
      <vt:lpstr>２.実証仮説</vt:lpstr>
      <vt:lpstr>３.スコープ詳細</vt:lpstr>
      <vt:lpstr>４.データ活用実施エリア</vt:lpstr>
      <vt:lpstr>５.アーキテクチャ全体図-システムアーキテクチャ図-</vt:lpstr>
      <vt:lpstr>６.ハードウェアアーキテクチャ</vt:lpstr>
      <vt:lpstr>７.利用する技術要素</vt:lpstr>
      <vt:lpstr>８.利用するデータ一覧</vt:lpstr>
      <vt:lpstr>８.利用するデータ一覧 │ 各データ仕様</vt:lpstr>
      <vt:lpstr>９.ユーザインタフェース｜全体UI/UX、画面遷移図</vt:lpstr>
      <vt:lpstr>９.ユーザインタフェース｜画面ごとの機能一覧</vt:lpstr>
      <vt:lpstr>１０.事業の推進体制</vt:lpstr>
      <vt:lpstr>目次</vt:lpstr>
      <vt:lpstr>1. 実施内容の詳細｜各計画との関係</vt:lpstr>
      <vt:lpstr>1. 実施内容の詳細｜計画以外の政策連携</vt:lpstr>
      <vt:lpstr>２.事業の推進体制</vt:lpstr>
      <vt:lpstr>３.アーキテクチャ全体図-システムアーキテクチャ図-</vt:lpstr>
      <vt:lpstr>４. ハードウェアアーキテクチャ</vt:lpstr>
      <vt:lpstr>目次</vt:lpstr>
      <vt:lpstr>１.スケジュール（WBSガントチャート）</vt:lpstr>
      <vt:lpstr>２.プロジェクトのフロー </vt:lpstr>
      <vt:lpstr>目次</vt:lpstr>
      <vt:lpstr>1.リスク・課題</vt:lpstr>
      <vt:lpstr>2.コスト</vt:lpstr>
      <vt:lpstr>３.リソース(プロジェクト実施体制)（表）</vt:lpstr>
      <vt:lpstr>3.リソース(プロジェクト実施体制)（図）</vt:lpstr>
      <vt:lpstr>4.コミュニケーション（WBSガントチャート）</vt:lpstr>
      <vt:lpstr>5.品質</vt:lpstr>
      <vt:lpstr>6.成果物</vt:lpstr>
      <vt:lpstr>申送り事項</vt:lpstr>
      <vt:lpstr>PowerPoint Presentation</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06C88635A2424E86804F2342387106</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